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33.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65"/>
  </p:notesMasterIdLst>
  <p:sldIdLst>
    <p:sldId id="256" r:id="rId2"/>
    <p:sldId id="258" r:id="rId3"/>
    <p:sldId id="261" r:id="rId4"/>
    <p:sldId id="257" r:id="rId5"/>
    <p:sldId id="260" r:id="rId6"/>
    <p:sldId id="271" r:id="rId7"/>
    <p:sldId id="2147309145" r:id="rId8"/>
    <p:sldId id="2147309146" r:id="rId9"/>
    <p:sldId id="2147309147" r:id="rId10"/>
    <p:sldId id="2147309134" r:id="rId11"/>
    <p:sldId id="2147309135" r:id="rId12"/>
    <p:sldId id="2147309136" r:id="rId13"/>
    <p:sldId id="2147309137" r:id="rId14"/>
    <p:sldId id="2147309144" r:id="rId15"/>
    <p:sldId id="2147471847" r:id="rId16"/>
    <p:sldId id="2147471713" r:id="rId17"/>
    <p:sldId id="2147472299" r:id="rId18"/>
    <p:sldId id="2147471774" r:id="rId19"/>
    <p:sldId id="2147471860" r:id="rId20"/>
    <p:sldId id="2147472288" r:id="rId21"/>
    <p:sldId id="2147472296" r:id="rId22"/>
    <p:sldId id="366" r:id="rId23"/>
    <p:sldId id="2147472293" r:id="rId24"/>
    <p:sldId id="275" r:id="rId25"/>
    <p:sldId id="13017" r:id="rId26"/>
    <p:sldId id="13016" r:id="rId27"/>
    <p:sldId id="2147309148" r:id="rId28"/>
    <p:sldId id="13020" r:id="rId29"/>
    <p:sldId id="13011" r:id="rId30"/>
    <p:sldId id="734" r:id="rId31"/>
    <p:sldId id="2147309149" r:id="rId32"/>
    <p:sldId id="13015" r:id="rId33"/>
    <p:sldId id="13018" r:id="rId34"/>
    <p:sldId id="2147309150" r:id="rId35"/>
    <p:sldId id="2147309151" r:id="rId36"/>
    <p:sldId id="2147309139" r:id="rId37"/>
    <p:sldId id="2147472301" r:id="rId38"/>
    <p:sldId id="2147472302" r:id="rId39"/>
    <p:sldId id="2147472303" r:id="rId40"/>
    <p:sldId id="259" r:id="rId41"/>
    <p:sldId id="2147472304" r:id="rId42"/>
    <p:sldId id="2147472305" r:id="rId43"/>
    <p:sldId id="262" r:id="rId44"/>
    <p:sldId id="2147309140" r:id="rId45"/>
    <p:sldId id="483" r:id="rId46"/>
    <p:sldId id="482" r:id="rId47"/>
    <p:sldId id="485" r:id="rId48"/>
    <p:sldId id="2147309141" r:id="rId49"/>
    <p:sldId id="2147309142" r:id="rId50"/>
    <p:sldId id="2147472300" r:id="rId51"/>
    <p:sldId id="287" r:id="rId52"/>
    <p:sldId id="1479" r:id="rId53"/>
    <p:sldId id="479" r:id="rId54"/>
    <p:sldId id="1319" r:id="rId55"/>
    <p:sldId id="785" r:id="rId56"/>
    <p:sldId id="1478" r:id="rId57"/>
    <p:sldId id="1332" r:id="rId58"/>
    <p:sldId id="1380" r:id="rId59"/>
    <p:sldId id="2147309143" r:id="rId60"/>
    <p:sldId id="596" r:id="rId61"/>
    <p:sldId id="268" r:id="rId62"/>
    <p:sldId id="269" r:id="rId63"/>
    <p:sldId id="270" r:id="rId64"/>
  </p:sldIdLst>
  <p:sldSz cx="12192000" cy="6858000"/>
  <p:notesSz cx="7102475" cy="9388475"/>
  <p:embeddedFontLst>
    <p:embeddedFont>
      <p:font typeface="Avenir Next LT Pro" panose="020B0504020202020204" pitchFamily="34" charset="77"/>
      <p:regular r:id="rId66"/>
      <p:bold r:id="rId67"/>
      <p:italic r:id="rId68"/>
      <p:boldItalic r:id="rId69"/>
    </p:embeddedFont>
    <p:embeddedFont>
      <p:font typeface="Avenir Next LT Pro Demi" panose="020B0504020202020204" pitchFamily="34" charset="77"/>
      <p:bold r:id="rId70"/>
      <p:boldItalic r:id="rId71"/>
    </p:embeddedFont>
    <p:embeddedFont>
      <p:font typeface="Book Antiqua" panose="02040602050305030304" pitchFamily="18" charset="0"/>
      <p:regular r:id="rId72"/>
      <p:bold r:id="rId73"/>
      <p:italic r:id="rId74"/>
      <p:boldItalic r:id="rId75"/>
    </p:embeddedFont>
    <p:embeddedFont>
      <p:font typeface="Calibri" panose="020F0502020204030204" pitchFamily="34" charset="0"/>
      <p:regular r:id="rId76"/>
      <p:bold r:id="rId77"/>
      <p:italic r:id="rId78"/>
      <p:boldItalic r:id="rId79"/>
    </p:embeddedFont>
    <p:embeddedFont>
      <p:font typeface="Embarcadero MVB" panose="020B0604020202020204" pitchFamily="34" charset="0"/>
      <p:regular r:id="rId80"/>
    </p:embeddedFont>
    <p:embeddedFont>
      <p:font typeface="Embarcadero MVB Pro" panose="020B0604020202020204" pitchFamily="34" charset="0"/>
      <p:regular r:id="rId81"/>
    </p:embeddedFont>
    <p:embeddedFont>
      <p:font typeface="Georgia" panose="02040502050405020303" pitchFamily="18" charset="0"/>
      <p:regular r:id="rId82"/>
      <p:bold r:id="rId83"/>
      <p:italic r:id="rId84"/>
      <p:boldItalic r:id="rId85"/>
    </p:embeddedFont>
    <p:embeddedFont>
      <p:font typeface="Merriweather" pitchFamily="2" charset="77"/>
      <p:regular r:id="rId86"/>
      <p:bold r:id="rId87"/>
      <p:italic r:id="rId88"/>
      <p:boldItalic r:id="rId89"/>
    </p:embeddedFont>
    <p:embeddedFont>
      <p:font typeface="Oswald" pitchFamily="2" charset="77"/>
      <p:regular r:id="rId90"/>
      <p:bold r:id="rId91"/>
    </p:embeddedFont>
    <p:embeddedFont>
      <p:font typeface="Raleway" pitchFamily="2" charset="77"/>
      <p:regular r:id="rId92"/>
      <p:bold r:id="rId93"/>
      <p:italic r:id="rId94"/>
      <p:boldItalic r:id="rId95"/>
    </p:embeddedFont>
    <p:embeddedFont>
      <p:font typeface="Raleway Light" pitchFamily="2" charset="77"/>
      <p:regular r:id="rId96"/>
      <p:italic r:id="rId97"/>
    </p:embeddedFont>
    <p:embeddedFont>
      <p:font typeface="Roboto" panose="02000000000000000000" pitchFamily="2" charset="0"/>
      <p:regular r:id="rId98"/>
      <p:bold r:id="rId99"/>
      <p:italic r:id="rId100"/>
      <p:boldItalic r:id="rId101"/>
    </p:embeddedFont>
    <p:embeddedFont>
      <p:font typeface="Roboto Bold" panose="02000000000000000000" pitchFamily="2" charset="0"/>
      <p:bold r:id="rId102"/>
    </p:embeddedFont>
    <p:embeddedFont>
      <p:font typeface="Segoe UI" panose="020B0502040204020203" pitchFamily="34" charset="0"/>
      <p:regular r:id="rId103"/>
      <p:bold r:id="rId104"/>
      <p:italic r:id="rId105"/>
      <p:boldItalic r:id="rId106"/>
    </p:embeddedFont>
    <p:embeddedFont>
      <p:font typeface="Source Sans Pro" panose="020B0503030403020204" pitchFamily="34" charset="0"/>
      <p:regular r:id="rId107"/>
      <p:bold r:id="rId108"/>
      <p:italic r:id="rId109"/>
      <p:boldItalic r:id="rId110"/>
    </p:embeddedFont>
    <p:embeddedFont>
      <p:font typeface="Trebuchet MS" panose="020B0603020202020204" pitchFamily="34" charset="0"/>
      <p:regular r:id="rId111"/>
      <p:bold r:id="rId112"/>
      <p:italic r:id="rId113"/>
      <p:boldItalic r:id="rId114"/>
    </p:embeddedFont>
    <p:embeddedFont>
      <p:font typeface="Tw Cen MT" panose="020B0602020104020603" pitchFamily="34" charset="77"/>
      <p:regular r:id="rId115"/>
      <p:bold r:id="rId116"/>
      <p:italic r:id="rId117"/>
      <p:boldItalic r:id="rId118"/>
    </p:embeddedFont>
    <p:embeddedFont>
      <p:font typeface="Verdana" panose="020B0604030504040204" pitchFamily="34" charset="0"/>
      <p:regular r:id="rId119"/>
      <p:bold r:id="rId120"/>
      <p:italic r:id="rId121"/>
      <p:boldItalic r:id="rId122"/>
    </p:embeddedFont>
    <p:embeddedFont>
      <p:font typeface="Wingdings 2" pitchFamily="2" charset="2"/>
      <p:regular r:id="rId12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126" d="100"/>
          <a:sy n="126" d="100"/>
        </p:scale>
        <p:origin x="16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font" Target="fonts/font52.fntdata"/><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font" Target="fonts/font3.fntdata"/><Relationship Id="rId84" Type="http://schemas.openxmlformats.org/officeDocument/2006/relationships/font" Target="fonts/font19.fntdata"/><Relationship Id="rId89" Type="http://schemas.openxmlformats.org/officeDocument/2006/relationships/font" Target="fonts/font24.fntdata"/><Relationship Id="rId112" Type="http://schemas.openxmlformats.org/officeDocument/2006/relationships/font" Target="fonts/font47.fntdata"/><Relationship Id="rId16" Type="http://schemas.openxmlformats.org/officeDocument/2006/relationships/slide" Target="slides/slide15.xml"/><Relationship Id="rId107" Type="http://schemas.openxmlformats.org/officeDocument/2006/relationships/font" Target="fonts/font42.fntdata"/><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font" Target="fonts/font9.fntdata"/><Relationship Id="rId79" Type="http://schemas.openxmlformats.org/officeDocument/2006/relationships/font" Target="fonts/font14.fntdata"/><Relationship Id="rId102" Type="http://schemas.openxmlformats.org/officeDocument/2006/relationships/font" Target="fonts/font37.fntdata"/><Relationship Id="rId123" Type="http://schemas.openxmlformats.org/officeDocument/2006/relationships/font" Target="fonts/font58.fntdata"/><Relationship Id="rId5" Type="http://schemas.openxmlformats.org/officeDocument/2006/relationships/slide" Target="slides/slide4.xml"/><Relationship Id="rId90" Type="http://schemas.openxmlformats.org/officeDocument/2006/relationships/font" Target="fonts/font25.fntdata"/><Relationship Id="rId95" Type="http://schemas.openxmlformats.org/officeDocument/2006/relationships/font" Target="fonts/font30.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font" Target="fonts/font4.fntdata"/><Relationship Id="rId113" Type="http://schemas.openxmlformats.org/officeDocument/2006/relationships/font" Target="fonts/font48.fntdata"/><Relationship Id="rId118" Type="http://schemas.openxmlformats.org/officeDocument/2006/relationships/font" Target="fonts/font53.fntdata"/><Relationship Id="rId80" Type="http://schemas.openxmlformats.org/officeDocument/2006/relationships/font" Target="fonts/font15.fntdata"/><Relationship Id="rId85" Type="http://schemas.openxmlformats.org/officeDocument/2006/relationships/font" Target="fonts/font20.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font" Target="fonts/font38.fntdata"/><Relationship Id="rId108" Type="http://schemas.openxmlformats.org/officeDocument/2006/relationships/font" Target="fonts/font43.fntdata"/><Relationship Id="rId124"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font" Target="fonts/font5.fntdata"/><Relationship Id="rId75" Type="http://schemas.openxmlformats.org/officeDocument/2006/relationships/font" Target="fonts/font10.fntdata"/><Relationship Id="rId91" Type="http://schemas.openxmlformats.org/officeDocument/2006/relationships/font" Target="fonts/font26.fntdata"/><Relationship Id="rId96" Type="http://schemas.openxmlformats.org/officeDocument/2006/relationships/font" Target="fonts/font31.fntdata"/><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font" Target="fonts/font49.fntdata"/><Relationship Id="rId119" Type="http://schemas.openxmlformats.org/officeDocument/2006/relationships/font" Target="fonts/font54.fntdata"/><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notesMaster" Target="notesMasters/notesMaster1.xml"/><Relationship Id="rId81" Type="http://schemas.openxmlformats.org/officeDocument/2006/relationships/font" Target="fonts/font16.fntdata"/><Relationship Id="rId86" Type="http://schemas.openxmlformats.org/officeDocument/2006/relationships/font" Target="fonts/font21.fntdata"/><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44.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font" Target="fonts/font11.fntdata"/><Relationship Id="rId97" Type="http://schemas.openxmlformats.org/officeDocument/2006/relationships/font" Target="fonts/font32.fntdata"/><Relationship Id="rId104" Type="http://schemas.openxmlformats.org/officeDocument/2006/relationships/font" Target="fonts/font39.fntdata"/><Relationship Id="rId120" Type="http://schemas.openxmlformats.org/officeDocument/2006/relationships/font" Target="fonts/font55.fntdata"/><Relationship Id="rId125"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font" Target="fonts/font6.fntdata"/><Relationship Id="rId92" Type="http://schemas.openxmlformats.org/officeDocument/2006/relationships/font" Target="fonts/font27.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font" Target="fonts/font1.fntdata"/><Relationship Id="rId87" Type="http://schemas.openxmlformats.org/officeDocument/2006/relationships/font" Target="fonts/font22.fntdata"/><Relationship Id="rId110" Type="http://schemas.openxmlformats.org/officeDocument/2006/relationships/font" Target="fonts/font45.fntdata"/><Relationship Id="rId115" Type="http://schemas.openxmlformats.org/officeDocument/2006/relationships/font" Target="fonts/font50.fntdata"/><Relationship Id="rId61" Type="http://schemas.openxmlformats.org/officeDocument/2006/relationships/slide" Target="slides/slide60.xml"/><Relationship Id="rId82" Type="http://schemas.openxmlformats.org/officeDocument/2006/relationships/font" Target="fonts/font17.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font" Target="fonts/font12.fntdata"/><Relationship Id="rId100" Type="http://schemas.openxmlformats.org/officeDocument/2006/relationships/font" Target="fonts/font35.fntdata"/><Relationship Id="rId105" Type="http://schemas.openxmlformats.org/officeDocument/2006/relationships/font" Target="fonts/font40.fntdata"/><Relationship Id="rId12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7.fntdata"/><Relationship Id="rId93" Type="http://schemas.openxmlformats.org/officeDocument/2006/relationships/font" Target="fonts/font28.fntdata"/><Relationship Id="rId98" Type="http://schemas.openxmlformats.org/officeDocument/2006/relationships/font" Target="fonts/font33.fntdata"/><Relationship Id="rId121" Type="http://schemas.openxmlformats.org/officeDocument/2006/relationships/font" Target="fonts/font56.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font" Target="fonts/font2.fntdata"/><Relationship Id="rId116" Type="http://schemas.openxmlformats.org/officeDocument/2006/relationships/font" Target="fonts/font51.fntdata"/><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font" Target="fonts/font18.fntdata"/><Relationship Id="rId88" Type="http://schemas.openxmlformats.org/officeDocument/2006/relationships/font" Target="fonts/font23.fntdata"/><Relationship Id="rId111" Type="http://schemas.openxmlformats.org/officeDocument/2006/relationships/font" Target="fonts/font46.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font" Target="fonts/font41.fntdata"/><Relationship Id="rId12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font" Target="fonts/font8.fntdata"/><Relationship Id="rId78" Type="http://schemas.openxmlformats.org/officeDocument/2006/relationships/font" Target="fonts/font13.fntdata"/><Relationship Id="rId94" Type="http://schemas.openxmlformats.org/officeDocument/2006/relationships/font" Target="fonts/font29.fntdata"/><Relationship Id="rId99" Type="http://schemas.openxmlformats.org/officeDocument/2006/relationships/font" Target="fonts/font34.fntdata"/><Relationship Id="rId101" Type="http://schemas.openxmlformats.org/officeDocument/2006/relationships/font" Target="fonts/font36.fntdata"/><Relationship Id="rId122" Type="http://schemas.openxmlformats.org/officeDocument/2006/relationships/font" Target="fonts/font57.fntdata"/><Relationship Id="rId4" Type="http://schemas.openxmlformats.org/officeDocument/2006/relationships/slide" Target="slides/slide3.xml"/><Relationship Id="rId9" Type="http://schemas.openxmlformats.org/officeDocument/2006/relationships/slide" Target="slides/slide8.xml"/></Relationships>
</file>

<file path=ppt/diagrams/_rels/data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image" Target="../media/image43.jpg"/></Relationships>
</file>

<file path=ppt/diagrams/_rels/drawing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image" Target="../media/image43.jp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156040-AF98-4F2C-9909-9F2439F6F588}" type="doc">
      <dgm:prSet loTypeId="urn:microsoft.com/office/officeart/2005/8/layout/chevron1" loCatId="process" qsTypeId="urn:microsoft.com/office/officeart/2005/8/quickstyle/simple1" qsCatId="simple" csTypeId="urn:microsoft.com/office/officeart/2005/8/colors/accent1_1" csCatId="accent1" phldr="1"/>
      <dgm:spPr/>
    </dgm:pt>
    <dgm:pt modelId="{1C61A9A2-33F2-469B-8AC4-A104A5A98D78}" type="pres">
      <dgm:prSet presAssocID="{44156040-AF98-4F2C-9909-9F2439F6F588}" presName="Name0" presStyleCnt="0">
        <dgm:presLayoutVars>
          <dgm:dir/>
          <dgm:animLvl val="lvl"/>
          <dgm:resizeHandles val="exact"/>
        </dgm:presLayoutVars>
      </dgm:prSet>
      <dgm:spPr/>
    </dgm:pt>
  </dgm:ptLst>
  <dgm:cxnLst>
    <dgm:cxn modelId="{383A5CFE-2D64-4002-A7C0-1E621409BFD6}" type="presOf" srcId="{44156040-AF98-4F2C-9909-9F2439F6F588}" destId="{1C61A9A2-33F2-469B-8AC4-A104A5A98D78}"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4B952E-66C7-422B-81AA-C47230FECC2A}" type="doc">
      <dgm:prSet loTypeId="urn:microsoft.com/office/officeart/2005/8/layout/hList7" loCatId="list" qsTypeId="urn:microsoft.com/office/officeart/2005/8/quickstyle/simple1" qsCatId="simple" csTypeId="urn:microsoft.com/office/officeart/2005/8/colors/accent1_2" csCatId="accent1" phldr="1"/>
      <dgm:spPr/>
    </dgm:pt>
    <dgm:pt modelId="{C1EE57AB-8F66-413D-A315-9DD836B685B4}">
      <dgm:prSet phldrT="[Text]" custT="1"/>
      <dgm:spPr>
        <a:solidFill>
          <a:schemeClr val="tx1">
            <a:lumMod val="20000"/>
            <a:lumOff val="80000"/>
          </a:schemeClr>
        </a:solidFill>
        <a:effectLst>
          <a:softEdge rad="31750"/>
        </a:effectLst>
      </dgm:spPr>
      <dgm:t>
        <a:bodyPr/>
        <a:lstStyle/>
        <a:p>
          <a:r>
            <a:rPr lang="en-US" sz="2000" dirty="0">
              <a:solidFill>
                <a:srgbClr val="588894"/>
              </a:solidFill>
              <a:latin typeface="Tw Cen MT" panose="020B0602020104020603" pitchFamily="34" charset="0"/>
            </a:rPr>
            <a:t>Lack of Skill Set &amp; Technology Workforce</a:t>
          </a:r>
        </a:p>
      </dgm:t>
    </dgm:pt>
    <dgm:pt modelId="{261DBE78-5EFA-489B-B388-EDB5E66FA9E2}" type="parTrans" cxnId="{E512AA83-4027-4DB9-AF33-478A19C6ED03}">
      <dgm:prSet/>
      <dgm:spPr/>
      <dgm:t>
        <a:bodyPr/>
        <a:lstStyle/>
        <a:p>
          <a:endParaRPr lang="en-US"/>
        </a:p>
      </dgm:t>
    </dgm:pt>
    <dgm:pt modelId="{61E7ADB0-73DF-410B-A227-B6D0F8AB52EE}" type="sibTrans" cxnId="{E512AA83-4027-4DB9-AF33-478A19C6ED03}">
      <dgm:prSet/>
      <dgm:spPr/>
      <dgm:t>
        <a:bodyPr/>
        <a:lstStyle/>
        <a:p>
          <a:endParaRPr lang="en-US"/>
        </a:p>
      </dgm:t>
    </dgm:pt>
    <dgm:pt modelId="{4CD79F28-7DFE-48AA-BA14-6CCA42527426}">
      <dgm:prSet phldrT="[Text]" custT="1"/>
      <dgm:spPr>
        <a:solidFill>
          <a:schemeClr val="tx1">
            <a:lumMod val="20000"/>
            <a:lumOff val="80000"/>
          </a:schemeClr>
        </a:solidFill>
        <a:effectLst>
          <a:softEdge rad="31750"/>
        </a:effectLst>
      </dgm:spPr>
      <dgm:t>
        <a:bodyPr/>
        <a:lstStyle/>
        <a:p>
          <a:r>
            <a:rPr lang="en-US" sz="2000" dirty="0">
              <a:solidFill>
                <a:srgbClr val="588894"/>
              </a:solidFill>
              <a:latin typeface="Tw Cen MT" panose="020B0602020104020603" pitchFamily="34" charset="0"/>
            </a:rPr>
            <a:t>Transforming The Staff &amp; Student Experience</a:t>
          </a:r>
        </a:p>
      </dgm:t>
    </dgm:pt>
    <dgm:pt modelId="{E05C85EE-4C4A-4BE8-8D41-E059BA4BFCE5}" type="parTrans" cxnId="{C5CFC120-75E3-4E64-86E1-040BD5BA9AD0}">
      <dgm:prSet/>
      <dgm:spPr/>
      <dgm:t>
        <a:bodyPr/>
        <a:lstStyle/>
        <a:p>
          <a:endParaRPr lang="en-US"/>
        </a:p>
      </dgm:t>
    </dgm:pt>
    <dgm:pt modelId="{9EB3128D-C0E0-49FB-AB2A-09D7C5A45CB5}" type="sibTrans" cxnId="{C5CFC120-75E3-4E64-86E1-040BD5BA9AD0}">
      <dgm:prSet/>
      <dgm:spPr/>
      <dgm:t>
        <a:bodyPr/>
        <a:lstStyle/>
        <a:p>
          <a:endParaRPr lang="en-US"/>
        </a:p>
      </dgm:t>
    </dgm:pt>
    <dgm:pt modelId="{4BDC2AFF-3D56-4060-B5A2-A08DAF681CF1}">
      <dgm:prSet phldrT="[Text]" custT="1"/>
      <dgm:spPr>
        <a:solidFill>
          <a:schemeClr val="tx1">
            <a:lumMod val="20000"/>
            <a:lumOff val="80000"/>
          </a:schemeClr>
        </a:solidFill>
        <a:effectLst>
          <a:softEdge rad="31750"/>
        </a:effectLst>
      </dgm:spPr>
      <dgm:t>
        <a:bodyPr/>
        <a:lstStyle/>
        <a:p>
          <a:r>
            <a:rPr lang="en-US" sz="2000" dirty="0">
              <a:solidFill>
                <a:srgbClr val="588894"/>
              </a:solidFill>
              <a:latin typeface="Tw Cen MT" panose="020B0602020104020603" pitchFamily="34" charset="0"/>
            </a:rPr>
            <a:t>Creating Interdepartmental Synergies</a:t>
          </a:r>
        </a:p>
      </dgm:t>
    </dgm:pt>
    <dgm:pt modelId="{A2C0E141-2175-4E8C-A5B7-1E864D15C09C}" type="parTrans" cxnId="{C57FE167-E30A-4FA6-B575-8BD3714A14CC}">
      <dgm:prSet/>
      <dgm:spPr/>
      <dgm:t>
        <a:bodyPr/>
        <a:lstStyle/>
        <a:p>
          <a:endParaRPr lang="en-US"/>
        </a:p>
      </dgm:t>
    </dgm:pt>
    <dgm:pt modelId="{3A9CDF0E-7136-41C6-B4F3-DA97EF5A70F6}" type="sibTrans" cxnId="{C57FE167-E30A-4FA6-B575-8BD3714A14CC}">
      <dgm:prSet/>
      <dgm:spPr/>
      <dgm:t>
        <a:bodyPr/>
        <a:lstStyle/>
        <a:p>
          <a:endParaRPr lang="en-US"/>
        </a:p>
      </dgm:t>
    </dgm:pt>
    <dgm:pt modelId="{13D2520A-D63E-4239-8EA0-7AB6763DD11C}" type="pres">
      <dgm:prSet presAssocID="{A04B952E-66C7-422B-81AA-C47230FECC2A}" presName="Name0" presStyleCnt="0">
        <dgm:presLayoutVars>
          <dgm:dir/>
          <dgm:resizeHandles val="exact"/>
        </dgm:presLayoutVars>
      </dgm:prSet>
      <dgm:spPr/>
    </dgm:pt>
    <dgm:pt modelId="{516E7DBC-4AE4-4287-AD23-629FC0169F6A}" type="pres">
      <dgm:prSet presAssocID="{A04B952E-66C7-422B-81AA-C47230FECC2A}" presName="fgShape" presStyleLbl="fgShp" presStyleIdx="0" presStyleCnt="1"/>
      <dgm:spPr>
        <a:solidFill>
          <a:schemeClr val="tx1">
            <a:lumMod val="75000"/>
          </a:schemeClr>
        </a:solidFill>
        <a:effectLst>
          <a:softEdge rad="31750"/>
        </a:effectLst>
      </dgm:spPr>
    </dgm:pt>
    <dgm:pt modelId="{6F02B77C-F7A2-4D2F-9EF6-5815CEB746B4}" type="pres">
      <dgm:prSet presAssocID="{A04B952E-66C7-422B-81AA-C47230FECC2A}" presName="linComp" presStyleCnt="0"/>
      <dgm:spPr/>
    </dgm:pt>
    <dgm:pt modelId="{5F7B5483-D928-44C9-ADB3-72A6B8A11113}" type="pres">
      <dgm:prSet presAssocID="{C1EE57AB-8F66-413D-A315-9DD836B685B4}" presName="compNode" presStyleCnt="0"/>
      <dgm:spPr/>
    </dgm:pt>
    <dgm:pt modelId="{CD1A69CE-2CB8-4E5C-A9B9-9B1ADA52DC59}" type="pres">
      <dgm:prSet presAssocID="{C1EE57AB-8F66-413D-A315-9DD836B685B4}" presName="bkgdShape" presStyleLbl="node1" presStyleIdx="0" presStyleCnt="3" custLinFactNeighborX="1051" custLinFactNeighborY="-2414"/>
      <dgm:spPr/>
    </dgm:pt>
    <dgm:pt modelId="{A699964B-2C62-49B8-A602-154340B6975E}" type="pres">
      <dgm:prSet presAssocID="{C1EE57AB-8F66-413D-A315-9DD836B685B4}" presName="nodeTx" presStyleLbl="node1" presStyleIdx="0" presStyleCnt="3">
        <dgm:presLayoutVars>
          <dgm:bulletEnabled val="1"/>
        </dgm:presLayoutVars>
      </dgm:prSet>
      <dgm:spPr/>
    </dgm:pt>
    <dgm:pt modelId="{D52CA38C-9103-4038-87B1-AB2AA244A0A4}" type="pres">
      <dgm:prSet presAssocID="{C1EE57AB-8F66-413D-A315-9DD836B685B4}" presName="invisiNode" presStyleLbl="node1" presStyleIdx="0" presStyleCnt="3"/>
      <dgm:spPr/>
    </dgm:pt>
    <dgm:pt modelId="{14F8E165-F96C-4609-87A4-65367FBC6EA0}" type="pres">
      <dgm:prSet presAssocID="{C1EE57AB-8F66-413D-A315-9DD836B685B4}" presName="imagNode" presStyleLbl="fgImgPlace1" presStyleIdx="0" presStyleCnt="3" custScaleX="144778" custScaleY="145245" custLinFactNeighborX="2697" custLinFactNeighborY="11301"/>
      <dgm:spPr>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effectLst>
          <a:glow rad="139700">
            <a:schemeClr val="accent1">
              <a:satMod val="175000"/>
              <a:alpha val="40000"/>
            </a:schemeClr>
          </a:glow>
          <a:outerShdw blurRad="152400" dist="317500" dir="5400000" sx="90000" sy="-19000" rotWithShape="0">
            <a:prstClr val="black">
              <a:alpha val="15000"/>
            </a:prstClr>
          </a:outerShdw>
          <a:softEdge rad="31750"/>
        </a:effectLst>
      </dgm:spPr>
    </dgm:pt>
    <dgm:pt modelId="{1EB3F187-51F0-4B8F-8839-16A899175B16}" type="pres">
      <dgm:prSet presAssocID="{61E7ADB0-73DF-410B-A227-B6D0F8AB52EE}" presName="sibTrans" presStyleLbl="sibTrans2D1" presStyleIdx="0" presStyleCnt="0"/>
      <dgm:spPr/>
    </dgm:pt>
    <dgm:pt modelId="{4B7EAC90-01A1-4828-AB0E-42DDDD6508C6}" type="pres">
      <dgm:prSet presAssocID="{4CD79F28-7DFE-48AA-BA14-6CCA42527426}" presName="compNode" presStyleCnt="0"/>
      <dgm:spPr/>
    </dgm:pt>
    <dgm:pt modelId="{3B4194FA-6D74-4295-8BCE-19B7D6319FAF}" type="pres">
      <dgm:prSet presAssocID="{4CD79F28-7DFE-48AA-BA14-6CCA42527426}" presName="bkgdShape" presStyleLbl="node1" presStyleIdx="1" presStyleCnt="3" custLinFactNeighborX="1243" custLinFactNeighborY="683"/>
      <dgm:spPr/>
    </dgm:pt>
    <dgm:pt modelId="{1A0ABA63-4C3E-4E04-B618-405866BB2200}" type="pres">
      <dgm:prSet presAssocID="{4CD79F28-7DFE-48AA-BA14-6CCA42527426}" presName="nodeTx" presStyleLbl="node1" presStyleIdx="1" presStyleCnt="3">
        <dgm:presLayoutVars>
          <dgm:bulletEnabled val="1"/>
        </dgm:presLayoutVars>
      </dgm:prSet>
      <dgm:spPr/>
    </dgm:pt>
    <dgm:pt modelId="{2CB8E3A8-D4DF-4584-BFB9-1CC2EDFC5CC1}" type="pres">
      <dgm:prSet presAssocID="{4CD79F28-7DFE-48AA-BA14-6CCA42527426}" presName="invisiNode" presStyleLbl="node1" presStyleIdx="1" presStyleCnt="3"/>
      <dgm:spPr/>
    </dgm:pt>
    <dgm:pt modelId="{D633882B-6597-4322-A16B-F91E41B40244}" type="pres">
      <dgm:prSet presAssocID="{4CD79F28-7DFE-48AA-BA14-6CCA42527426}" presName="imagNode" presStyleLbl="fgImgPlace1" presStyleIdx="1" presStyleCnt="3" custScaleX="143133" custScaleY="141698" custLinFactNeighborX="2023" custLinFactNeighborY="10625"/>
      <dgm:spPr>
        <a:blipFill>
          <a:blip xmlns:r="http://schemas.openxmlformats.org/officeDocument/2006/relationships" r:embed="rId2">
            <a:extLst>
              <a:ext uri="{28A0092B-C50C-407E-A947-70E740481C1C}">
                <a14:useLocalDpi xmlns:a14="http://schemas.microsoft.com/office/drawing/2010/main" val="0"/>
              </a:ext>
            </a:extLst>
          </a:blip>
          <a:srcRect/>
          <a:stretch>
            <a:fillRect l="-45000" r="-45000"/>
          </a:stretch>
        </a:blipFill>
        <a:effectLst>
          <a:glow rad="139700">
            <a:schemeClr val="accent1">
              <a:satMod val="175000"/>
              <a:alpha val="40000"/>
            </a:schemeClr>
          </a:glow>
          <a:outerShdw blurRad="152400" dist="317500" dir="5400000" sx="90000" sy="-19000" rotWithShape="0">
            <a:prstClr val="black">
              <a:alpha val="15000"/>
            </a:prstClr>
          </a:outerShdw>
          <a:softEdge rad="31750"/>
        </a:effectLst>
      </dgm:spPr>
    </dgm:pt>
    <dgm:pt modelId="{4C698743-D2CE-48B5-AF60-FE1480728D7E}" type="pres">
      <dgm:prSet presAssocID="{9EB3128D-C0E0-49FB-AB2A-09D7C5A45CB5}" presName="sibTrans" presStyleLbl="sibTrans2D1" presStyleIdx="0" presStyleCnt="0"/>
      <dgm:spPr/>
    </dgm:pt>
    <dgm:pt modelId="{4592C48E-D860-4AFC-B4B5-9A6E37D3281D}" type="pres">
      <dgm:prSet presAssocID="{4BDC2AFF-3D56-4060-B5A2-A08DAF681CF1}" presName="compNode" presStyleCnt="0"/>
      <dgm:spPr/>
    </dgm:pt>
    <dgm:pt modelId="{D76FAF4E-233B-4D79-91E8-19FB06903735}" type="pres">
      <dgm:prSet presAssocID="{4BDC2AFF-3D56-4060-B5A2-A08DAF681CF1}" presName="bkgdShape" presStyleLbl="node1" presStyleIdx="2" presStyleCnt="3" custLinFactNeighborX="-701" custLinFactNeighborY="8707"/>
      <dgm:spPr/>
    </dgm:pt>
    <dgm:pt modelId="{BBD316A8-3511-4E6C-952C-A0F624A45C76}" type="pres">
      <dgm:prSet presAssocID="{4BDC2AFF-3D56-4060-B5A2-A08DAF681CF1}" presName="nodeTx" presStyleLbl="node1" presStyleIdx="2" presStyleCnt="3">
        <dgm:presLayoutVars>
          <dgm:bulletEnabled val="1"/>
        </dgm:presLayoutVars>
      </dgm:prSet>
      <dgm:spPr/>
    </dgm:pt>
    <dgm:pt modelId="{88D1F8EA-D264-487F-A347-9BF034938AFB}" type="pres">
      <dgm:prSet presAssocID="{4BDC2AFF-3D56-4060-B5A2-A08DAF681CF1}" presName="invisiNode" presStyleLbl="node1" presStyleIdx="2" presStyleCnt="3"/>
      <dgm:spPr/>
    </dgm:pt>
    <dgm:pt modelId="{FDE63421-0ECF-4676-AEF7-665AEE20BD8E}" type="pres">
      <dgm:prSet presAssocID="{4BDC2AFF-3D56-4060-B5A2-A08DAF681CF1}" presName="imagNode" presStyleLbl="fgImgPlace1" presStyleIdx="2" presStyleCnt="3" custScaleX="142396" custScaleY="137854" custLinFactNeighborX="-673" custLinFactNeighborY="9293"/>
      <dgm:spPr>
        <a:blipFill>
          <a:blip xmlns:r="http://schemas.openxmlformats.org/officeDocument/2006/relationships" r:embed="rId3">
            <a:extLst>
              <a:ext uri="{28A0092B-C50C-407E-A947-70E740481C1C}">
                <a14:useLocalDpi xmlns:a14="http://schemas.microsoft.com/office/drawing/2010/main" val="0"/>
              </a:ext>
            </a:extLst>
          </a:blip>
          <a:srcRect/>
          <a:stretch>
            <a:fillRect l="-33000" r="-33000"/>
          </a:stretch>
        </a:blipFill>
        <a:effectLst>
          <a:glow rad="139700">
            <a:schemeClr val="accent1">
              <a:satMod val="175000"/>
              <a:alpha val="40000"/>
            </a:schemeClr>
          </a:glow>
          <a:outerShdw blurRad="152400" dist="317500" dir="5400000" sx="90000" sy="-19000" rotWithShape="0">
            <a:prstClr val="black">
              <a:alpha val="15000"/>
            </a:prstClr>
          </a:outerShdw>
          <a:softEdge rad="31750"/>
        </a:effectLst>
      </dgm:spPr>
    </dgm:pt>
  </dgm:ptLst>
  <dgm:cxnLst>
    <dgm:cxn modelId="{91CBA708-02C7-4610-A290-258E886352E8}" type="presOf" srcId="{9EB3128D-C0E0-49FB-AB2A-09D7C5A45CB5}" destId="{4C698743-D2CE-48B5-AF60-FE1480728D7E}" srcOrd="0" destOrd="0" presId="urn:microsoft.com/office/officeart/2005/8/layout/hList7"/>
    <dgm:cxn modelId="{6A7C6E14-F5DB-4891-98CC-95EF83C8793D}" type="presOf" srcId="{61E7ADB0-73DF-410B-A227-B6D0F8AB52EE}" destId="{1EB3F187-51F0-4B8F-8839-16A899175B16}" srcOrd="0" destOrd="0" presId="urn:microsoft.com/office/officeart/2005/8/layout/hList7"/>
    <dgm:cxn modelId="{C5CFC120-75E3-4E64-86E1-040BD5BA9AD0}" srcId="{A04B952E-66C7-422B-81AA-C47230FECC2A}" destId="{4CD79F28-7DFE-48AA-BA14-6CCA42527426}" srcOrd="1" destOrd="0" parTransId="{E05C85EE-4C4A-4BE8-8D41-E059BA4BFCE5}" sibTransId="{9EB3128D-C0E0-49FB-AB2A-09D7C5A45CB5}"/>
    <dgm:cxn modelId="{B80A6A5E-5CD9-4E1D-B9B3-C03EAFFC9351}" type="presOf" srcId="{4CD79F28-7DFE-48AA-BA14-6CCA42527426}" destId="{1A0ABA63-4C3E-4E04-B618-405866BB2200}" srcOrd="1" destOrd="0" presId="urn:microsoft.com/office/officeart/2005/8/layout/hList7"/>
    <dgm:cxn modelId="{C57FE167-E30A-4FA6-B575-8BD3714A14CC}" srcId="{A04B952E-66C7-422B-81AA-C47230FECC2A}" destId="{4BDC2AFF-3D56-4060-B5A2-A08DAF681CF1}" srcOrd="2" destOrd="0" parTransId="{A2C0E141-2175-4E8C-A5B7-1E864D15C09C}" sibTransId="{3A9CDF0E-7136-41C6-B4F3-DA97EF5A70F6}"/>
    <dgm:cxn modelId="{E512AA83-4027-4DB9-AF33-478A19C6ED03}" srcId="{A04B952E-66C7-422B-81AA-C47230FECC2A}" destId="{C1EE57AB-8F66-413D-A315-9DD836B685B4}" srcOrd="0" destOrd="0" parTransId="{261DBE78-5EFA-489B-B388-EDB5E66FA9E2}" sibTransId="{61E7ADB0-73DF-410B-A227-B6D0F8AB52EE}"/>
    <dgm:cxn modelId="{3795F28C-3AFD-454F-A4E0-2925404CAD6C}" type="presOf" srcId="{C1EE57AB-8F66-413D-A315-9DD836B685B4}" destId="{CD1A69CE-2CB8-4E5C-A9B9-9B1ADA52DC59}" srcOrd="0" destOrd="0" presId="urn:microsoft.com/office/officeart/2005/8/layout/hList7"/>
    <dgm:cxn modelId="{080BA693-4463-4B2A-99F3-42564153EC96}" type="presOf" srcId="{C1EE57AB-8F66-413D-A315-9DD836B685B4}" destId="{A699964B-2C62-49B8-A602-154340B6975E}" srcOrd="1" destOrd="0" presId="urn:microsoft.com/office/officeart/2005/8/layout/hList7"/>
    <dgm:cxn modelId="{E12B33AB-38EF-4B51-AFCA-E42933F2E851}" type="presOf" srcId="{4CD79F28-7DFE-48AA-BA14-6CCA42527426}" destId="{3B4194FA-6D74-4295-8BCE-19B7D6319FAF}" srcOrd="0" destOrd="0" presId="urn:microsoft.com/office/officeart/2005/8/layout/hList7"/>
    <dgm:cxn modelId="{9A564FAD-F261-4216-AD86-E67191BFC126}" type="presOf" srcId="{A04B952E-66C7-422B-81AA-C47230FECC2A}" destId="{13D2520A-D63E-4239-8EA0-7AB6763DD11C}" srcOrd="0" destOrd="0" presId="urn:microsoft.com/office/officeart/2005/8/layout/hList7"/>
    <dgm:cxn modelId="{465326C9-2A76-4D9D-B907-2AA2A8078EFC}" type="presOf" srcId="{4BDC2AFF-3D56-4060-B5A2-A08DAF681CF1}" destId="{D76FAF4E-233B-4D79-91E8-19FB06903735}" srcOrd="0" destOrd="0" presId="urn:microsoft.com/office/officeart/2005/8/layout/hList7"/>
    <dgm:cxn modelId="{24832DFB-4FB9-464D-B486-96F526BF9E31}" type="presOf" srcId="{4BDC2AFF-3D56-4060-B5A2-A08DAF681CF1}" destId="{BBD316A8-3511-4E6C-952C-A0F624A45C76}" srcOrd="1" destOrd="0" presId="urn:microsoft.com/office/officeart/2005/8/layout/hList7"/>
    <dgm:cxn modelId="{FD4A8468-CDD7-4228-A89E-FC7EC6223CEA}" type="presParOf" srcId="{13D2520A-D63E-4239-8EA0-7AB6763DD11C}" destId="{516E7DBC-4AE4-4287-AD23-629FC0169F6A}" srcOrd="0" destOrd="0" presId="urn:microsoft.com/office/officeart/2005/8/layout/hList7"/>
    <dgm:cxn modelId="{0698AF6A-F6CF-4839-B0D6-C651C2DFE10D}" type="presParOf" srcId="{13D2520A-D63E-4239-8EA0-7AB6763DD11C}" destId="{6F02B77C-F7A2-4D2F-9EF6-5815CEB746B4}" srcOrd="1" destOrd="0" presId="urn:microsoft.com/office/officeart/2005/8/layout/hList7"/>
    <dgm:cxn modelId="{E0E98238-93B6-42B1-B0DF-525A5537DD1A}" type="presParOf" srcId="{6F02B77C-F7A2-4D2F-9EF6-5815CEB746B4}" destId="{5F7B5483-D928-44C9-ADB3-72A6B8A11113}" srcOrd="0" destOrd="0" presId="urn:microsoft.com/office/officeart/2005/8/layout/hList7"/>
    <dgm:cxn modelId="{C1FBF814-E843-4631-9471-A83F8E1BC8B1}" type="presParOf" srcId="{5F7B5483-D928-44C9-ADB3-72A6B8A11113}" destId="{CD1A69CE-2CB8-4E5C-A9B9-9B1ADA52DC59}" srcOrd="0" destOrd="0" presId="urn:microsoft.com/office/officeart/2005/8/layout/hList7"/>
    <dgm:cxn modelId="{59834D59-32AF-4CDA-9937-C372AB37B85A}" type="presParOf" srcId="{5F7B5483-D928-44C9-ADB3-72A6B8A11113}" destId="{A699964B-2C62-49B8-A602-154340B6975E}" srcOrd="1" destOrd="0" presId="urn:microsoft.com/office/officeart/2005/8/layout/hList7"/>
    <dgm:cxn modelId="{6137CD92-F80C-4B0D-A0E1-79762079AE3E}" type="presParOf" srcId="{5F7B5483-D928-44C9-ADB3-72A6B8A11113}" destId="{D52CA38C-9103-4038-87B1-AB2AA244A0A4}" srcOrd="2" destOrd="0" presId="urn:microsoft.com/office/officeart/2005/8/layout/hList7"/>
    <dgm:cxn modelId="{376E2CA2-3965-411A-BB68-99C51FE69577}" type="presParOf" srcId="{5F7B5483-D928-44C9-ADB3-72A6B8A11113}" destId="{14F8E165-F96C-4609-87A4-65367FBC6EA0}" srcOrd="3" destOrd="0" presId="urn:microsoft.com/office/officeart/2005/8/layout/hList7"/>
    <dgm:cxn modelId="{9AE00E86-4266-47F6-9804-CBE8A99802BE}" type="presParOf" srcId="{6F02B77C-F7A2-4D2F-9EF6-5815CEB746B4}" destId="{1EB3F187-51F0-4B8F-8839-16A899175B16}" srcOrd="1" destOrd="0" presId="urn:microsoft.com/office/officeart/2005/8/layout/hList7"/>
    <dgm:cxn modelId="{89993FE2-2C44-41CA-9A11-5760FC33251C}" type="presParOf" srcId="{6F02B77C-F7A2-4D2F-9EF6-5815CEB746B4}" destId="{4B7EAC90-01A1-4828-AB0E-42DDDD6508C6}" srcOrd="2" destOrd="0" presId="urn:microsoft.com/office/officeart/2005/8/layout/hList7"/>
    <dgm:cxn modelId="{46415A55-B644-4114-AF7D-E7073DBEB13B}" type="presParOf" srcId="{4B7EAC90-01A1-4828-AB0E-42DDDD6508C6}" destId="{3B4194FA-6D74-4295-8BCE-19B7D6319FAF}" srcOrd="0" destOrd="0" presId="urn:microsoft.com/office/officeart/2005/8/layout/hList7"/>
    <dgm:cxn modelId="{D5176ECA-2130-4E24-8B7C-AD0BD7FE5170}" type="presParOf" srcId="{4B7EAC90-01A1-4828-AB0E-42DDDD6508C6}" destId="{1A0ABA63-4C3E-4E04-B618-405866BB2200}" srcOrd="1" destOrd="0" presId="urn:microsoft.com/office/officeart/2005/8/layout/hList7"/>
    <dgm:cxn modelId="{03E002CC-BFB5-4031-837F-FDB59B2A29A4}" type="presParOf" srcId="{4B7EAC90-01A1-4828-AB0E-42DDDD6508C6}" destId="{2CB8E3A8-D4DF-4584-BFB9-1CC2EDFC5CC1}" srcOrd="2" destOrd="0" presId="urn:microsoft.com/office/officeart/2005/8/layout/hList7"/>
    <dgm:cxn modelId="{B53B972C-7226-465D-96A8-8181BFA23BDD}" type="presParOf" srcId="{4B7EAC90-01A1-4828-AB0E-42DDDD6508C6}" destId="{D633882B-6597-4322-A16B-F91E41B40244}" srcOrd="3" destOrd="0" presId="urn:microsoft.com/office/officeart/2005/8/layout/hList7"/>
    <dgm:cxn modelId="{D04438B1-3D41-4296-85F3-C8DBDDBF1526}" type="presParOf" srcId="{6F02B77C-F7A2-4D2F-9EF6-5815CEB746B4}" destId="{4C698743-D2CE-48B5-AF60-FE1480728D7E}" srcOrd="3" destOrd="0" presId="urn:microsoft.com/office/officeart/2005/8/layout/hList7"/>
    <dgm:cxn modelId="{7D0C1FD3-E864-4049-A857-AFD0E13689D0}" type="presParOf" srcId="{6F02B77C-F7A2-4D2F-9EF6-5815CEB746B4}" destId="{4592C48E-D860-4AFC-B4B5-9A6E37D3281D}" srcOrd="4" destOrd="0" presId="urn:microsoft.com/office/officeart/2005/8/layout/hList7"/>
    <dgm:cxn modelId="{83FA6A7D-490E-4D4F-8129-BB68FE953A7D}" type="presParOf" srcId="{4592C48E-D860-4AFC-B4B5-9A6E37D3281D}" destId="{D76FAF4E-233B-4D79-91E8-19FB06903735}" srcOrd="0" destOrd="0" presId="urn:microsoft.com/office/officeart/2005/8/layout/hList7"/>
    <dgm:cxn modelId="{943A0F12-305F-46FC-BB80-8BFE42088988}" type="presParOf" srcId="{4592C48E-D860-4AFC-B4B5-9A6E37D3281D}" destId="{BBD316A8-3511-4E6C-952C-A0F624A45C76}" srcOrd="1" destOrd="0" presId="urn:microsoft.com/office/officeart/2005/8/layout/hList7"/>
    <dgm:cxn modelId="{B972BB90-3C60-4796-BE73-74C4232C188D}" type="presParOf" srcId="{4592C48E-D860-4AFC-B4B5-9A6E37D3281D}" destId="{88D1F8EA-D264-487F-A347-9BF034938AFB}" srcOrd="2" destOrd="0" presId="urn:microsoft.com/office/officeart/2005/8/layout/hList7"/>
    <dgm:cxn modelId="{90C1F849-AB5A-4540-8303-1625E2E7E704}" type="presParOf" srcId="{4592C48E-D860-4AFC-B4B5-9A6E37D3281D}" destId="{FDE63421-0ECF-4676-AEF7-665AEE20BD8E}"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1A69CE-2CB8-4E5C-A9B9-9B1ADA52DC59}">
      <dsp:nvSpPr>
        <dsp:cNvPr id="0" name=""/>
        <dsp:cNvSpPr/>
      </dsp:nvSpPr>
      <dsp:spPr>
        <a:xfrm>
          <a:off x="40068" y="0"/>
          <a:ext cx="3592673" cy="5457295"/>
        </a:xfrm>
        <a:prstGeom prst="roundRect">
          <a:avLst>
            <a:gd name="adj" fmla="val 10000"/>
          </a:avLst>
        </a:prstGeom>
        <a:solidFill>
          <a:schemeClr val="tx1">
            <a:lumMod val="20000"/>
            <a:lumOff val="80000"/>
          </a:schemeClr>
        </a:solidFill>
        <a:ln w="12700" cap="flat" cmpd="sng" algn="ctr">
          <a:solidFill>
            <a:schemeClr val="lt1">
              <a:hueOff val="0"/>
              <a:satOff val="0"/>
              <a:lumOff val="0"/>
              <a:alphaOff val="0"/>
            </a:schemeClr>
          </a:solidFill>
          <a:prstDash val="solid"/>
          <a:miter lim="800000"/>
        </a:ln>
        <a:effectLst>
          <a:softEdge rad="31750"/>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588894"/>
              </a:solidFill>
              <a:latin typeface="Tw Cen MT" panose="020B0602020104020603" pitchFamily="34" charset="0"/>
            </a:rPr>
            <a:t>Lack of Skill Set &amp; Technology Workforce</a:t>
          </a:r>
        </a:p>
      </dsp:txBody>
      <dsp:txXfrm>
        <a:off x="40068" y="2182918"/>
        <a:ext cx="3592673" cy="2182918"/>
      </dsp:txXfrm>
    </dsp:sp>
    <dsp:sp modelId="{14F8E165-F96C-4609-87A4-65367FBC6EA0}">
      <dsp:nvSpPr>
        <dsp:cNvPr id="0" name=""/>
        <dsp:cNvSpPr/>
      </dsp:nvSpPr>
      <dsp:spPr>
        <a:xfrm>
          <a:off x="532147" y="163532"/>
          <a:ext cx="2631021" cy="263950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ln w="12700" cap="flat" cmpd="sng" algn="ctr">
          <a:solidFill>
            <a:schemeClr val="lt1">
              <a:hueOff val="0"/>
              <a:satOff val="0"/>
              <a:lumOff val="0"/>
              <a:alphaOff val="0"/>
            </a:schemeClr>
          </a:solidFill>
          <a:prstDash val="solid"/>
          <a:miter lim="800000"/>
        </a:ln>
        <a:effectLst>
          <a:glow rad="139700">
            <a:schemeClr val="accent1">
              <a:satMod val="175000"/>
              <a:alpha val="40000"/>
            </a:schemeClr>
          </a:glow>
          <a:outerShdw blurRad="152400" dist="317500" dir="5400000" sx="90000" sy="-19000" rotWithShape="0">
            <a:prstClr val="black">
              <a:alpha val="15000"/>
            </a:prstClr>
          </a:outerShdw>
          <a:softEdge rad="31750"/>
        </a:effectLst>
      </dsp:spPr>
      <dsp:style>
        <a:lnRef idx="2">
          <a:scrgbClr r="0" g="0" b="0"/>
        </a:lnRef>
        <a:fillRef idx="1">
          <a:scrgbClr r="0" g="0" b="0"/>
        </a:fillRef>
        <a:effectRef idx="0">
          <a:scrgbClr r="0" g="0" b="0"/>
        </a:effectRef>
        <a:fontRef idx="minor"/>
      </dsp:style>
    </dsp:sp>
    <dsp:sp modelId="{3B4194FA-6D74-4295-8BCE-19B7D6319FAF}">
      <dsp:nvSpPr>
        <dsp:cNvPr id="0" name=""/>
        <dsp:cNvSpPr/>
      </dsp:nvSpPr>
      <dsp:spPr>
        <a:xfrm>
          <a:off x="3747419" y="25723"/>
          <a:ext cx="3592673" cy="5457295"/>
        </a:xfrm>
        <a:prstGeom prst="roundRect">
          <a:avLst>
            <a:gd name="adj" fmla="val 10000"/>
          </a:avLst>
        </a:prstGeom>
        <a:solidFill>
          <a:schemeClr val="tx1">
            <a:lumMod val="20000"/>
            <a:lumOff val="80000"/>
          </a:schemeClr>
        </a:solidFill>
        <a:ln w="12700" cap="flat" cmpd="sng" algn="ctr">
          <a:solidFill>
            <a:schemeClr val="lt1">
              <a:hueOff val="0"/>
              <a:satOff val="0"/>
              <a:lumOff val="0"/>
              <a:alphaOff val="0"/>
            </a:schemeClr>
          </a:solidFill>
          <a:prstDash val="solid"/>
          <a:miter lim="800000"/>
        </a:ln>
        <a:effectLst>
          <a:softEdge rad="31750"/>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588894"/>
              </a:solidFill>
              <a:latin typeface="Tw Cen MT" panose="020B0602020104020603" pitchFamily="34" charset="0"/>
            </a:rPr>
            <a:t>Transforming The Staff &amp; Student Experience</a:t>
          </a:r>
        </a:p>
      </dsp:txBody>
      <dsp:txXfrm>
        <a:off x="3747419" y="2208641"/>
        <a:ext cx="3592673" cy="2182918"/>
      </dsp:txXfrm>
    </dsp:sp>
    <dsp:sp modelId="{D633882B-6597-4322-A16B-F91E41B40244}">
      <dsp:nvSpPr>
        <dsp:cNvPr id="0" name=""/>
        <dsp:cNvSpPr/>
      </dsp:nvSpPr>
      <dsp:spPr>
        <a:xfrm>
          <a:off x="4235299" y="167362"/>
          <a:ext cx="2601126" cy="257504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5000" r="-45000"/>
          </a:stretch>
        </a:blipFill>
        <a:ln w="12700" cap="flat" cmpd="sng" algn="ctr">
          <a:solidFill>
            <a:schemeClr val="lt1">
              <a:hueOff val="0"/>
              <a:satOff val="0"/>
              <a:lumOff val="0"/>
              <a:alphaOff val="0"/>
            </a:schemeClr>
          </a:solidFill>
          <a:prstDash val="solid"/>
          <a:miter lim="800000"/>
        </a:ln>
        <a:effectLst>
          <a:glow rad="139700">
            <a:schemeClr val="accent1">
              <a:satMod val="175000"/>
              <a:alpha val="40000"/>
            </a:schemeClr>
          </a:glow>
          <a:outerShdw blurRad="152400" dist="317500" dir="5400000" sx="90000" sy="-19000" rotWithShape="0">
            <a:prstClr val="black">
              <a:alpha val="15000"/>
            </a:prstClr>
          </a:outerShdw>
          <a:softEdge rad="31750"/>
        </a:effectLst>
      </dsp:spPr>
      <dsp:style>
        <a:lnRef idx="2">
          <a:scrgbClr r="0" g="0" b="0"/>
        </a:lnRef>
        <a:fillRef idx="1">
          <a:scrgbClr r="0" g="0" b="0"/>
        </a:fillRef>
        <a:effectRef idx="0">
          <a:scrgbClr r="0" g="0" b="0"/>
        </a:effectRef>
        <a:fontRef idx="minor"/>
      </dsp:style>
    </dsp:sp>
    <dsp:sp modelId="{D76FAF4E-233B-4D79-91E8-19FB06903735}">
      <dsp:nvSpPr>
        <dsp:cNvPr id="0" name=""/>
        <dsp:cNvSpPr/>
      </dsp:nvSpPr>
      <dsp:spPr>
        <a:xfrm>
          <a:off x="7378031" y="8259"/>
          <a:ext cx="3592673" cy="5457295"/>
        </a:xfrm>
        <a:prstGeom prst="roundRect">
          <a:avLst>
            <a:gd name="adj" fmla="val 10000"/>
          </a:avLst>
        </a:prstGeom>
        <a:solidFill>
          <a:schemeClr val="tx1">
            <a:lumMod val="20000"/>
            <a:lumOff val="80000"/>
          </a:schemeClr>
        </a:solidFill>
        <a:ln w="12700" cap="flat" cmpd="sng" algn="ctr">
          <a:solidFill>
            <a:schemeClr val="lt1">
              <a:hueOff val="0"/>
              <a:satOff val="0"/>
              <a:lumOff val="0"/>
              <a:alphaOff val="0"/>
            </a:schemeClr>
          </a:solidFill>
          <a:prstDash val="solid"/>
          <a:miter lim="800000"/>
        </a:ln>
        <a:effectLst>
          <a:softEdge rad="31750"/>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588894"/>
              </a:solidFill>
              <a:latin typeface="Tw Cen MT" panose="020B0602020104020603" pitchFamily="34" charset="0"/>
            </a:rPr>
            <a:t>Creating Interdepartmental Synergies</a:t>
          </a:r>
        </a:p>
      </dsp:txBody>
      <dsp:txXfrm>
        <a:off x="7378031" y="2191177"/>
        <a:ext cx="3592673" cy="2182918"/>
      </dsp:txXfrm>
    </dsp:sp>
    <dsp:sp modelId="{FDE63421-0ECF-4676-AEF7-665AEE20BD8E}">
      <dsp:nvSpPr>
        <dsp:cNvPr id="0" name=""/>
        <dsp:cNvSpPr/>
      </dsp:nvSpPr>
      <dsp:spPr>
        <a:xfrm>
          <a:off x="7893456" y="160620"/>
          <a:ext cx="2587733" cy="2505192"/>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3000" r="-33000"/>
          </a:stretch>
        </a:blipFill>
        <a:ln w="12700" cap="flat" cmpd="sng" algn="ctr">
          <a:solidFill>
            <a:schemeClr val="lt1">
              <a:hueOff val="0"/>
              <a:satOff val="0"/>
              <a:lumOff val="0"/>
              <a:alphaOff val="0"/>
            </a:schemeClr>
          </a:solidFill>
          <a:prstDash val="solid"/>
          <a:miter lim="800000"/>
        </a:ln>
        <a:effectLst>
          <a:glow rad="139700">
            <a:schemeClr val="accent1">
              <a:satMod val="175000"/>
              <a:alpha val="40000"/>
            </a:schemeClr>
          </a:glow>
          <a:outerShdw blurRad="152400" dist="317500" dir="5400000" sx="90000" sy="-19000" rotWithShape="0">
            <a:prstClr val="black">
              <a:alpha val="15000"/>
            </a:prstClr>
          </a:outerShdw>
          <a:softEdge rad="31750"/>
        </a:effectLst>
      </dsp:spPr>
      <dsp:style>
        <a:lnRef idx="2">
          <a:scrgbClr r="0" g="0" b="0"/>
        </a:lnRef>
        <a:fillRef idx="1">
          <a:scrgbClr r="0" g="0" b="0"/>
        </a:fillRef>
        <a:effectRef idx="0">
          <a:scrgbClr r="0" g="0" b="0"/>
        </a:effectRef>
        <a:fontRef idx="minor"/>
      </dsp:style>
    </dsp:sp>
    <dsp:sp modelId="{516E7DBC-4AE4-4287-AD23-629FC0169F6A}">
      <dsp:nvSpPr>
        <dsp:cNvPr id="0" name=""/>
        <dsp:cNvSpPr/>
      </dsp:nvSpPr>
      <dsp:spPr>
        <a:xfrm>
          <a:off x="439927" y="4365836"/>
          <a:ext cx="10118343" cy="818594"/>
        </a:xfrm>
        <a:prstGeom prst="leftRightArrow">
          <a:avLst/>
        </a:prstGeom>
        <a:solidFill>
          <a:schemeClr val="tx1">
            <a:lumMod val="75000"/>
          </a:schemeClr>
        </a:solidFill>
        <a:ln w="12700" cap="flat" cmpd="sng" algn="ctr">
          <a:solidFill>
            <a:schemeClr val="lt1">
              <a:hueOff val="0"/>
              <a:satOff val="0"/>
              <a:lumOff val="0"/>
              <a:alphaOff val="0"/>
            </a:schemeClr>
          </a:solidFill>
          <a:prstDash val="solid"/>
          <a:miter lim="800000"/>
        </a:ln>
        <a:effectLst>
          <a:softEdge rad="31750"/>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AB0318E2-47F2-084B-9795-7BF71F6DEAE6}" type="datetimeFigureOut">
              <a:rPr lang="en-US" smtClean="0"/>
              <a:t>10/28/22</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45013173-A5C9-B64B-88EE-D396CC5806B9}" type="slidenum">
              <a:rPr lang="en-US" smtClean="0"/>
              <a:t>‹#›</a:t>
            </a:fld>
            <a:endParaRPr lang="en-US"/>
          </a:p>
        </p:txBody>
      </p:sp>
    </p:spTree>
    <p:extLst>
      <p:ext uri="{BB962C8B-B14F-4D97-AF65-F5344CB8AC3E}">
        <p14:creationId xmlns:p14="http://schemas.microsoft.com/office/powerpoint/2010/main" val="3463457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consumerfinance.gov/complaint/"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ED875-7CA7-4683-B586-34E1A4A09D12}" type="slidenum">
              <a:rPr lang="en-US" smtClean="0"/>
              <a:t>15</a:t>
            </a:fld>
            <a:endParaRPr lang="en-US"/>
          </a:p>
        </p:txBody>
      </p:sp>
    </p:spTree>
    <p:extLst>
      <p:ext uri="{BB962C8B-B14F-4D97-AF65-F5344CB8AC3E}">
        <p14:creationId xmlns:p14="http://schemas.microsoft.com/office/powerpoint/2010/main" val="4097397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2DD951-2C5C-4B13-AFF4-6E328937E72F}" type="slidenum">
              <a:rPr lang="en-US" smtClean="0"/>
              <a:t>29</a:t>
            </a:fld>
            <a:endParaRPr lang="en-US"/>
          </a:p>
        </p:txBody>
      </p:sp>
    </p:spTree>
    <p:extLst>
      <p:ext uri="{BB962C8B-B14F-4D97-AF65-F5344CB8AC3E}">
        <p14:creationId xmlns:p14="http://schemas.microsoft.com/office/powerpoint/2010/main" val="4082909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endParaRPr lang="en-US" dirty="0"/>
          </a:p>
        </p:txBody>
      </p:sp>
      <p:sp>
        <p:nvSpPr>
          <p:cNvPr id="4" name="Slide Number Placeholder 3"/>
          <p:cNvSpPr>
            <a:spLocks noGrp="1"/>
          </p:cNvSpPr>
          <p:nvPr>
            <p:ph type="sldNum" sz="quarter" idx="5"/>
          </p:nvPr>
        </p:nvSpPr>
        <p:spPr/>
        <p:txBody>
          <a:bodyPr/>
          <a:lstStyle/>
          <a:p>
            <a:pPr defTabSz="471145">
              <a:defRPr/>
            </a:pPr>
            <a:fld id="{37DAAB6C-529E-4D18-A896-AB8D8053CA73}" type="slidenum">
              <a:rPr lang="en-US">
                <a:solidFill>
                  <a:prstClr val="black"/>
                </a:solidFill>
                <a:latin typeface="Calibri" panose="020F0502020204030204"/>
              </a:rPr>
              <a:pPr defTabSz="471145">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1341688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2289">
              <a:defRPr/>
            </a:pPr>
            <a:fld id="{1B9A179D-2D27-49E2-B022-8EDDA2EFE682}" type="slidenum">
              <a:rPr lang="en-US">
                <a:solidFill>
                  <a:srgbClr val="595959"/>
                </a:solidFill>
                <a:latin typeface="Book Antiqua"/>
              </a:rPr>
              <a:pPr defTabSz="942289">
                <a:defRPr/>
              </a:pPr>
              <a:t>31</a:t>
            </a:fld>
            <a:endParaRPr lang="en-US">
              <a:solidFill>
                <a:srgbClr val="595959"/>
              </a:solidFill>
              <a:latin typeface="Book Antiqua"/>
            </a:endParaRPr>
          </a:p>
        </p:txBody>
      </p:sp>
    </p:spTree>
    <p:extLst>
      <p:ext uri="{BB962C8B-B14F-4D97-AF65-F5344CB8AC3E}">
        <p14:creationId xmlns:p14="http://schemas.microsoft.com/office/powerpoint/2010/main" val="2342253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
        <p:cNvGrpSpPr/>
        <p:nvPr/>
      </p:nvGrpSpPr>
      <p:grpSpPr>
        <a:xfrm>
          <a:off x="0" y="0"/>
          <a:ext cx="0" cy="0"/>
          <a:chOff x="0" y="0"/>
          <a:chExt cx="0" cy="0"/>
        </a:xfrm>
      </p:grpSpPr>
      <p:sp>
        <p:nvSpPr>
          <p:cNvPr id="143" name="Google Shape;143;g13c38a5e560_0_0: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4" name="Google Shape;144;g13c38a5e560_0_0:notes"/>
          <p:cNvSpPr txBox="1">
            <a:spLocks noGrp="1"/>
          </p:cNvSpPr>
          <p:nvPr>
            <p:ph type="body" idx="1"/>
          </p:nvPr>
        </p:nvSpPr>
        <p:spPr>
          <a:xfrm>
            <a:off x="710248" y="4459526"/>
            <a:ext cx="5681980" cy="4224814"/>
          </a:xfrm>
          <a:prstGeom prst="rect">
            <a:avLst/>
          </a:prstGeom>
          <a:noFill/>
          <a:ln>
            <a:noFill/>
          </a:ln>
        </p:spPr>
        <p:txBody>
          <a:bodyPr spcFirstLastPara="1" wrap="square" lIns="94213" tIns="47094" rIns="94213" bIns="47094" anchor="t" anchorCtr="0">
            <a:noAutofit/>
          </a:bodyPr>
          <a:lstStyle/>
          <a:p>
            <a:endParaRPr>
              <a:solidFill>
                <a:srgbClr val="7F7F7F"/>
              </a:solidFill>
              <a:latin typeface="Source Sans Pro"/>
              <a:ea typeface="Source Sans Pro"/>
              <a:cs typeface="Source Sans Pro"/>
              <a:sym typeface="Source Sans Pro"/>
            </a:endParaRPr>
          </a:p>
        </p:txBody>
      </p:sp>
      <p:sp>
        <p:nvSpPr>
          <p:cNvPr id="145" name="Google Shape;145;g13c38a5e560_0_0:notes"/>
          <p:cNvSpPr txBox="1">
            <a:spLocks noGrp="1"/>
          </p:cNvSpPr>
          <p:nvPr>
            <p:ph type="sldNum" idx="12"/>
          </p:nvPr>
        </p:nvSpPr>
        <p:spPr>
          <a:xfrm>
            <a:off x="4023092" y="8917422"/>
            <a:ext cx="3077739" cy="469424"/>
          </a:xfrm>
          <a:prstGeom prst="rect">
            <a:avLst/>
          </a:prstGeom>
          <a:noFill/>
          <a:ln>
            <a:noFill/>
          </a:ln>
        </p:spPr>
        <p:txBody>
          <a:bodyPr spcFirstLastPara="1" wrap="square" lIns="94213" tIns="47094" rIns="94213" bIns="47094" anchor="b" anchorCtr="0">
            <a:noAutofit/>
          </a:bodyPr>
          <a:lstStyle/>
          <a:p>
            <a:pPr defTabSz="942289">
              <a:buClr>
                <a:srgbClr val="000000"/>
              </a:buClr>
              <a:defRPr/>
            </a:pPr>
            <a:fld id="{00000000-1234-1234-1234-123412341234}" type="slidenum">
              <a:rPr lang="en" sz="1400" kern="0">
                <a:solidFill>
                  <a:srgbClr val="000000"/>
                </a:solidFill>
                <a:latin typeface="Arial"/>
                <a:cs typeface="Arial"/>
                <a:sym typeface="Arial"/>
              </a:rPr>
              <a:pPr defTabSz="942289">
                <a:buClr>
                  <a:srgbClr val="000000"/>
                </a:buClr>
                <a:defRPr/>
              </a:pPr>
              <a:t>33</a:t>
            </a:fld>
            <a:endParaRPr sz="1400" kern="0">
              <a:solidFill>
                <a:srgbClr val="000000"/>
              </a:solidFill>
              <a:latin typeface="Arial"/>
              <a:cs typeface="Arial"/>
              <a:sym typeface="Aria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g12675d5d064_0_9: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0" name="Google Shape;170;g12675d5d064_0_9:notes"/>
          <p:cNvSpPr txBox="1">
            <a:spLocks noGrp="1"/>
          </p:cNvSpPr>
          <p:nvPr>
            <p:ph type="body" idx="1"/>
          </p:nvPr>
        </p:nvSpPr>
        <p:spPr>
          <a:xfrm>
            <a:off x="710248" y="4459526"/>
            <a:ext cx="5681980" cy="4224814"/>
          </a:xfrm>
          <a:prstGeom prst="rect">
            <a:avLst/>
          </a:prstGeom>
          <a:noFill/>
          <a:ln>
            <a:noFill/>
          </a:ln>
        </p:spPr>
        <p:txBody>
          <a:bodyPr spcFirstLastPara="1" wrap="square" lIns="94213" tIns="94213" rIns="94213" bIns="94213" anchor="t" anchorCtr="0">
            <a:noAutofit/>
          </a:bodyPr>
          <a:lstStyle/>
          <a:p>
            <a:pPr algn="just">
              <a:lnSpc>
                <a:spcPct val="115000"/>
              </a:lnSpc>
              <a:spcBef>
                <a:spcPts val="1237"/>
              </a:spcBef>
              <a:spcAft>
                <a:spcPts val="1237"/>
              </a:spcAft>
              <a:buClr>
                <a:schemeClr val="dk1"/>
              </a:buClr>
              <a:buSzPts val="1100"/>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g7d7a35f23c_1_0: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 name="Google Shape;224;g7d7a35f23c_1_0:notes"/>
          <p:cNvSpPr txBox="1">
            <a:spLocks noGrp="1"/>
          </p:cNvSpPr>
          <p:nvPr>
            <p:ph type="body" idx="1"/>
          </p:nvPr>
        </p:nvSpPr>
        <p:spPr>
          <a:xfrm>
            <a:off x="710248" y="4459526"/>
            <a:ext cx="5681980" cy="4224814"/>
          </a:xfrm>
          <a:prstGeom prst="rect">
            <a:avLst/>
          </a:prstGeom>
          <a:noFill/>
          <a:ln>
            <a:noFill/>
          </a:ln>
        </p:spPr>
        <p:txBody>
          <a:bodyPr spcFirstLastPara="1" wrap="square" lIns="94213" tIns="94213" rIns="94213" bIns="94213" anchor="t" anchorCtr="0">
            <a:noAutofit/>
          </a:bodyPr>
          <a:lstStyle/>
          <a:p>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Google Shape;160;p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 name="Google Shape;161;p1:notes"/>
          <p:cNvSpPr txBox="1">
            <a:spLocks noGrp="1"/>
          </p:cNvSpPr>
          <p:nvPr>
            <p:ph type="body" idx="1"/>
          </p:nvPr>
        </p:nvSpPr>
        <p:spPr>
          <a:xfrm>
            <a:off x="710248" y="4518204"/>
            <a:ext cx="5681980" cy="3696866"/>
          </a:xfrm>
          <a:prstGeom prst="rect">
            <a:avLst/>
          </a:prstGeom>
          <a:noFill/>
          <a:ln>
            <a:noFill/>
          </a:ln>
        </p:spPr>
        <p:txBody>
          <a:bodyPr spcFirstLastPara="1" wrap="square" lIns="94213" tIns="47094" rIns="94213" bIns="47094" anchor="t" anchorCtr="0">
            <a:noAutofit/>
          </a:bodyPr>
          <a:lstStyle/>
          <a:p>
            <a:pPr>
              <a:buSzPts val="1400"/>
            </a:pPr>
            <a:endParaRPr/>
          </a:p>
        </p:txBody>
      </p:sp>
      <p:sp>
        <p:nvSpPr>
          <p:cNvPr id="162" name="Google Shape;162;p1:notes"/>
          <p:cNvSpPr txBox="1">
            <a:spLocks noGrp="1"/>
          </p:cNvSpPr>
          <p:nvPr>
            <p:ph type="sldNum" idx="12"/>
          </p:nvPr>
        </p:nvSpPr>
        <p:spPr>
          <a:xfrm>
            <a:off x="4023092" y="8917422"/>
            <a:ext cx="3077739" cy="470964"/>
          </a:xfrm>
          <a:prstGeom prst="rect">
            <a:avLst/>
          </a:prstGeom>
          <a:noFill/>
          <a:ln>
            <a:noFill/>
          </a:ln>
        </p:spPr>
        <p:txBody>
          <a:bodyPr spcFirstLastPara="1" wrap="square" lIns="94213" tIns="47094" rIns="94213" bIns="47094" anchor="b" anchorCtr="0">
            <a:noAutofit/>
          </a:bodyPr>
          <a:lstStyle/>
          <a:p>
            <a:pPr>
              <a:buClr>
                <a:srgbClr val="000000"/>
              </a:buClr>
              <a:buSzPts val="1400"/>
            </a:pPr>
            <a:fld id="{00000000-1234-1234-1234-123412341234}" type="slidenum">
              <a:rPr lang="en-US"/>
              <a:pPr>
                <a:buClr>
                  <a:srgbClr val="000000"/>
                </a:buClr>
                <a:buSzPts val="1400"/>
              </a:pPr>
              <a:t>37</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p2: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a:buSzPts val="1400"/>
            </a:pPr>
            <a:endParaRPr/>
          </a:p>
        </p:txBody>
      </p:sp>
      <p:sp>
        <p:nvSpPr>
          <p:cNvPr id="170" name="Google Shape;170;p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Google Shape;179;p5: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a:buSzPts val="1400"/>
            </a:pPr>
            <a:endParaRPr/>
          </a:p>
        </p:txBody>
      </p:sp>
      <p:sp>
        <p:nvSpPr>
          <p:cNvPr id="180" name="Google Shape;180;p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148ec348d69_0_200:notes"/>
          <p:cNvSpPr txBox="1">
            <a:spLocks noGrp="1"/>
          </p:cNvSpPr>
          <p:nvPr>
            <p:ph type="body" idx="1"/>
          </p:nvPr>
        </p:nvSpPr>
        <p:spPr>
          <a:xfrm>
            <a:off x="710248" y="4518204"/>
            <a:ext cx="5681980" cy="3696866"/>
          </a:xfrm>
          <a:prstGeom prst="rect">
            <a:avLst/>
          </a:prstGeom>
        </p:spPr>
        <p:txBody>
          <a:bodyPr spcFirstLastPara="1" wrap="square" lIns="94213" tIns="47094" rIns="94213" bIns="47094" anchor="t" anchorCtr="0">
            <a:noAutofit/>
          </a:bodyPr>
          <a:lstStyle/>
          <a:p>
            <a:endParaRPr/>
          </a:p>
        </p:txBody>
      </p:sp>
      <p:sp>
        <p:nvSpPr>
          <p:cNvPr id="190" name="Google Shape;190;g148ec348d69_0_20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7525" y="746125"/>
            <a:ext cx="6619875"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5113608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148ec348d69_0_220:notes"/>
          <p:cNvSpPr txBox="1">
            <a:spLocks noGrp="1"/>
          </p:cNvSpPr>
          <p:nvPr>
            <p:ph type="body" idx="1"/>
          </p:nvPr>
        </p:nvSpPr>
        <p:spPr>
          <a:xfrm>
            <a:off x="710248" y="4518204"/>
            <a:ext cx="5681980" cy="3696866"/>
          </a:xfrm>
          <a:prstGeom prst="rect">
            <a:avLst/>
          </a:prstGeom>
          <a:noFill/>
          <a:ln>
            <a:noFill/>
          </a:ln>
        </p:spPr>
        <p:txBody>
          <a:bodyPr spcFirstLastPara="1" wrap="square" lIns="94213" tIns="47094" rIns="94213" bIns="47094" anchor="t" anchorCtr="0">
            <a:noAutofit/>
          </a:bodyPr>
          <a:lstStyle/>
          <a:p>
            <a:pPr>
              <a:buSzPts val="1400"/>
            </a:pPr>
            <a:endParaRPr/>
          </a:p>
        </p:txBody>
      </p:sp>
      <p:sp>
        <p:nvSpPr>
          <p:cNvPr id="199" name="Google Shape;199;g148ec348d69_0_22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g1692f421b70_0_0: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0" name="Google Shape;210;g1692f421b70_0_0:notes"/>
          <p:cNvSpPr txBox="1">
            <a:spLocks noGrp="1"/>
          </p:cNvSpPr>
          <p:nvPr>
            <p:ph type="body" idx="1"/>
          </p:nvPr>
        </p:nvSpPr>
        <p:spPr>
          <a:xfrm>
            <a:off x="710248" y="4459526"/>
            <a:ext cx="5681980" cy="4224814"/>
          </a:xfrm>
          <a:prstGeom prst="rect">
            <a:avLst/>
          </a:prstGeom>
        </p:spPr>
        <p:txBody>
          <a:bodyPr spcFirstLastPara="1" wrap="square" lIns="94213" tIns="47094" rIns="94213" bIns="47094" anchor="t" anchorCtr="0">
            <a:noAutofit/>
          </a:bodyPr>
          <a:lstStyle/>
          <a:p>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
        <p:cNvGrpSpPr/>
        <p:nvPr/>
      </p:nvGrpSpPr>
      <p:grpSpPr>
        <a:xfrm>
          <a:off x="0" y="0"/>
          <a:ext cx="0" cy="0"/>
          <a:chOff x="0" y="0"/>
          <a:chExt cx="0" cy="0"/>
        </a:xfrm>
      </p:grpSpPr>
      <p:sp>
        <p:nvSpPr>
          <p:cNvPr id="222" name="Google Shape;222;g148eff1105b_0_24:notes"/>
          <p:cNvSpPr txBox="1">
            <a:spLocks noGrp="1"/>
          </p:cNvSpPr>
          <p:nvPr>
            <p:ph type="body" idx="1"/>
          </p:nvPr>
        </p:nvSpPr>
        <p:spPr>
          <a:xfrm>
            <a:off x="710248" y="4518204"/>
            <a:ext cx="5681980" cy="3696866"/>
          </a:xfrm>
          <a:prstGeom prst="rect">
            <a:avLst/>
          </a:prstGeom>
          <a:noFill/>
          <a:ln>
            <a:noFill/>
          </a:ln>
        </p:spPr>
        <p:txBody>
          <a:bodyPr spcFirstLastPara="1" wrap="square" lIns="94213" tIns="47094" rIns="94213" bIns="47094" anchor="t" anchorCtr="0">
            <a:noAutofit/>
          </a:bodyPr>
          <a:lstStyle/>
          <a:p>
            <a:pPr>
              <a:buSzPts val="1400"/>
            </a:pPr>
            <a:endParaRPr/>
          </a:p>
        </p:txBody>
      </p:sp>
      <p:sp>
        <p:nvSpPr>
          <p:cNvPr id="223" name="Google Shape;223;g148eff1105b_0_2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5013173-A5C9-B64B-88EE-D396CC5806B9}" type="slidenum">
              <a:rPr lang="en-US" smtClean="0"/>
              <a:pPr/>
              <a:t>45</a:t>
            </a:fld>
            <a:endParaRPr lang="en-US" dirty="0"/>
          </a:p>
        </p:txBody>
      </p:sp>
    </p:spTree>
    <p:extLst>
      <p:ext uri="{BB962C8B-B14F-4D97-AF65-F5344CB8AC3E}">
        <p14:creationId xmlns:p14="http://schemas.microsoft.com/office/powerpoint/2010/main" val="1901035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7 Banks in Ohio Offer these accounts</a:t>
            </a:r>
          </a:p>
        </p:txBody>
      </p:sp>
      <p:sp>
        <p:nvSpPr>
          <p:cNvPr id="4" name="Slide Number Placeholder 3"/>
          <p:cNvSpPr>
            <a:spLocks noGrp="1"/>
          </p:cNvSpPr>
          <p:nvPr>
            <p:ph type="sldNum" sz="quarter" idx="10"/>
          </p:nvPr>
        </p:nvSpPr>
        <p:spPr/>
        <p:txBody>
          <a:bodyPr/>
          <a:lstStyle/>
          <a:p>
            <a:fld id="{45013173-A5C9-B64B-88EE-D396CC5806B9}" type="slidenum">
              <a:rPr lang="en-US" smtClean="0"/>
              <a:pPr/>
              <a:t>46</a:t>
            </a:fld>
            <a:endParaRPr lang="en-US" dirty="0"/>
          </a:p>
        </p:txBody>
      </p:sp>
    </p:spTree>
    <p:extLst>
      <p:ext uri="{BB962C8B-B14F-4D97-AF65-F5344CB8AC3E}">
        <p14:creationId xmlns:p14="http://schemas.microsoft.com/office/powerpoint/2010/main" val="34363623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5013173-A5C9-B64B-88EE-D396CC5806B9}" type="slidenum">
              <a:rPr lang="en-US" smtClean="0"/>
              <a:pPr/>
              <a:t>47</a:t>
            </a:fld>
            <a:endParaRPr lang="en-US" dirty="0"/>
          </a:p>
        </p:txBody>
      </p:sp>
    </p:spTree>
    <p:extLst>
      <p:ext uri="{BB962C8B-B14F-4D97-AF65-F5344CB8AC3E}">
        <p14:creationId xmlns:p14="http://schemas.microsoft.com/office/powerpoint/2010/main" val="9219597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1:notes"/>
          <p:cNvSpPr txBox="1">
            <a:spLocks noGrp="1"/>
          </p:cNvSpPr>
          <p:nvPr>
            <p:ph type="body" idx="1"/>
          </p:nvPr>
        </p:nvSpPr>
        <p:spPr>
          <a:xfrm>
            <a:off x="757597" y="4682502"/>
            <a:ext cx="6060779" cy="4436054"/>
          </a:xfrm>
          <a:prstGeom prst="rect">
            <a:avLst/>
          </a:prstGeom>
        </p:spPr>
        <p:txBody>
          <a:bodyPr spcFirstLastPara="1" wrap="square" lIns="99593" tIns="49782" rIns="99593" bIns="49782" anchor="t" anchorCtr="0">
            <a:noAutofit/>
          </a:bodyPr>
          <a:lstStyle/>
          <a:p>
            <a:pPr algn="l"/>
            <a:endParaRPr lang="en-US" dirty="0">
              <a:solidFill>
                <a:schemeClr val="dk1"/>
              </a:solidFill>
              <a:ea typeface="Calibri"/>
              <a:cs typeface="Calibri"/>
              <a:sym typeface="Calibri"/>
            </a:endParaRPr>
          </a:p>
          <a:p>
            <a:pPr>
              <a:buFont typeface="Arial" panose="020B0604020202020204" pitchFamily="34" charset="0"/>
              <a:buNone/>
            </a:pPr>
            <a:r>
              <a:rPr lang="en-US" b="1" u="sng" dirty="0">
                <a:solidFill>
                  <a:schemeClr val="dk1"/>
                </a:solidFill>
                <a:cs typeface="Calibri"/>
                <a:sym typeface="Calibri"/>
              </a:rPr>
              <a:t>Sources and additional information</a:t>
            </a:r>
          </a:p>
          <a:p>
            <a:pPr>
              <a:buFont typeface="Arial" panose="020B0604020202020204" pitchFamily="34" charset="0"/>
              <a:buNone/>
            </a:pPr>
            <a:r>
              <a:rPr lang="en-US" b="1" u="sng" dirty="0">
                <a:solidFill>
                  <a:schemeClr val="dk1"/>
                </a:solidFill>
                <a:cs typeface="Calibri"/>
                <a:sym typeface="Calibri"/>
              </a:rPr>
              <a:t>https://www.consumerfinance.gov/your-money-your-goals/</a:t>
            </a:r>
          </a:p>
          <a:p>
            <a:pPr>
              <a:buFont typeface="Arial" panose="020B0604020202020204" pitchFamily="34" charset="0"/>
              <a:buNone/>
            </a:pPr>
            <a:endParaRPr lang="en-US" b="1" u="sng" dirty="0">
              <a:solidFill>
                <a:schemeClr val="dk1"/>
              </a:solidFill>
              <a:cs typeface="Calibri"/>
              <a:sym typeface="Calibri"/>
            </a:endParaRPr>
          </a:p>
          <a:p>
            <a:pPr defTabSz="996094">
              <a:defRPr/>
            </a:pPr>
            <a:r>
              <a:rPr lang="en-US" i="1" dirty="0">
                <a:solidFill>
                  <a:schemeClr val="dk1"/>
                </a:solidFill>
                <a:cs typeface="Calibri"/>
                <a:sym typeface="Calibri"/>
              </a:rPr>
              <a:t>Your Money, Your Goals: A financial empowerment toolkit</a:t>
            </a:r>
            <a:br>
              <a:rPr lang="en-US" i="1" dirty="0">
                <a:solidFill>
                  <a:schemeClr val="dk1"/>
                </a:solidFill>
                <a:cs typeface="Calibri"/>
                <a:sym typeface="Calibri"/>
              </a:rPr>
            </a:br>
            <a:r>
              <a:rPr lang="en-US" dirty="0">
                <a:solidFill>
                  <a:schemeClr val="dk1"/>
                </a:solidFill>
                <a:cs typeface="Calibri"/>
                <a:sym typeface="Calibri"/>
              </a:rPr>
              <a:t>https://files.consumerfinance.gov/f/documents/cfpb_your-money-your-goals_financial-empowerment_toolkit.pdf </a:t>
            </a:r>
          </a:p>
          <a:p>
            <a:pPr defTabSz="955579">
              <a:spcBef>
                <a:spcPct val="0"/>
              </a:spcBef>
              <a:defRPr/>
            </a:pPr>
            <a:endParaRPr lang="en-US" b="1" u="sng" dirty="0">
              <a:solidFill>
                <a:srgbClr val="000000"/>
              </a:solidFill>
            </a:endParaRPr>
          </a:p>
          <a:p>
            <a:endParaRPr lang="en-US" dirty="0"/>
          </a:p>
        </p:txBody>
      </p:sp>
      <p:sp>
        <p:nvSpPr>
          <p:cNvPr id="84" name="Google Shape;84;p1:notes"/>
          <p:cNvSpPr>
            <a:spLocks noGrp="1" noRot="1" noChangeAspect="1"/>
          </p:cNvSpPr>
          <p:nvPr>
            <p:ph type="sldImg" idx="2"/>
          </p:nvPr>
        </p:nvSpPr>
        <p:spPr>
          <a:xfrm>
            <a:off x="501650" y="739775"/>
            <a:ext cx="6572250" cy="3697288"/>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p3:notes"/>
          <p:cNvSpPr txBox="1">
            <a:spLocks noGrp="1"/>
          </p:cNvSpPr>
          <p:nvPr>
            <p:ph type="body" idx="1"/>
          </p:nvPr>
        </p:nvSpPr>
        <p:spPr>
          <a:xfrm>
            <a:off x="757597" y="4682502"/>
            <a:ext cx="6060779" cy="4436054"/>
          </a:xfrm>
          <a:prstGeom prst="rect">
            <a:avLst/>
          </a:prstGeom>
        </p:spPr>
        <p:txBody>
          <a:bodyPr spcFirstLastPara="1" wrap="square" lIns="99593" tIns="49782" rIns="99593" bIns="49782" anchor="t" anchorCtr="0">
            <a:noAutofit/>
          </a:bodyPr>
          <a:lstStyle/>
          <a:p>
            <a:endParaRPr lang="en-US" dirty="0"/>
          </a:p>
        </p:txBody>
      </p:sp>
      <p:sp>
        <p:nvSpPr>
          <p:cNvPr id="98" name="Google Shape;98;p3:notes"/>
          <p:cNvSpPr>
            <a:spLocks noGrp="1" noRot="1" noChangeAspect="1"/>
          </p:cNvSpPr>
          <p:nvPr>
            <p:ph type="sldImg" idx="2"/>
          </p:nvPr>
        </p:nvSpPr>
        <p:spPr>
          <a:xfrm>
            <a:off x="501650" y="739775"/>
            <a:ext cx="6572250" cy="3697288"/>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u="sng" dirty="0">
                <a:solidFill>
                  <a:srgbClr val="000000"/>
                </a:solidFill>
              </a:rPr>
              <a:t>Instructions for Facilitator:</a:t>
            </a:r>
          </a:p>
          <a:p>
            <a:pPr eaLnBrk="1" hangingPunct="1">
              <a:spcBef>
                <a:spcPct val="0"/>
              </a:spcBef>
              <a:buFontTx/>
              <a:buChar char="•"/>
            </a:pPr>
            <a:endParaRPr lang="en-US" altLang="en-US" b="1" u="sng" dirty="0">
              <a:solidFill>
                <a:srgbClr val="000000"/>
              </a:solidFill>
            </a:endParaRPr>
          </a:p>
          <a:p>
            <a:pPr eaLnBrk="1" hangingPunct="1">
              <a:spcBef>
                <a:spcPct val="0"/>
              </a:spcBef>
            </a:pPr>
            <a:r>
              <a:rPr lang="en-US" altLang="en-US" dirty="0">
                <a:solidFill>
                  <a:srgbClr val="000000"/>
                </a:solidFill>
              </a:rPr>
              <a:t>Introduce key facts about the CFPB using information from the website.</a:t>
            </a:r>
          </a:p>
          <a:p>
            <a:pPr eaLnBrk="1" hangingPunct="1">
              <a:spcBef>
                <a:spcPct val="0"/>
              </a:spcBef>
            </a:pPr>
            <a:endParaRPr lang="en-US" altLang="en-US" dirty="0">
              <a:solidFill>
                <a:srgbClr val="000000"/>
              </a:solidFill>
            </a:endParaRPr>
          </a:p>
          <a:p>
            <a:pPr defTabSz="471145">
              <a:spcBef>
                <a:spcPct val="0"/>
              </a:spcBef>
              <a:defRPr/>
            </a:pPr>
            <a:r>
              <a:rPr lang="en-US" altLang="en-US" dirty="0">
                <a:solidFill>
                  <a:srgbClr val="FF0000"/>
                </a:solidFill>
              </a:rPr>
              <a:t>Explain that a key goal of the training is to connect frontline staff to CFPB resources, including Consumer Response.</a:t>
            </a:r>
          </a:p>
          <a:p>
            <a:pPr eaLnBrk="1" hangingPunct="1">
              <a:spcBef>
                <a:spcPct val="0"/>
              </a:spcBef>
            </a:pPr>
            <a:endParaRPr lang="en-US" altLang="en-US" dirty="0">
              <a:solidFill>
                <a:srgbClr val="000000"/>
              </a:solidFill>
            </a:endParaRPr>
          </a:p>
          <a:p>
            <a:pPr eaLnBrk="1" hangingPunct="1">
              <a:spcBef>
                <a:spcPct val="0"/>
              </a:spcBef>
            </a:pPr>
            <a:endParaRPr lang="en-US" altLang="en-US" dirty="0">
              <a:solidFill>
                <a:srgbClr val="000000"/>
              </a:solidFill>
            </a:endParaRPr>
          </a:p>
          <a:p>
            <a:r>
              <a:rPr lang="en-US" dirty="0"/>
              <a:t>The Bureau</a:t>
            </a:r>
          </a:p>
          <a:p>
            <a:r>
              <a:rPr lang="en-US" dirty="0"/>
              <a:t>We aim to make consumer financial markets work for consumers, responsible providers, and the economy as a whole. We protect consumers from unfair, deceptive, or abusive practices and take action against companies that break the law. We arm people with the information, steps, and tools that they need to make smart financial decisions.</a:t>
            </a:r>
          </a:p>
          <a:p>
            <a:endParaRPr lang="en-US" dirty="0"/>
          </a:p>
          <a:p>
            <a:r>
              <a:rPr lang="en-US" dirty="0"/>
              <a:t>In a market that works, the prices, risks, and terms of the deal are clear upfront so that consumers can understand their options and comparison shop. Companies all play by the same consumer protection rules and compete fairly on providing quality and service. To achieve this vision, the CFPB works to:</a:t>
            </a:r>
          </a:p>
          <a:p>
            <a:endParaRPr lang="en-US" dirty="0"/>
          </a:p>
          <a:p>
            <a:pPr fontAlgn="t"/>
            <a:r>
              <a:rPr lang="en-US" dirty="0"/>
              <a:t>Empower</a:t>
            </a:r>
          </a:p>
          <a:p>
            <a:pPr fontAlgn="t"/>
            <a:r>
              <a:rPr lang="en-US" dirty="0"/>
              <a:t>We create tools, answer common questions, and provide tips that help consumers navigate their financial choices and shop for the deal that works best for them.</a:t>
            </a:r>
          </a:p>
          <a:p>
            <a:pPr fontAlgn="t"/>
            <a:endParaRPr lang="en-US" dirty="0"/>
          </a:p>
          <a:p>
            <a:pPr fontAlgn="t"/>
            <a:r>
              <a:rPr lang="en-US" dirty="0"/>
              <a:t>Enforce</a:t>
            </a:r>
          </a:p>
          <a:p>
            <a:pPr fontAlgn="t"/>
            <a:r>
              <a:rPr lang="en-US" dirty="0"/>
              <a:t>We take action against predatory companies and practices that violate the law and have already returned billions of dollars to harmed consumers.</a:t>
            </a:r>
          </a:p>
          <a:p>
            <a:pPr fontAlgn="t"/>
            <a:endParaRPr lang="en-US" dirty="0"/>
          </a:p>
          <a:p>
            <a:pPr fontAlgn="t"/>
            <a:r>
              <a:rPr lang="en-US" dirty="0"/>
              <a:t>Educate</a:t>
            </a:r>
          </a:p>
          <a:p>
            <a:pPr fontAlgn="t"/>
            <a:r>
              <a:rPr lang="en-US" dirty="0"/>
              <a:t>We encourage financial education and capability from childhood through retirement, publish research, and educate financial companies about their responsibilities.</a:t>
            </a:r>
          </a:p>
          <a:p>
            <a:pPr eaLnBrk="1" hangingPunct="1">
              <a:spcBef>
                <a:spcPct val="0"/>
              </a:spcBef>
            </a:pPr>
            <a:endParaRPr lang="en-US" altLang="en-US" dirty="0">
              <a:solidFill>
                <a:srgbClr val="000000"/>
              </a:solidFill>
            </a:endParaRPr>
          </a:p>
          <a:p>
            <a:pPr marL="173871" lvl="1" indent="-173871">
              <a:spcBef>
                <a:spcPct val="0"/>
              </a:spcBef>
              <a:buFontTx/>
              <a:buChar char="•"/>
            </a:pPr>
            <a:r>
              <a:rPr lang="en-US" altLang="en-US" dirty="0">
                <a:solidFill>
                  <a:srgbClr val="FF0000"/>
                </a:solidFill>
              </a:rPr>
              <a:t>Explain that a key goal of the training is to connect frontline staff to CFPB resources, including Consumer Response.</a:t>
            </a:r>
          </a:p>
          <a:p>
            <a:pPr marL="0" lvl="1">
              <a:spcBef>
                <a:spcPct val="0"/>
              </a:spcBef>
            </a:pPr>
            <a:endParaRPr lang="en-US" altLang="en-US" dirty="0">
              <a:solidFill>
                <a:srgbClr val="000000"/>
              </a:solidFill>
            </a:endParaRPr>
          </a:p>
        </p:txBody>
      </p:sp>
      <p:sp>
        <p:nvSpPr>
          <p:cNvPr id="4608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eorgia" panose="02040502050405020303" pitchFamily="18" charset="0"/>
                <a:ea typeface="MS PGothic" panose="020B0600070205080204" pitchFamily="34" charset="-128"/>
              </a:defRPr>
            </a:lvl1pPr>
            <a:lvl2pPr marL="778444" indent="-298376">
              <a:defRPr>
                <a:solidFill>
                  <a:schemeClr val="tx1"/>
                </a:solidFill>
                <a:latin typeface="Georgia" panose="02040502050405020303" pitchFamily="18" charset="0"/>
                <a:ea typeface="MS PGothic" panose="020B0600070205080204" pitchFamily="34" charset="-128"/>
              </a:defRPr>
            </a:lvl2pPr>
            <a:lvl3pPr marL="1198502" indent="-238368">
              <a:defRPr>
                <a:solidFill>
                  <a:schemeClr val="tx1"/>
                </a:solidFill>
                <a:latin typeface="Georgia" panose="02040502050405020303" pitchFamily="18" charset="0"/>
                <a:ea typeface="MS PGothic" panose="020B0600070205080204" pitchFamily="34" charset="-128"/>
              </a:defRPr>
            </a:lvl3pPr>
            <a:lvl4pPr marL="1678570" indent="-238368">
              <a:defRPr>
                <a:solidFill>
                  <a:schemeClr val="tx1"/>
                </a:solidFill>
                <a:latin typeface="Georgia" panose="02040502050405020303" pitchFamily="18" charset="0"/>
                <a:ea typeface="MS PGothic" panose="020B0600070205080204" pitchFamily="34" charset="-128"/>
              </a:defRPr>
            </a:lvl4pPr>
            <a:lvl5pPr marL="2158637" indent="-238368">
              <a:defRPr>
                <a:solidFill>
                  <a:schemeClr val="tx1"/>
                </a:solidFill>
                <a:latin typeface="Georgia" panose="02040502050405020303" pitchFamily="18" charset="0"/>
                <a:ea typeface="MS PGothic" panose="020B0600070205080204" pitchFamily="34" charset="-128"/>
              </a:defRPr>
            </a:lvl5pPr>
            <a:lvl6pPr marL="2638704" indent="-238368" defTabSz="480068"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6pPr>
            <a:lvl7pPr marL="3118772" indent="-238368" defTabSz="480068"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7pPr>
            <a:lvl8pPr marL="3598839" indent="-238368" defTabSz="480068"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8pPr>
            <a:lvl9pPr marL="4078907" indent="-238368" defTabSz="480068"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9pPr>
          </a:lstStyle>
          <a:p>
            <a:fld id="{A58C9AE2-DB5D-441F-8D54-4B600066D43E}" type="slidenum">
              <a:rPr lang="en-US" altLang="en-US" smtClean="0">
                <a:latin typeface="Calibri" panose="020F0502020204030204" pitchFamily="34" charset="0"/>
              </a:rPr>
              <a:pPr/>
              <a:t>52</a:t>
            </a:fld>
            <a:endParaRPr lang="en-US" altLang="en-US" dirty="0">
              <a:latin typeface="Calibri" panose="020F0502020204030204" pitchFamily="34" charset="0"/>
            </a:endParaRPr>
          </a:p>
        </p:txBody>
      </p:sp>
    </p:spTree>
    <p:extLst>
      <p:ext uri="{BB962C8B-B14F-4D97-AF65-F5344CB8AC3E}">
        <p14:creationId xmlns:p14="http://schemas.microsoft.com/office/powerpoint/2010/main" val="31598559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u="sng" dirty="0">
                <a:solidFill>
                  <a:schemeClr val="dk1"/>
                </a:solidFill>
                <a:ea typeface="Calibri"/>
                <a:cs typeface="Calibri"/>
                <a:sym typeface="Calibri"/>
              </a:rPr>
              <a:t>Key concept</a:t>
            </a:r>
          </a:p>
          <a:p>
            <a:pPr algn="l" rtl="0" fontAlgn="base">
              <a:buFont typeface="Arial" panose="020B0604020202020204" pitchFamily="34" charset="0"/>
              <a:buNone/>
            </a:pPr>
            <a:r>
              <a:rPr lang="en-US" dirty="0">
                <a:solidFill>
                  <a:srgbClr val="000000"/>
                </a:solidFill>
              </a:rPr>
              <a:t>There are resources that can help you as you do this work in your community. </a:t>
            </a:r>
          </a:p>
          <a:p>
            <a:pPr algn="l" rtl="0" fontAlgn="base">
              <a:buFont typeface="Arial" panose="020B0604020202020204" pitchFamily="34" charset="0"/>
              <a:buNone/>
            </a:pPr>
            <a:endParaRPr lang="en-US" dirty="0">
              <a:solidFill>
                <a:srgbClr val="000000"/>
              </a:solidFill>
            </a:endParaRPr>
          </a:p>
          <a:p>
            <a:pPr>
              <a:buFont typeface="Arial" panose="020B0604020202020204" pitchFamily="34" charset="0"/>
              <a:buNone/>
            </a:pPr>
            <a:r>
              <a:rPr lang="en-US" b="1" u="sng" dirty="0">
                <a:solidFill>
                  <a:schemeClr val="dk1"/>
                </a:solidFill>
                <a:cs typeface="Calibri"/>
                <a:sym typeface="Calibri"/>
              </a:rPr>
              <a:t>Sources and additional information</a:t>
            </a:r>
          </a:p>
          <a:p>
            <a:pPr algn="l" rtl="0" fontAlgn="base">
              <a:buFont typeface="Arial" panose="020B0604020202020204" pitchFamily="34" charset="0"/>
              <a:buNone/>
            </a:pPr>
            <a:r>
              <a:rPr lang="en-US" dirty="0">
                <a:solidFill>
                  <a:srgbClr val="000000"/>
                </a:solidFill>
              </a:rPr>
              <a:t>https://www.consumerfinance.gov/coronavirus/</a:t>
            </a:r>
          </a:p>
          <a:p>
            <a:pPr algn="l" rtl="0" fontAlgn="base">
              <a:buFont typeface="Arial" panose="020B0604020202020204" pitchFamily="34" charset="0"/>
              <a:buNone/>
            </a:pPr>
            <a:endParaRPr lang="en-US" b="1" u="sng" dirty="0">
              <a:solidFill>
                <a:schemeClr val="dk1"/>
              </a:solidFill>
              <a:ea typeface="Calibri"/>
              <a:cs typeface="Calibri"/>
              <a:sym typeface="Calibri"/>
            </a:endParaRPr>
          </a:p>
          <a:p>
            <a:r>
              <a:rPr lang="en-US" b="1" u="sng" dirty="0">
                <a:solidFill>
                  <a:schemeClr val="dk1"/>
                </a:solidFill>
                <a:ea typeface="Calibri"/>
                <a:cs typeface="Calibri"/>
                <a:sym typeface="Calibri"/>
              </a:rPr>
              <a:t>Instructions for facilitation </a:t>
            </a:r>
          </a:p>
          <a:p>
            <a:pPr marL="294465" indent="-294465">
              <a:buFont typeface="Arial" panose="020B0604020202020204" pitchFamily="34" charset="0"/>
              <a:buChar char="•"/>
            </a:pPr>
            <a:r>
              <a:rPr lang="en-US" dirty="0">
                <a:solidFill>
                  <a:schemeClr val="dk1"/>
                </a:solidFill>
                <a:ea typeface="Calibri"/>
                <a:cs typeface="Calibri"/>
                <a:sym typeface="Calibri"/>
              </a:rPr>
              <a:t>Methodology: Closing / Presentation </a:t>
            </a:r>
          </a:p>
          <a:p>
            <a:pPr defTabSz="955579">
              <a:spcBef>
                <a:spcPct val="0"/>
              </a:spcBef>
              <a:defRPr/>
            </a:pPr>
            <a:endParaRPr lang="en-US" b="1" u="sng" dirty="0">
              <a:solidFill>
                <a:srgbClr val="000000"/>
              </a:solidFill>
            </a:endParaRPr>
          </a:p>
          <a:p>
            <a:pPr defTabSz="955579">
              <a:spcBef>
                <a:spcPct val="0"/>
              </a:spcBef>
              <a:defRPr/>
            </a:pPr>
            <a:r>
              <a:rPr lang="en-US" b="1" u="sng" dirty="0">
                <a:solidFill>
                  <a:srgbClr val="000000"/>
                </a:solidFill>
              </a:rPr>
              <a:t>Suggested script</a:t>
            </a:r>
            <a:r>
              <a:rPr lang="en-US" dirty="0">
                <a:solidFill>
                  <a:srgbClr val="444444"/>
                </a:solidFill>
              </a:rPr>
              <a:t>​</a:t>
            </a:r>
          </a:p>
          <a:p>
            <a:pPr marL="294465" indent="-294465">
              <a:buFont typeface="Arial" panose="020B0604020202020204" pitchFamily="34" charset="0"/>
              <a:buChar char="•"/>
            </a:pPr>
            <a:r>
              <a:rPr lang="en-US" dirty="0">
                <a:solidFill>
                  <a:schemeClr val="dk1"/>
                </a:solidFill>
                <a:ea typeface="Calibri"/>
                <a:cs typeface="Calibri"/>
                <a:sym typeface="Calibri"/>
              </a:rPr>
              <a:t>The CFPB is committed to supporting consumers. </a:t>
            </a:r>
          </a:p>
          <a:p>
            <a:pPr marL="294465" indent="-294465">
              <a:buFont typeface="Arial" panose="020B0604020202020204" pitchFamily="34" charset="0"/>
              <a:buChar char="•"/>
            </a:pPr>
            <a:r>
              <a:rPr lang="en-US" dirty="0"/>
              <a:t>It’s important that consumers protect and manage their finances during the COVID-19 pandemic. The CFPB is committed to providing consumers with current information and resources to help them do that as the pandemic situation evolves.</a:t>
            </a:r>
            <a:endParaRPr lang="en-US" b="1" dirty="0"/>
          </a:p>
          <a:p>
            <a:pPr marL="294465" indent="-294465">
              <a:buFont typeface="Arial" panose="020B0604020202020204" pitchFamily="34" charset="0"/>
              <a:buChar char="•"/>
            </a:pPr>
            <a:r>
              <a:rPr lang="en-US" dirty="0"/>
              <a:t>Federal, state and local governments, and communities are working to respond to the growing public health threat of coronavirus, or COVID-19. </a:t>
            </a:r>
          </a:p>
          <a:p>
            <a:pPr marL="294465" indent="-294465">
              <a:buFont typeface="Arial" panose="020B0604020202020204" pitchFamily="34" charset="0"/>
              <a:buChar char="•"/>
            </a:pPr>
            <a:r>
              <a:rPr lang="en-US" dirty="0"/>
              <a:t>The CFPB and other financial regulators have encouraged financial institutions to work with their customers to meet their community needs. You can find CFPB’s guidance addressing the coronavirus for financial institutions—including banks, credit unions, credit reporting companies, and other institutions—on our website. </a:t>
            </a:r>
          </a:p>
          <a:p>
            <a:endParaRPr lang="en-US" dirty="0"/>
          </a:p>
        </p:txBody>
      </p:sp>
      <p:sp>
        <p:nvSpPr>
          <p:cNvPr id="4" name="Slide Number Placeholder 3"/>
          <p:cNvSpPr>
            <a:spLocks noGrp="1"/>
          </p:cNvSpPr>
          <p:nvPr>
            <p:ph type="sldNum" sz="quarter" idx="5"/>
          </p:nvPr>
        </p:nvSpPr>
        <p:spPr/>
        <p:txBody>
          <a:bodyPr/>
          <a:lstStyle/>
          <a:p>
            <a:pPr defTabSz="996094">
              <a:defRPr/>
            </a:pPr>
            <a:fld id="{DBCB5A78-0B0D-437D-A12F-B173FE99B3F4}" type="slidenum">
              <a:rPr lang="en-US" kern="1200">
                <a:solidFill>
                  <a:prstClr val="black"/>
                </a:solidFill>
                <a:latin typeface="Calibri" panose="020F0502020204030204"/>
                <a:ea typeface="+mn-ea"/>
                <a:cs typeface="+mn-cs"/>
              </a:rPr>
              <a:pPr defTabSz="996094">
                <a:defRPr/>
              </a:pPr>
              <a:t>53</a:t>
            </a:fld>
            <a:endParaRPr lang="en-US"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999247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89">
              <a:defRPr/>
            </a:pPr>
            <a:fld id="{ADFED875-7CA7-4683-B586-34E1A4A09D12}" type="slidenum">
              <a:rPr lang="en-US" sz="1400">
                <a:solidFill>
                  <a:srgbClr val="6E6F73"/>
                </a:solidFill>
                <a:latin typeface="Trebuchet MS"/>
              </a:rPr>
              <a:pPr defTabSz="942289">
                <a:defRPr/>
              </a:pPr>
              <a:t>17</a:t>
            </a:fld>
            <a:endParaRPr lang="en-US" sz="1400" dirty="0">
              <a:solidFill>
                <a:srgbClr val="6E6F73"/>
              </a:solidFill>
              <a:latin typeface="Trebuchet MS"/>
            </a:endParaRPr>
          </a:p>
        </p:txBody>
      </p:sp>
    </p:spTree>
    <p:extLst>
      <p:ext uri="{BB962C8B-B14F-4D97-AF65-F5344CB8AC3E}">
        <p14:creationId xmlns:p14="http://schemas.microsoft.com/office/powerpoint/2010/main" val="32762062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6031" y="4534177"/>
            <a:ext cx="5808246" cy="4295227"/>
          </a:xfrm>
        </p:spPr>
        <p:txBody>
          <a:bodyPr/>
          <a:lstStyle/>
          <a:p>
            <a:pPr>
              <a:defRPr/>
            </a:pPr>
            <a:r>
              <a:rPr lang="en-US" b="1" u="sng" dirty="0">
                <a:latin typeface="Georgia" panose="02040502050405020303" pitchFamily="18" charset="0"/>
              </a:rPr>
              <a:t>Key concept</a:t>
            </a:r>
            <a:endParaRPr lang="en-US" dirty="0">
              <a:latin typeface="Georgia" panose="02040502050405020303" pitchFamily="18" charset="0"/>
            </a:endParaRPr>
          </a:p>
          <a:p>
            <a:pPr>
              <a:defRPr/>
            </a:pPr>
            <a:r>
              <a:rPr lang="en-US" dirty="0">
                <a:latin typeface="Georgia" panose="02040502050405020303" pitchFamily="18" charset="0"/>
              </a:rPr>
              <a:t>The suite of </a:t>
            </a:r>
            <a:r>
              <a:rPr lang="en-US" i="1" dirty="0">
                <a:latin typeface="Georgia" panose="02040502050405020303" pitchFamily="18" charset="0"/>
              </a:rPr>
              <a:t>Your Money, Your Goals </a:t>
            </a:r>
            <a:r>
              <a:rPr lang="en-US" dirty="0">
                <a:latin typeface="Georgia" panose="02040502050405020303" pitchFamily="18" charset="0"/>
              </a:rPr>
              <a:t>resources is here to help your role as a practitioner. </a:t>
            </a:r>
          </a:p>
          <a:p>
            <a:pPr>
              <a:defRPr/>
            </a:pPr>
            <a:endParaRPr lang="en-US" dirty="0">
              <a:latin typeface="Georgia" panose="02040502050405020303" pitchFamily="18" charset="0"/>
            </a:endParaRPr>
          </a:p>
          <a:p>
            <a:pPr>
              <a:defRPr/>
            </a:pPr>
            <a:r>
              <a:rPr lang="en-US" b="1" u="sng" dirty="0">
                <a:latin typeface="Georgia" panose="02040502050405020303" pitchFamily="18" charset="0"/>
              </a:rPr>
              <a:t>Sources and additional information</a:t>
            </a:r>
            <a:endParaRPr lang="en-US" dirty="0">
              <a:latin typeface="Georgia" panose="02040502050405020303" pitchFamily="18" charset="0"/>
            </a:endParaRPr>
          </a:p>
          <a:p>
            <a:pPr>
              <a:defRPr/>
            </a:pPr>
            <a:r>
              <a:rPr lang="en-US" i="1" dirty="0">
                <a:latin typeface="Georgia" panose="02040502050405020303" pitchFamily="18" charset="0"/>
              </a:rPr>
              <a:t>Your Money, Your Goals website</a:t>
            </a:r>
            <a:br>
              <a:rPr lang="en-US" dirty="0">
                <a:latin typeface="Georgia" panose="02040502050405020303" pitchFamily="18" charset="0"/>
              </a:rPr>
            </a:br>
            <a:r>
              <a:rPr lang="en-US" dirty="0">
                <a:latin typeface="Georgia" panose="02040502050405020303" pitchFamily="18" charset="0"/>
              </a:rPr>
              <a:t>https://www.consumerfinance.gov//your-money-your-goals/</a:t>
            </a:r>
          </a:p>
          <a:p>
            <a:pPr>
              <a:defRPr/>
            </a:pPr>
            <a:endParaRPr lang="en-US" dirty="0">
              <a:latin typeface="Georgia" panose="02040502050405020303" pitchFamily="18" charset="0"/>
            </a:endParaRPr>
          </a:p>
          <a:p>
            <a:pPr>
              <a:defRPr/>
            </a:pPr>
            <a:r>
              <a:rPr lang="en-US" b="1" u="sng" dirty="0">
                <a:latin typeface="Georgia" panose="02040502050405020303" pitchFamily="18" charset="0"/>
              </a:rPr>
              <a:t>Suggested script</a:t>
            </a:r>
          </a:p>
          <a:p>
            <a:pPr marL="294465" indent="-294465">
              <a:buFont typeface="Arial" panose="020B0604020202020204" pitchFamily="34" charset="0"/>
              <a:buChar char="•"/>
            </a:pPr>
            <a:r>
              <a:rPr lang="en-US" i="1" dirty="0"/>
              <a:t>Your Money, Your Goals </a:t>
            </a:r>
            <a:r>
              <a:rPr lang="en-US" dirty="0"/>
              <a:t>is a set of financial empowerment materials for organizations that help people meet their financial goals by increasing their knowledge, skills, and resources.</a:t>
            </a:r>
          </a:p>
          <a:p>
            <a:pPr marL="294465" indent="-294465">
              <a:buFont typeface="Arial" panose="020B0604020202020204" pitchFamily="34" charset="0"/>
              <a:buChar char="•"/>
            </a:pPr>
            <a:r>
              <a:rPr lang="en-US" dirty="0"/>
              <a:t>Whether you’re helping people get a job, find a place to live, or deal with a legal problem, money always comes up. You can use these tools to start the conversation</a:t>
            </a:r>
          </a:p>
          <a:p>
            <a:pPr marL="294465" indent="-294465">
              <a:buFont typeface="Arial" panose="020B0604020202020204" pitchFamily="34" charset="0"/>
              <a:buChar char="•"/>
            </a:pPr>
            <a:r>
              <a:rPr lang="en-US" b="1" i="0" dirty="0"/>
              <a:t>Materials were designed through a collaborative process with partners on the ground. This included rigorous field testing by practitioners.</a:t>
            </a:r>
          </a:p>
          <a:p>
            <a:pPr marL="294465" indent="-294465">
              <a:buFont typeface="Arial" panose="020B0604020202020204" pitchFamily="34" charset="0"/>
              <a:buChar char="•"/>
            </a:pPr>
            <a:r>
              <a:rPr lang="en-US" dirty="0"/>
              <a:t>The materials were designed for use by frontline practitioners such as social workers, legal aid attorneys, housing counselors and many other volunteers who work with underserved communities. This is information that helps you have money conversations with the people you serve.</a:t>
            </a:r>
          </a:p>
          <a:p>
            <a:pPr marL="294465" indent="-294465">
              <a:buFont typeface="Arial" panose="020B0604020202020204" pitchFamily="34" charset="0"/>
              <a:buChar char="•"/>
            </a:pPr>
            <a:r>
              <a:rPr lang="en-US" dirty="0"/>
              <a:t>Materials are designed for people who are *not* financial experts but are trusted sources of information in their community.</a:t>
            </a:r>
            <a:endParaRPr lang="en-US" dirty="0">
              <a:latin typeface="Georgia" panose="02040502050405020303" pitchFamily="18" charset="0"/>
            </a:endParaRPr>
          </a:p>
          <a:p>
            <a:pPr marL="294465" indent="-294465">
              <a:buFont typeface="Arial" panose="020B0604020202020204" pitchFamily="34" charset="0"/>
              <a:buChar char="•"/>
            </a:pPr>
            <a:r>
              <a:rPr lang="en-US" i="1" dirty="0">
                <a:latin typeface="Georgia" panose="02040502050405020303" pitchFamily="18" charset="0"/>
              </a:rPr>
              <a:t>Your Money, Your Goals </a:t>
            </a:r>
            <a:r>
              <a:rPr lang="en-US" i="0" dirty="0">
                <a:latin typeface="Georgia" panose="02040502050405020303" pitchFamily="18" charset="0"/>
              </a:rPr>
              <a:t>includes a variety of resources:</a:t>
            </a:r>
          </a:p>
          <a:p>
            <a:pPr marL="781969" lvl="1" indent="-310825">
              <a:buFont typeface="Arial,Sans-Serif"/>
              <a:buChar char="•"/>
              <a:defRPr/>
            </a:pPr>
            <a:r>
              <a:rPr lang="en-US" i="0" dirty="0">
                <a:latin typeface="Georgia" panose="02040502050405020303" pitchFamily="18" charset="0"/>
              </a:rPr>
              <a:t>Toolkit: The toolkit provides comprehensive information for practitioners. It is not a curriculum. Instead, you can use what tools work for the person you are working with in that moment. </a:t>
            </a:r>
          </a:p>
          <a:p>
            <a:pPr marL="781969" lvl="1" indent="-310825" defTabSz="471145">
              <a:buFont typeface="Arial,Sans-Serif"/>
              <a:buChar char="•"/>
              <a:defRPr/>
            </a:pPr>
            <a:r>
              <a:rPr lang="en-US" i="0" dirty="0">
                <a:latin typeface="Georgia" panose="02040502050405020303" pitchFamily="18" charset="0"/>
              </a:rPr>
              <a:t>Companion guides: Companion guides help you address the unique needs of people with disabilities, people with criminal records, Native communities, and the military community. </a:t>
            </a:r>
          </a:p>
          <a:p>
            <a:pPr marL="781969" lvl="1" indent="-310825">
              <a:buFont typeface="Arial,Sans-Serif"/>
              <a:buChar char="•"/>
              <a:defRPr/>
            </a:pPr>
            <a:r>
              <a:rPr lang="en-US" i="0" dirty="0">
                <a:latin typeface="Georgia" panose="02040502050405020303" pitchFamily="18" charset="0"/>
              </a:rPr>
              <a:t>Booklets: There are four colorful booklets than can help you address being behind on bills, debt, credit, and savings. Behind on bills? and Want credit to work for you? are also available in Spanish. </a:t>
            </a:r>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936454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sng" dirty="0"/>
              <a:t>Key concept</a:t>
            </a:r>
            <a:endParaRPr lang="en-US" dirty="0"/>
          </a:p>
          <a:p>
            <a:pPr>
              <a:defRPr/>
            </a:pPr>
            <a:r>
              <a:rPr lang="en-US" dirty="0"/>
              <a:t>Short videos can help you introduce a topic. </a:t>
            </a:r>
          </a:p>
          <a:p>
            <a:pPr>
              <a:defRPr/>
            </a:pPr>
            <a:endParaRPr lang="en-US" dirty="0"/>
          </a:p>
          <a:p>
            <a:pPr>
              <a:defRPr/>
            </a:pPr>
            <a:r>
              <a:rPr lang="en-US" b="1" u="sng" dirty="0"/>
              <a:t>Sources and additional information</a:t>
            </a:r>
            <a:endParaRPr lang="en-US" dirty="0"/>
          </a:p>
          <a:p>
            <a:pPr>
              <a:defRPr/>
            </a:pPr>
            <a:r>
              <a:rPr lang="en-US" i="1" dirty="0"/>
              <a:t>Videos to spark action</a:t>
            </a:r>
            <a:br>
              <a:rPr lang="en-US" dirty="0"/>
            </a:br>
            <a:r>
              <a:rPr lang="en-US" dirty="0"/>
              <a:t>https://www.consumerfinance.gov/consumer-tools/educator-tools/your-money-your-goals/videos/</a:t>
            </a:r>
          </a:p>
          <a:p>
            <a:pPr>
              <a:defRPr/>
            </a:pPr>
            <a:endParaRPr lang="en-US" dirty="0"/>
          </a:p>
          <a:p>
            <a:pPr>
              <a:defRPr/>
            </a:pPr>
            <a:endParaRPr lang="en-US" dirty="0"/>
          </a:p>
          <a:p>
            <a:pPr>
              <a:defRPr/>
            </a:pPr>
            <a:r>
              <a:rPr lang="en-US" b="1" u="sng" dirty="0"/>
              <a:t>Suggested script</a:t>
            </a:r>
            <a:endParaRPr lang="en-US" dirty="0"/>
          </a:p>
          <a:p>
            <a:pPr marL="310825" indent="-310825">
              <a:buFont typeface="Arial,Sans-Serif"/>
              <a:buChar char="•"/>
              <a:defRPr/>
            </a:pPr>
            <a:r>
              <a:rPr lang="en-US" dirty="0"/>
              <a:t>These short videos help to explain concepts from the </a:t>
            </a:r>
            <a:r>
              <a:rPr lang="en-US" i="1" dirty="0"/>
              <a:t>Your Money, Your Goals </a:t>
            </a:r>
            <a:r>
              <a:rPr lang="en-US" dirty="0"/>
              <a:t>toolkit. </a:t>
            </a:r>
          </a:p>
          <a:p>
            <a:pPr marL="310825" indent="-310825">
              <a:buFont typeface="Arial,Sans-Serif"/>
              <a:buChar char="•"/>
              <a:defRPr/>
            </a:pPr>
            <a:r>
              <a:rPr lang="en-US" dirty="0"/>
              <a:t>You can play a video to introduce a topic and follow up with a tool or handout tied directly to that topic. </a:t>
            </a:r>
          </a:p>
          <a:p>
            <a:pPr marL="781969" lvl="1" indent="-310825">
              <a:buFont typeface="Arial,Sans-Serif"/>
              <a:buChar char="•"/>
              <a:defRPr/>
            </a:pPr>
            <a:r>
              <a:rPr lang="en-US" dirty="0"/>
              <a:t>Credit </a:t>
            </a:r>
          </a:p>
          <a:p>
            <a:pPr marL="781969" lvl="1" indent="-310825">
              <a:buFont typeface="Arial,Sans-Serif"/>
              <a:buChar char="•"/>
              <a:defRPr/>
            </a:pPr>
            <a:r>
              <a:rPr lang="en-US" dirty="0"/>
              <a:t>Debt </a:t>
            </a:r>
          </a:p>
          <a:p>
            <a:pPr marL="781969" lvl="1" indent="-310825">
              <a:buFont typeface="Arial,Sans-Serif"/>
              <a:buChar char="•"/>
              <a:defRPr/>
            </a:pPr>
            <a:r>
              <a:rPr lang="en-US" dirty="0"/>
              <a:t>Financial products and services </a:t>
            </a:r>
          </a:p>
          <a:p>
            <a:pPr marL="781969" lvl="1" indent="-310825">
              <a:buFont typeface="Arial,Sans-Serif"/>
              <a:buChar char="•"/>
              <a:defRPr/>
            </a:pPr>
            <a:r>
              <a:rPr lang="en-US" dirty="0"/>
              <a:t>Paying bills and saving </a:t>
            </a:r>
          </a:p>
          <a:p>
            <a:endParaRPr lang="en-US" dirty="0"/>
          </a:p>
        </p:txBody>
      </p:sp>
      <p:sp>
        <p:nvSpPr>
          <p:cNvPr id="4" name="Slide Number Placeholder 3"/>
          <p:cNvSpPr>
            <a:spLocks noGrp="1"/>
          </p:cNvSpPr>
          <p:nvPr>
            <p:ph type="sldNum" sz="quarter" idx="5"/>
          </p:nvPr>
        </p:nvSpPr>
        <p:spPr/>
        <p:txBody>
          <a:bodyPr/>
          <a:lstStyle/>
          <a:p>
            <a:fld id="{4BAF53EF-993C-FF42-8B62-CEF57763A78D}" type="slidenum">
              <a:rPr lang="en-US" smtClean="0"/>
              <a:t>55</a:t>
            </a:fld>
            <a:endParaRPr lang="en-US" dirty="0"/>
          </a:p>
        </p:txBody>
      </p:sp>
    </p:spTree>
    <p:extLst>
      <p:ext uri="{BB962C8B-B14F-4D97-AF65-F5344CB8AC3E}">
        <p14:creationId xmlns:p14="http://schemas.microsoft.com/office/powerpoint/2010/main" val="74289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u="sng" dirty="0">
                <a:solidFill>
                  <a:schemeClr val="dk1"/>
                </a:solidFill>
                <a:ea typeface="Calibri"/>
                <a:cs typeface="Calibri"/>
                <a:sym typeface="Calibri"/>
              </a:rPr>
              <a:t>Key concept</a:t>
            </a:r>
          </a:p>
          <a:p>
            <a:pPr algn="l"/>
            <a:r>
              <a:rPr lang="en-US" dirty="0"/>
              <a:t>Having an issue with a financial product or service? If so, people can </a:t>
            </a:r>
            <a:r>
              <a:rPr lang="en-US" i="1" dirty="0"/>
              <a:t>Submit a complaint </a:t>
            </a:r>
            <a:r>
              <a:rPr lang="en-US" dirty="0"/>
              <a:t>to the CFPB and the CFPB will work to get them a response from the company</a:t>
            </a:r>
            <a:r>
              <a:rPr lang="en-US" i="1" dirty="0"/>
              <a:t>.</a:t>
            </a:r>
            <a:endParaRPr lang="en-US" dirty="0"/>
          </a:p>
          <a:p>
            <a:pPr algn="l"/>
            <a:endParaRPr lang="en-US" dirty="0">
              <a:solidFill>
                <a:schemeClr val="dk1"/>
              </a:solidFill>
              <a:ea typeface="Calibri"/>
              <a:cs typeface="Calibri"/>
              <a:sym typeface="Calibri"/>
            </a:endParaRPr>
          </a:p>
          <a:p>
            <a:pPr>
              <a:buFont typeface="Arial" panose="020B0604020202020204" pitchFamily="34" charset="0"/>
              <a:buNone/>
            </a:pPr>
            <a:r>
              <a:rPr lang="en-US" b="1" u="sng" dirty="0">
                <a:solidFill>
                  <a:schemeClr val="dk1"/>
                </a:solidFill>
                <a:cs typeface="Calibri"/>
                <a:sym typeface="Calibri"/>
              </a:rPr>
              <a:t>Sources and additional information</a:t>
            </a:r>
          </a:p>
          <a:p>
            <a:pPr>
              <a:buFont typeface="Arial" panose="020B0604020202020204" pitchFamily="34" charset="0"/>
              <a:buNone/>
            </a:pPr>
            <a:r>
              <a:rPr lang="en-US" b="1" dirty="0">
                <a:hlinkClick r:id="rId3">
                  <a:extLst>
                    <a:ext uri="{A12FA001-AC4F-418D-AE19-62706E023703}">
                      <ahyp:hlinkClr xmlns:ahyp="http://schemas.microsoft.com/office/drawing/2018/hyperlinkcolor" val="tx"/>
                    </a:ext>
                  </a:extLst>
                </a:hlinkClick>
              </a:rPr>
              <a:t>https://www.consumerfinance.gov/complaint/</a:t>
            </a:r>
            <a:endParaRPr lang="en-US" b="1" dirty="0"/>
          </a:p>
          <a:p>
            <a:pPr algn="l" rtl="0" fontAlgn="base"/>
            <a:r>
              <a:rPr lang="en-US" dirty="0">
                <a:solidFill>
                  <a:srgbClr val="444444"/>
                </a:solidFill>
              </a:rPr>
              <a:t>Note: Please refer to the webpage for latest contact info, rather than the Toolkit, since the webpage content is always up to date.</a:t>
            </a:r>
          </a:p>
          <a:p>
            <a:pPr>
              <a:buFont typeface="Arial" panose="020B0604020202020204" pitchFamily="34" charset="0"/>
              <a:buNone/>
            </a:pPr>
            <a:endParaRPr lang="en-US" b="1" u="sng" dirty="0">
              <a:solidFill>
                <a:schemeClr val="dk1"/>
              </a:solidFill>
              <a:cs typeface="Calibri"/>
              <a:sym typeface="Calibri"/>
            </a:endParaRPr>
          </a:p>
          <a:p>
            <a:r>
              <a:rPr lang="en-US" b="1" u="sng" dirty="0">
                <a:solidFill>
                  <a:schemeClr val="dk1"/>
                </a:solidFill>
                <a:ea typeface="Calibri"/>
                <a:cs typeface="Calibri"/>
                <a:sym typeface="Calibri"/>
              </a:rPr>
              <a:t>Suggested script</a:t>
            </a:r>
          </a:p>
          <a:p>
            <a:pPr marL="294465" indent="-294465">
              <a:buFont typeface="Arial" panose="020B0604020202020204" pitchFamily="34" charset="0"/>
              <a:buChar char="•"/>
            </a:pPr>
            <a:r>
              <a:rPr lang="en-US" dirty="0">
                <a:solidFill>
                  <a:schemeClr val="dk1"/>
                </a:solidFill>
                <a:ea typeface="Calibri"/>
                <a:cs typeface="Calibri"/>
                <a:sym typeface="Calibri"/>
              </a:rPr>
              <a:t>Consumers can submit complaints about:</a:t>
            </a:r>
          </a:p>
          <a:p>
            <a:pPr marL="765610" lvl="1" indent="-294465">
              <a:buFont typeface="Arial" panose="020B0604020202020204" pitchFamily="34" charset="0"/>
              <a:buChar char="•"/>
            </a:pPr>
            <a:r>
              <a:rPr lang="en-US" dirty="0">
                <a:solidFill>
                  <a:schemeClr val="dk1"/>
                </a:solidFill>
                <a:ea typeface="Calibri"/>
                <a:cs typeface="Calibri"/>
                <a:sym typeface="Calibri"/>
              </a:rPr>
              <a:t>Credit cards</a:t>
            </a:r>
          </a:p>
          <a:p>
            <a:pPr marL="765610" lvl="1" indent="-294465">
              <a:buFont typeface="Arial" panose="020B0604020202020204" pitchFamily="34" charset="0"/>
              <a:buChar char="•"/>
            </a:pPr>
            <a:r>
              <a:rPr lang="en-US" dirty="0">
                <a:solidFill>
                  <a:schemeClr val="dk1"/>
                </a:solidFill>
                <a:ea typeface="Calibri"/>
                <a:cs typeface="Calibri"/>
                <a:sym typeface="Calibri"/>
              </a:rPr>
              <a:t>Mortgages</a:t>
            </a:r>
          </a:p>
          <a:p>
            <a:pPr marL="765610" lvl="1" indent="-294465">
              <a:buFont typeface="Arial" panose="020B0604020202020204" pitchFamily="34" charset="0"/>
              <a:buChar char="•"/>
            </a:pPr>
            <a:r>
              <a:rPr lang="en-US" dirty="0">
                <a:solidFill>
                  <a:schemeClr val="dk1"/>
                </a:solidFill>
                <a:ea typeface="Calibri"/>
                <a:cs typeface="Calibri"/>
                <a:sym typeface="Calibri"/>
              </a:rPr>
              <a:t>Bank accounts and services</a:t>
            </a:r>
          </a:p>
          <a:p>
            <a:pPr marL="765610" lvl="1" indent="-294465">
              <a:buFont typeface="Arial" panose="020B0604020202020204" pitchFamily="34" charset="0"/>
              <a:buChar char="•"/>
            </a:pPr>
            <a:r>
              <a:rPr lang="en-US" dirty="0">
                <a:solidFill>
                  <a:schemeClr val="dk1"/>
                </a:solidFill>
                <a:ea typeface="Calibri"/>
                <a:cs typeface="Calibri"/>
                <a:sym typeface="Calibri"/>
              </a:rPr>
              <a:t>Student loans</a:t>
            </a:r>
          </a:p>
          <a:p>
            <a:pPr marL="765610" lvl="1" indent="-294465">
              <a:buFont typeface="Arial" panose="020B0604020202020204" pitchFamily="34" charset="0"/>
              <a:buChar char="•"/>
            </a:pPr>
            <a:r>
              <a:rPr lang="en-US" dirty="0">
                <a:solidFill>
                  <a:schemeClr val="dk1"/>
                </a:solidFill>
                <a:ea typeface="Calibri"/>
                <a:cs typeface="Calibri"/>
                <a:sym typeface="Calibri"/>
              </a:rPr>
              <a:t>Vehicle loans or leases</a:t>
            </a:r>
          </a:p>
          <a:p>
            <a:pPr marL="765610" lvl="1" indent="-294465">
              <a:buFont typeface="Arial" panose="020B0604020202020204" pitchFamily="34" charset="0"/>
              <a:buChar char="•"/>
            </a:pPr>
            <a:r>
              <a:rPr lang="en-US" dirty="0">
                <a:solidFill>
                  <a:schemeClr val="dk1"/>
                </a:solidFill>
                <a:ea typeface="Calibri"/>
                <a:cs typeface="Calibri"/>
                <a:sym typeface="Calibri"/>
              </a:rPr>
              <a:t>Payday loans</a:t>
            </a:r>
          </a:p>
          <a:p>
            <a:pPr marL="765610" lvl="1" indent="-294465">
              <a:buFont typeface="Arial" panose="020B0604020202020204" pitchFamily="34" charset="0"/>
              <a:buChar char="•"/>
            </a:pPr>
            <a:r>
              <a:rPr lang="en-US" dirty="0">
                <a:solidFill>
                  <a:schemeClr val="dk1"/>
                </a:solidFill>
                <a:ea typeface="Calibri"/>
                <a:cs typeface="Calibri"/>
                <a:sym typeface="Calibri"/>
              </a:rPr>
              <a:t>Other consumer loans (including installment loans, pawn loans, and title loans)</a:t>
            </a:r>
          </a:p>
          <a:p>
            <a:pPr marL="765610" lvl="1" indent="-294465">
              <a:buFont typeface="Arial" panose="020B0604020202020204" pitchFamily="34" charset="0"/>
              <a:buChar char="•"/>
            </a:pPr>
            <a:r>
              <a:rPr lang="en-US" dirty="0">
                <a:solidFill>
                  <a:schemeClr val="dk1"/>
                </a:solidFill>
                <a:ea typeface="Calibri"/>
                <a:cs typeface="Calibri"/>
                <a:sym typeface="Calibri"/>
              </a:rPr>
              <a:t>Debt collection</a:t>
            </a:r>
          </a:p>
          <a:p>
            <a:pPr marL="765610" lvl="1" indent="-294465">
              <a:buFont typeface="Arial" panose="020B0604020202020204" pitchFamily="34" charset="0"/>
              <a:buChar char="•"/>
            </a:pPr>
            <a:r>
              <a:rPr lang="en-US" dirty="0">
                <a:solidFill>
                  <a:schemeClr val="dk1"/>
                </a:solidFill>
                <a:ea typeface="Calibri"/>
                <a:cs typeface="Calibri"/>
                <a:sym typeface="Calibri"/>
              </a:rPr>
              <a:t>Money transfers or virtual currency</a:t>
            </a:r>
          </a:p>
          <a:p>
            <a:pPr marL="765610" lvl="1" indent="-294465">
              <a:buFont typeface="Arial" panose="020B0604020202020204" pitchFamily="34" charset="0"/>
              <a:buChar char="•"/>
            </a:pPr>
            <a:r>
              <a:rPr lang="en-US" dirty="0">
                <a:solidFill>
                  <a:schemeClr val="dk1"/>
                </a:solidFill>
                <a:ea typeface="Calibri"/>
                <a:cs typeface="Calibri"/>
                <a:sym typeface="Calibri"/>
              </a:rPr>
              <a:t>Credit reporting</a:t>
            </a:r>
          </a:p>
          <a:p>
            <a:pPr marL="765610" lvl="1" indent="-294465">
              <a:buFont typeface="Arial" panose="020B0604020202020204" pitchFamily="34" charset="0"/>
              <a:buChar char="•"/>
            </a:pPr>
            <a:r>
              <a:rPr lang="en-US" dirty="0">
                <a:solidFill>
                  <a:schemeClr val="dk1"/>
                </a:solidFill>
                <a:ea typeface="Calibri"/>
                <a:cs typeface="Calibri"/>
                <a:sym typeface="Calibri"/>
              </a:rPr>
              <a:t>Prepaid cards</a:t>
            </a:r>
          </a:p>
          <a:p>
            <a:pPr marL="765610" lvl="1" indent="-294465">
              <a:buFont typeface="Arial" panose="020B0604020202020204" pitchFamily="34" charset="0"/>
              <a:buChar char="•"/>
            </a:pPr>
            <a:r>
              <a:rPr lang="en-US" dirty="0">
                <a:solidFill>
                  <a:schemeClr val="dk1"/>
                </a:solidFill>
                <a:ea typeface="Calibri"/>
                <a:cs typeface="Calibri"/>
                <a:sym typeface="Calibri"/>
              </a:rPr>
              <a:t>Other financial services (including check cashing, money orders, cashier’s checks, credit repair, debt settlement, refund anticipation loans, foreign currency exchange, and traveler’s checks)</a:t>
            </a:r>
          </a:p>
          <a:p>
            <a:pPr marL="765610" lvl="1" indent="-294465">
              <a:buFont typeface="Arial" panose="020B0604020202020204" pitchFamily="34" charset="0"/>
              <a:buChar char="•"/>
            </a:pPr>
            <a:r>
              <a:rPr lang="en-US" dirty="0">
                <a:solidFill>
                  <a:schemeClr val="dk1"/>
                </a:solidFill>
                <a:ea typeface="Calibri"/>
                <a:cs typeface="Calibri"/>
                <a:sym typeface="Calibri"/>
              </a:rPr>
              <a:t>Every complaint the Bureau receives gives them insights into problems that people are experiencing in the marketplace and helps them to identify and prioritize problems for potential action.</a:t>
            </a:r>
          </a:p>
          <a:p>
            <a:pPr marL="294465" indent="-294465">
              <a:buFont typeface="Arial" panose="020B0604020202020204" pitchFamily="34" charset="0"/>
              <a:buChar char="•"/>
            </a:pPr>
            <a:r>
              <a:rPr lang="en-US" b="1" dirty="0">
                <a:solidFill>
                  <a:schemeClr val="dk1"/>
                </a:solidFill>
                <a:ea typeface="Calibri"/>
                <a:cs typeface="Calibri"/>
                <a:sym typeface="Calibri"/>
              </a:rPr>
              <a:t>How to submit a complaint </a:t>
            </a:r>
            <a:r>
              <a:rPr lang="en-US" dirty="0">
                <a:solidFill>
                  <a:schemeClr val="dk1"/>
                </a:solidFill>
                <a:ea typeface="Calibri"/>
                <a:cs typeface="Calibri"/>
                <a:sym typeface="Calibri"/>
              </a:rPr>
              <a:t>has the information you or the people you serve need to make a complaint online or phone, or by mail. </a:t>
            </a:r>
          </a:p>
          <a:p>
            <a:pPr marL="294465" indent="-294465">
              <a:buFont typeface="Arial" panose="020B0604020202020204" pitchFamily="34" charset="0"/>
              <a:buChar char="•"/>
            </a:pPr>
            <a:r>
              <a:rPr lang="en-US" dirty="0">
                <a:solidFill>
                  <a:schemeClr val="dk1"/>
                </a:solidFill>
                <a:ea typeface="Calibri"/>
                <a:cs typeface="Calibri"/>
                <a:sym typeface="Calibri"/>
              </a:rPr>
              <a:t>As a trusted service provider you help the people you serve by sharing this handout. </a:t>
            </a:r>
          </a:p>
          <a:p>
            <a:endParaRPr lang="en-US" dirty="0"/>
          </a:p>
          <a:p>
            <a:pPr defTabSz="471145">
              <a:defRPr/>
            </a:pPr>
            <a:r>
              <a:rPr lang="en-US" sz="1900" b="1" dirty="0">
                <a:latin typeface="Segoe UI" panose="020B0502040204020203" pitchFamily="34" charset="0"/>
              </a:rPr>
              <a:t>NOTE: </a:t>
            </a:r>
            <a:r>
              <a:rPr lang="en-US" sz="1900" dirty="0">
                <a:latin typeface="Segoe UI" panose="020B0502040204020203" pitchFamily="34" charset="0"/>
              </a:rPr>
              <a:t>For the presenters' awareness, the website requires consumers to create an account to submit a complaint. </a:t>
            </a:r>
          </a:p>
          <a:p>
            <a:pPr defTabSz="471145">
              <a:defRPr/>
            </a:pPr>
            <a:endParaRPr lang="en-US" sz="1900" dirty="0">
              <a:latin typeface="Segoe UI" panose="020B0502040204020203" pitchFamily="34" charset="0"/>
            </a:endParaRPr>
          </a:p>
          <a:p>
            <a:pPr defTabSz="471145">
              <a:defRPr/>
            </a:pPr>
            <a:r>
              <a:rPr lang="en-US" sz="1900" dirty="0">
                <a:latin typeface="Segoe UI" panose="020B0502040204020203" pitchFamily="34" charset="0"/>
              </a:rPr>
              <a:t>At present, third parties assisting consumers will need to submit complaints over the phone as the new web format does not presently have an option for third parties to submit complaints. </a:t>
            </a:r>
          </a:p>
          <a:p>
            <a:pPr defTabSz="471145">
              <a:defRPr/>
            </a:pPr>
            <a:endParaRPr lang="en-US" sz="1900" dirty="0">
              <a:latin typeface="Segoe UI" panose="020B0502040204020203" pitchFamily="34" charset="0"/>
            </a:endParaRPr>
          </a:p>
          <a:p>
            <a:pPr defTabSz="471145">
              <a:defRPr/>
            </a:pPr>
            <a:r>
              <a:rPr lang="en-US" sz="1900" dirty="0">
                <a:latin typeface="Segoe UI" panose="020B0502040204020203" pitchFamily="34" charset="0"/>
              </a:rPr>
              <a:t>Consumers submitting </a:t>
            </a:r>
            <a:r>
              <a:rPr lang="en-US" sz="1900" b="1" dirty="0">
                <a:latin typeface="Segoe UI" panose="020B0502040204020203" pitchFamily="34" charset="0"/>
              </a:rPr>
              <a:t>complaints by mail </a:t>
            </a:r>
            <a:r>
              <a:rPr lang="en-US" sz="1900" dirty="0">
                <a:latin typeface="Segoe UI" panose="020B0502040204020203" pitchFamily="34" charset="0"/>
              </a:rPr>
              <a:t>can send to: </a:t>
            </a:r>
          </a:p>
          <a:p>
            <a:pPr defTabSz="471145">
              <a:defRPr/>
            </a:pPr>
            <a:r>
              <a:rPr lang="en-US" sz="2900" dirty="0">
                <a:solidFill>
                  <a:srgbClr val="101820"/>
                </a:solidFill>
                <a:latin typeface="Avenir Next"/>
              </a:rPr>
              <a:t>Consumer Financial Protection Bureau</a:t>
            </a:r>
            <a:br>
              <a:rPr lang="en-US" sz="2900" dirty="0"/>
            </a:br>
            <a:r>
              <a:rPr lang="en-US" sz="2900" dirty="0">
                <a:solidFill>
                  <a:srgbClr val="101820"/>
                </a:solidFill>
                <a:latin typeface="Avenir Next"/>
              </a:rPr>
              <a:t>PO Box 27170</a:t>
            </a:r>
            <a:br>
              <a:rPr lang="en-US" sz="2900" dirty="0"/>
            </a:br>
            <a:r>
              <a:rPr lang="en-US" sz="2900" dirty="0">
                <a:solidFill>
                  <a:srgbClr val="101820"/>
                </a:solidFill>
                <a:latin typeface="Avenir Next"/>
              </a:rPr>
              <a:t>Washington, DC 20038</a:t>
            </a:r>
            <a:endParaRPr lang="en-US" sz="1900" dirty="0">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4BAF53EF-993C-FF42-8B62-CEF57763A78D}" type="slidenum">
              <a:rPr lang="en-US" smtClean="0"/>
              <a:t>56</a:t>
            </a:fld>
            <a:endParaRPr lang="en-US" dirty="0"/>
          </a:p>
        </p:txBody>
      </p:sp>
    </p:spTree>
    <p:extLst>
      <p:ext uri="{BB962C8B-B14F-4D97-AF65-F5344CB8AC3E}">
        <p14:creationId xmlns:p14="http://schemas.microsoft.com/office/powerpoint/2010/main" val="11078179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Key concept</a:t>
            </a:r>
            <a:endParaRPr lang="en-US" dirty="0"/>
          </a:p>
          <a:p>
            <a:r>
              <a:rPr lang="en-US" dirty="0"/>
              <a:t>Ask CFPB</a:t>
            </a:r>
            <a:r>
              <a:rPr lang="en-US" i="1" dirty="0"/>
              <a:t> </a:t>
            </a:r>
            <a:r>
              <a:rPr lang="en-US" dirty="0"/>
              <a:t>helps practitioners and the people you serve find clear, impartial answers to financial questions. </a:t>
            </a:r>
            <a:endParaRPr lang="en-US" dirty="0">
              <a:cs typeface="Calibri"/>
            </a:endParaRPr>
          </a:p>
          <a:p>
            <a:endParaRPr lang="en-US" dirty="0"/>
          </a:p>
          <a:p>
            <a:r>
              <a:rPr lang="en-US" b="1" u="sng" dirty="0"/>
              <a:t>Sources and additional information</a:t>
            </a:r>
          </a:p>
          <a:p>
            <a:r>
              <a:rPr lang="en-US" b="0" i="1" u="none" dirty="0"/>
              <a:t>Ask CFPB</a:t>
            </a:r>
          </a:p>
          <a:p>
            <a:r>
              <a:rPr lang="en-US" dirty="0"/>
              <a:t>https://www.consumerfinance.gov/ask-cfpb/</a:t>
            </a:r>
            <a:endParaRPr lang="en-US" dirty="0">
              <a:cs typeface="Calibri"/>
            </a:endParaRPr>
          </a:p>
          <a:p>
            <a:pPr marL="176679" indent="-176679">
              <a:buFont typeface="Arial,Sans-Serif"/>
              <a:buChar char="•"/>
            </a:pPr>
            <a:endParaRPr lang="en-US" dirty="0">
              <a:cs typeface="Calibri"/>
            </a:endParaRPr>
          </a:p>
          <a:p>
            <a:r>
              <a:rPr lang="en-US" b="1" u="sng" dirty="0"/>
              <a:t>Instructions for facilitation</a:t>
            </a:r>
            <a:endParaRPr lang="en-US" dirty="0"/>
          </a:p>
          <a:p>
            <a:pPr marL="176679" indent="-176679">
              <a:buFont typeface="Arial,Sans-Serif"/>
              <a:buChar char="•"/>
            </a:pPr>
            <a:r>
              <a:rPr lang="en-US" dirty="0"/>
              <a:t>Review </a:t>
            </a:r>
            <a:r>
              <a:rPr lang="en-US" i="1" dirty="0"/>
              <a:t>Ask CFPB</a:t>
            </a:r>
            <a:r>
              <a:rPr lang="en-US" dirty="0"/>
              <a:t> and the information that’s available when browsing by topic. </a:t>
            </a:r>
            <a:endParaRPr lang="en-US" dirty="0">
              <a:cs typeface="Calibri"/>
            </a:endParaRPr>
          </a:p>
          <a:p>
            <a:pPr marL="176679" indent="-176679">
              <a:buFont typeface="Arial,Sans-Serif"/>
              <a:buChar char="•"/>
            </a:pPr>
            <a:r>
              <a:rPr lang="en-US" dirty="0"/>
              <a:t>If you have an internet connection during your presentation, visit the website and conduct a search that is relevant to your audience. For example, "how do I get my credit report?"</a:t>
            </a:r>
            <a:endParaRPr lang="en-US" dirty="0">
              <a:cs typeface="Calibri"/>
            </a:endParaRPr>
          </a:p>
          <a:p>
            <a:pPr marL="176679" indent="-176679">
              <a:buFont typeface="Arial,Sans-Serif"/>
              <a:buChar char="•"/>
            </a:pPr>
            <a:r>
              <a:rPr lang="en-US" b="1" i="1" dirty="0"/>
              <a:t>In-person tip: </a:t>
            </a:r>
            <a:r>
              <a:rPr lang="en-US" dirty="0"/>
              <a:t>Ask participants for financial questions to search.</a:t>
            </a:r>
            <a:endParaRPr lang="en-US" dirty="0">
              <a:cs typeface="Calibri"/>
            </a:endParaRPr>
          </a:p>
          <a:p>
            <a:pPr marL="176679" indent="-176679">
              <a:buFont typeface="Arial,Sans-Serif"/>
              <a:buChar char="•"/>
            </a:pPr>
            <a:r>
              <a:rPr lang="en-US" b="1" i="1" dirty="0"/>
              <a:t>Virtual tip: </a:t>
            </a:r>
            <a:r>
              <a:rPr lang="en-US" dirty="0"/>
              <a:t>Share your screen and demonstrate how to use </a:t>
            </a:r>
            <a:r>
              <a:rPr lang="en-US" i="1" dirty="0"/>
              <a:t>Ask CFPB</a:t>
            </a:r>
            <a:r>
              <a:rPr lang="en-US" dirty="0"/>
              <a:t>.</a:t>
            </a:r>
            <a:endParaRPr lang="en-US" dirty="0">
              <a:cs typeface="Calibri"/>
            </a:endParaRPr>
          </a:p>
          <a:p>
            <a:endParaRPr lang="en-US" dirty="0"/>
          </a:p>
          <a:p>
            <a:r>
              <a:rPr lang="en-US" b="1" u="sng" dirty="0"/>
              <a:t>Suggested script</a:t>
            </a:r>
            <a:endParaRPr lang="en-US" dirty="0"/>
          </a:p>
          <a:p>
            <a:pPr marL="176679" indent="-176679">
              <a:buFont typeface="Arial" panose="020B0604020202020204" pitchFamily="34" charset="0"/>
              <a:buChar char="•"/>
            </a:pPr>
            <a:r>
              <a:rPr lang="en-US" i="0" dirty="0">
                <a:cs typeface="Calibri"/>
              </a:rPr>
              <a:t>When you or someone you work with have a financial question, visit </a:t>
            </a:r>
            <a:r>
              <a:rPr lang="en-US" b="1" i="0" dirty="0">
                <a:cs typeface="Calibri"/>
              </a:rPr>
              <a:t>Ask CFPB</a:t>
            </a:r>
            <a:r>
              <a:rPr lang="en-US" i="0" dirty="0">
                <a:cs typeface="Calibri"/>
              </a:rPr>
              <a:t>.</a:t>
            </a:r>
          </a:p>
          <a:p>
            <a:pPr marL="176679" indent="-176679">
              <a:buFont typeface="Arial" panose="020B0604020202020204" pitchFamily="34" charset="0"/>
              <a:buChar char="•"/>
            </a:pPr>
            <a:r>
              <a:rPr lang="en-US" i="0" dirty="0">
                <a:cs typeface="Calibri"/>
              </a:rPr>
              <a:t>Ask CFPB provides clear, impartial answers to hundreds of financial questions. </a:t>
            </a:r>
          </a:p>
          <a:p>
            <a:pPr marL="176679" indent="-176679">
              <a:buFont typeface="Arial" panose="020B0604020202020204" pitchFamily="34" charset="0"/>
              <a:buChar char="•"/>
            </a:pPr>
            <a:r>
              <a:rPr lang="en-US" i="0" dirty="0">
                <a:cs typeface="Calibri"/>
              </a:rPr>
              <a:t>You can explore trusted, vetted information with those you work with. You do not need to be a financial expert to help a person find accurate information.</a:t>
            </a:r>
          </a:p>
          <a:p>
            <a:pPr marL="176679" indent="-176679">
              <a:buFont typeface="Arial" panose="020B0604020202020204" pitchFamily="34" charset="0"/>
              <a:buChar char="•"/>
            </a:pPr>
            <a:r>
              <a:rPr lang="en-US" i="0" dirty="0">
                <a:cs typeface="Calibri"/>
              </a:rPr>
              <a:t>You can search for your question. For example, type in “how do I get my credit report?” and a variety of articles and tools will appear. </a:t>
            </a:r>
          </a:p>
          <a:p>
            <a:pPr marL="176679" indent="-176679">
              <a:buFont typeface="Arial" panose="020B0604020202020204" pitchFamily="34" charset="0"/>
              <a:buChar char="•"/>
            </a:pPr>
            <a:r>
              <a:rPr lang="en-US" i="0" dirty="0">
                <a:cs typeface="Calibri"/>
              </a:rPr>
              <a:t>Or, you can explore by topic. From auto loans, to prepaid cards, and student loans, there is information available that you and the people you serve may need. </a:t>
            </a:r>
          </a:p>
        </p:txBody>
      </p:sp>
      <p:sp>
        <p:nvSpPr>
          <p:cNvPr id="4" name="Slide Number Placeholder 3"/>
          <p:cNvSpPr>
            <a:spLocks noGrp="1"/>
          </p:cNvSpPr>
          <p:nvPr>
            <p:ph type="sldNum" sz="quarter" idx="5"/>
          </p:nvPr>
        </p:nvSpPr>
        <p:spPr/>
        <p:txBody>
          <a:bodyPr/>
          <a:lstStyle/>
          <a:p>
            <a:fld id="{4BAF53EF-993C-FF42-8B62-CEF57763A78D}" type="slidenum">
              <a:rPr lang="en-US" smtClean="0"/>
              <a:t>57</a:t>
            </a:fld>
            <a:endParaRPr lang="en-US"/>
          </a:p>
        </p:txBody>
      </p:sp>
    </p:spTree>
    <p:extLst>
      <p:ext uri="{BB962C8B-B14F-4D97-AF65-F5344CB8AC3E}">
        <p14:creationId xmlns:p14="http://schemas.microsoft.com/office/powerpoint/2010/main" val="36267967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r>
              <a:rPr lang="en-US" b="1" u="sng" dirty="0"/>
              <a:t>Key concept </a:t>
            </a:r>
          </a:p>
          <a:p>
            <a:r>
              <a:rPr lang="en-US" dirty="0"/>
              <a:t>If participants want to stay in touch, they can join the Your Money, Your Goals listserv. </a:t>
            </a:r>
          </a:p>
          <a:p>
            <a:endParaRPr lang="en-US" dirty="0"/>
          </a:p>
          <a:p>
            <a:pPr defTabSz="955579">
              <a:spcBef>
                <a:spcPct val="0"/>
              </a:spcBef>
              <a:defRPr/>
            </a:pPr>
            <a:r>
              <a:rPr lang="en-US" b="1" u="sng" dirty="0">
                <a:solidFill>
                  <a:srgbClr val="000000"/>
                </a:solidFill>
              </a:rPr>
              <a:t>Suggested script</a:t>
            </a:r>
            <a:r>
              <a:rPr lang="en-US" dirty="0">
                <a:solidFill>
                  <a:srgbClr val="444444"/>
                </a:solidFill>
              </a:rPr>
              <a:t>​</a:t>
            </a:r>
            <a:endParaRPr lang="en-US" dirty="0">
              <a:solidFill>
                <a:srgbClr val="000000"/>
              </a:solidFill>
              <a:ea typeface="MS PGothic" charset="0"/>
            </a:endParaRPr>
          </a:p>
          <a:p>
            <a:pPr marL="294465" indent="-294465" defTabSz="471145">
              <a:buFont typeface="Arial" panose="020B0604020202020204" pitchFamily="34" charset="0"/>
              <a:buChar char="•"/>
              <a:defRPr/>
            </a:pPr>
            <a:r>
              <a:rPr lang="en-US" dirty="0">
                <a:solidFill>
                  <a:schemeClr val="dk1"/>
                </a:solidFill>
                <a:ea typeface="Calibri"/>
                <a:cs typeface="Calibri"/>
                <a:sym typeface="Calibri"/>
              </a:rPr>
              <a:t>If you would like to sign-up to receive Your Money, Your Goals email, use the link or scan the QR code. </a:t>
            </a:r>
          </a:p>
          <a:p>
            <a:endParaRPr lang="en-US" dirty="0"/>
          </a:p>
        </p:txBody>
      </p:sp>
      <p:sp>
        <p:nvSpPr>
          <p:cNvPr id="44953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eorgia" panose="02040502050405020303" pitchFamily="18" charset="0"/>
                <a:ea typeface="MS PGothic" panose="020B0600070205080204" pitchFamily="34" charset="-128"/>
              </a:defRPr>
            </a:lvl1pPr>
            <a:lvl2pPr marL="807598" indent="-309551">
              <a:defRPr>
                <a:solidFill>
                  <a:schemeClr val="tx1"/>
                </a:solidFill>
                <a:latin typeface="Georgia" panose="02040502050405020303" pitchFamily="18" charset="0"/>
                <a:ea typeface="MS PGothic" panose="020B0600070205080204" pitchFamily="34" charset="-128"/>
              </a:defRPr>
            </a:lvl2pPr>
            <a:lvl3pPr marL="1243389" indent="-247294">
              <a:defRPr>
                <a:solidFill>
                  <a:schemeClr val="tx1"/>
                </a:solidFill>
                <a:latin typeface="Georgia" panose="02040502050405020303" pitchFamily="18" charset="0"/>
                <a:ea typeface="MS PGothic" panose="020B0600070205080204" pitchFamily="34" charset="-128"/>
              </a:defRPr>
            </a:lvl3pPr>
            <a:lvl4pPr marL="1741436" indent="-247294">
              <a:defRPr>
                <a:solidFill>
                  <a:schemeClr val="tx1"/>
                </a:solidFill>
                <a:latin typeface="Georgia" panose="02040502050405020303" pitchFamily="18" charset="0"/>
                <a:ea typeface="MS PGothic" panose="020B0600070205080204" pitchFamily="34" charset="-128"/>
              </a:defRPr>
            </a:lvl4pPr>
            <a:lvl5pPr marL="2239483" indent="-247294">
              <a:defRPr>
                <a:solidFill>
                  <a:schemeClr val="tx1"/>
                </a:solidFill>
                <a:latin typeface="Georgia" panose="02040502050405020303" pitchFamily="18" charset="0"/>
                <a:ea typeface="MS PGothic" panose="020B0600070205080204" pitchFamily="34" charset="-128"/>
              </a:defRPr>
            </a:lvl5pPr>
            <a:lvl6pPr marL="2737529" indent="-247294" defTabSz="498047"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6pPr>
            <a:lvl7pPr marL="3235576" indent="-247294" defTabSz="498047"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7pPr>
            <a:lvl8pPr marL="3733623" indent="-247294" defTabSz="498047"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8pPr>
            <a:lvl9pPr marL="4231670" indent="-247294" defTabSz="498047" eaLnBrk="0" fontAlgn="base" hangingPunct="0">
              <a:spcBef>
                <a:spcPct val="0"/>
              </a:spcBef>
              <a:spcAft>
                <a:spcPct val="0"/>
              </a:spcAft>
              <a:defRPr>
                <a:solidFill>
                  <a:schemeClr val="tx1"/>
                </a:solidFill>
                <a:latin typeface="Georgia" panose="02040502050405020303" pitchFamily="18" charset="0"/>
                <a:ea typeface="MS PGothic" panose="020B0600070205080204" pitchFamily="34" charset="-128"/>
              </a:defRPr>
            </a:lvl9pPr>
          </a:lstStyle>
          <a:p>
            <a:fld id="{CA326468-3AE0-4051-A040-055454768487}" type="slidenum">
              <a:rPr lang="en-US" altLang="en-US" smtClean="0">
                <a:latin typeface="Calibri" panose="020F0502020204030204" pitchFamily="34" charset="0"/>
              </a:rPr>
              <a:pPr/>
              <a:t>58</a:t>
            </a:fld>
            <a:endParaRPr lang="en-US" altLang="en-US" dirty="0">
              <a:latin typeface="Calibri" panose="020F0502020204030204" pitchFamily="34" charset="0"/>
            </a:endParaRPr>
          </a:p>
        </p:txBody>
      </p:sp>
    </p:spTree>
    <p:extLst>
      <p:ext uri="{BB962C8B-B14F-4D97-AF65-F5344CB8AC3E}">
        <p14:creationId xmlns:p14="http://schemas.microsoft.com/office/powerpoint/2010/main" val="3673455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8</a:t>
            </a:fld>
            <a:endParaRPr lang="en-US" dirty="0"/>
          </a:p>
        </p:txBody>
      </p:sp>
    </p:spTree>
    <p:extLst>
      <p:ext uri="{BB962C8B-B14F-4D97-AF65-F5344CB8AC3E}">
        <p14:creationId xmlns:p14="http://schemas.microsoft.com/office/powerpoint/2010/main" val="3299095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1</a:t>
            </a:fld>
            <a:endParaRPr lang="en-US" dirty="0"/>
          </a:p>
        </p:txBody>
      </p:sp>
    </p:spTree>
    <p:extLst>
      <p:ext uri="{BB962C8B-B14F-4D97-AF65-F5344CB8AC3E}">
        <p14:creationId xmlns:p14="http://schemas.microsoft.com/office/powerpoint/2010/main" val="993285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4179832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3</a:t>
            </a:fld>
            <a:endParaRPr lang="en-US" dirty="0"/>
          </a:p>
        </p:txBody>
      </p:sp>
    </p:spTree>
    <p:extLst>
      <p:ext uri="{BB962C8B-B14F-4D97-AF65-F5344CB8AC3E}">
        <p14:creationId xmlns:p14="http://schemas.microsoft.com/office/powerpoint/2010/main" val="3888965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2DD951-2C5C-4B13-AFF4-6E328937E72F}" type="slidenum">
              <a:rPr lang="en-US" smtClean="0"/>
              <a:t>25</a:t>
            </a:fld>
            <a:endParaRPr lang="en-US"/>
          </a:p>
        </p:txBody>
      </p:sp>
    </p:spTree>
    <p:extLst>
      <p:ext uri="{BB962C8B-B14F-4D97-AF65-F5344CB8AC3E}">
        <p14:creationId xmlns:p14="http://schemas.microsoft.com/office/powerpoint/2010/main" val="4054517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2DD951-2C5C-4B13-AFF4-6E328937E72F}" type="slidenum">
              <a:rPr lang="en-US" smtClean="0"/>
              <a:t>27</a:t>
            </a:fld>
            <a:endParaRPr lang="en-US"/>
          </a:p>
        </p:txBody>
      </p:sp>
    </p:spTree>
    <p:extLst>
      <p:ext uri="{BB962C8B-B14F-4D97-AF65-F5344CB8AC3E}">
        <p14:creationId xmlns:p14="http://schemas.microsoft.com/office/powerpoint/2010/main" val="3902514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10" Type="http://schemas.openxmlformats.org/officeDocument/2006/relationships/image" Target="../media/image14.png"/><Relationship Id="rId4" Type="http://schemas.openxmlformats.org/officeDocument/2006/relationships/tags" Target="../tags/tag3.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xml"/><Relationship Id="rId7" Type="http://schemas.openxmlformats.org/officeDocument/2006/relationships/image" Target="../media/image1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xml"/><Relationship Id="rId7" Type="http://schemas.openxmlformats.org/officeDocument/2006/relationships/image" Target="../media/image18.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3.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386840" y="2558802"/>
            <a:ext cx="9144000" cy="1828655"/>
          </a:xfrm>
        </p:spPr>
        <p:txBody>
          <a:bodyPr anchor="b">
            <a:normAutofit/>
          </a:bodyPr>
          <a:lstStyle>
            <a:lvl1pPr algn="ctr">
              <a:defRPr sz="4400">
                <a:solidFill>
                  <a:schemeClr val="bg1"/>
                </a:solidFill>
              </a:defRPr>
            </a:lvl1pPr>
          </a:lstStyle>
          <a:p>
            <a:r>
              <a:rPr lang="en-US" sz="9600" b="1" i="1" u="sng" dirty="0"/>
              <a:t>Connecting the Digital Footprint </a:t>
            </a:r>
            <a:r>
              <a:rPr lang="en-US" sz="6000" b="1" i="1" u="sng" dirty="0"/>
              <a:t>(webinar series)</a:t>
            </a:r>
            <a:br>
              <a:rPr lang="en-US" sz="6000" b="1" dirty="0"/>
            </a:br>
            <a:r>
              <a:rPr lang="en-US" dirty="0"/>
              <a:t> </a:t>
            </a:r>
            <a:br>
              <a:rPr lang="en-US" dirty="0"/>
            </a:br>
            <a:r>
              <a:rPr lang="en-US" sz="5400" b="1" dirty="0"/>
              <a:t>Increasing Digital Access for Low-and-Moderate (LMI) Youth: </a:t>
            </a:r>
            <a:br>
              <a:rPr lang="en-US" sz="5400" dirty="0"/>
            </a:br>
            <a:r>
              <a:rPr lang="en-US" sz="5400" b="1" dirty="0">
                <a:solidFill>
                  <a:srgbClr val="FF0000"/>
                </a:solidFill>
              </a:rPr>
              <a:t>Laying the Foundation</a:t>
            </a:r>
            <a:endParaRPr lang="en-US" dirty="0"/>
          </a:p>
        </p:txBody>
      </p:sp>
      <p:sp>
        <p:nvSpPr>
          <p:cNvPr id="3" name="Subtitle 2"/>
          <p:cNvSpPr>
            <a:spLocks noGrp="1"/>
          </p:cNvSpPr>
          <p:nvPr>
            <p:ph type="subTitle" idx="1" hasCustomPrompt="1"/>
          </p:nvPr>
        </p:nvSpPr>
        <p:spPr>
          <a:xfrm>
            <a:off x="3767328" y="4690041"/>
            <a:ext cx="4714841" cy="805503"/>
          </a:xfrm>
          <a:ln w="25400" cmpd="sng">
            <a:solidFill>
              <a:schemeClr val="bg1"/>
            </a:solidFill>
          </a:ln>
        </p:spPr>
        <p:txBody>
          <a:bodyPr numCol="1" anchor="ctr" anchorCtr="0">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b="1" dirty="0"/>
              <a:t>Thursday, May 28, 2020  </a:t>
            </a:r>
          </a:p>
          <a:p>
            <a:r>
              <a:rPr lang="en-US" b="1" dirty="0"/>
              <a:t>11AM (EST) to 12PM (EST)</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52288" y="5798128"/>
            <a:ext cx="1487424" cy="679707"/>
          </a:xfrm>
          <a:prstGeom prst="rect">
            <a:avLst/>
          </a:prstGeom>
        </p:spPr>
      </p:pic>
    </p:spTree>
    <p:extLst>
      <p:ext uri="{BB962C8B-B14F-4D97-AF65-F5344CB8AC3E}">
        <p14:creationId xmlns:p14="http://schemas.microsoft.com/office/powerpoint/2010/main" val="39283763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8" name="Title 1">
            <a:extLst>
              <a:ext uri="{FF2B5EF4-FFF2-40B4-BE49-F238E27FC236}">
                <a16:creationId xmlns:a16="http://schemas.microsoft.com/office/drawing/2014/main" id="{F36EEFDC-0485-E041-BFC2-C2C0F7699926}"/>
              </a:ext>
            </a:extLst>
          </p:cNvPr>
          <p:cNvSpPr>
            <a:spLocks noGrp="1"/>
          </p:cNvSpPr>
          <p:nvPr>
            <p:ph type="title"/>
          </p:nvPr>
        </p:nvSpPr>
        <p:spPr>
          <a:xfrm>
            <a:off x="838199" y="681038"/>
            <a:ext cx="4023733" cy="1559901"/>
          </a:xfrm>
          <a:prstGeom prst="rect">
            <a:avLst/>
          </a:prstGeom>
        </p:spPr>
        <p:txBody>
          <a:bodyPr/>
          <a:lstStyle>
            <a:lvl1pPr>
              <a:defRPr>
                <a:solidFill>
                  <a:schemeClr val="accent4"/>
                </a:solidFill>
              </a:defRPr>
            </a:lvl1pPr>
          </a:lstStyle>
          <a:p>
            <a:r>
              <a:rPr lang="en-US"/>
              <a:t>Click to edit Master title style</a:t>
            </a:r>
            <a:endParaRPr lang="en-US" dirty="0"/>
          </a:p>
        </p:txBody>
      </p:sp>
      <p:sp>
        <p:nvSpPr>
          <p:cNvPr id="9" name="Content Placeholder 6">
            <a:extLst>
              <a:ext uri="{FF2B5EF4-FFF2-40B4-BE49-F238E27FC236}">
                <a16:creationId xmlns:a16="http://schemas.microsoft.com/office/drawing/2014/main" id="{4E860304-383D-664A-A622-EE46F54D4056}"/>
              </a:ext>
            </a:extLst>
          </p:cNvPr>
          <p:cNvSpPr>
            <a:spLocks noGrp="1"/>
          </p:cNvSpPr>
          <p:nvPr>
            <p:ph sz="quarter" idx="13"/>
          </p:nvPr>
        </p:nvSpPr>
        <p:spPr>
          <a:xfrm>
            <a:off x="838199" y="3155795"/>
            <a:ext cx="4023733" cy="3021165"/>
          </a:xfrm>
        </p:spPr>
        <p:txBody>
          <a:bodyPr numCol="2"/>
          <a:lstStyle>
            <a:lvl1pPr marL="0" indent="0">
              <a:buFont typeface="Arial" panose="020B0604020202020204" pitchFamily="34" charset="0"/>
              <a:buNone/>
              <a:defRPr b="0" i="0">
                <a:solidFill>
                  <a:schemeClr val="tx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10" name="Text Placeholder 16">
            <a:extLst>
              <a:ext uri="{FF2B5EF4-FFF2-40B4-BE49-F238E27FC236}">
                <a16:creationId xmlns:a16="http://schemas.microsoft.com/office/drawing/2014/main" id="{DCB42B82-3F8F-4448-9A06-9589D073824F}"/>
              </a:ext>
            </a:extLst>
          </p:cNvPr>
          <p:cNvSpPr>
            <a:spLocks noGrp="1"/>
          </p:cNvSpPr>
          <p:nvPr>
            <p:ph type="body" sz="quarter" idx="14" hasCustomPrompt="1"/>
          </p:nvPr>
        </p:nvSpPr>
        <p:spPr>
          <a:xfrm>
            <a:off x="838199" y="2323717"/>
            <a:ext cx="4023733" cy="749300"/>
          </a:xfrm>
          <a:noFill/>
        </p:spPr>
        <p:txBody>
          <a:bodyPr anchor="b"/>
          <a:lstStyle>
            <a:lvl1pPr marL="0" indent="0">
              <a:buNone/>
              <a:defRPr b="1" i="0">
                <a:solidFill>
                  <a:schemeClr val="tx1"/>
                </a:solidFill>
                <a:latin typeface="Source Sans Pro" panose="020B0503030403020204" pitchFamily="34" charset="0"/>
                <a:ea typeface="Source Sans Pro" panose="020B0503030403020204" pitchFamily="34" charset="0"/>
              </a:defRPr>
            </a:lvl1pPr>
          </a:lstStyle>
          <a:p>
            <a:pPr lvl="0"/>
            <a:r>
              <a:rPr lang="en-US" dirty="0"/>
              <a:t>Sub heading</a:t>
            </a:r>
          </a:p>
        </p:txBody>
      </p:sp>
      <p:sp>
        <p:nvSpPr>
          <p:cNvPr id="3" name="Picture Placeholder 2">
            <a:extLst>
              <a:ext uri="{FF2B5EF4-FFF2-40B4-BE49-F238E27FC236}">
                <a16:creationId xmlns:a16="http://schemas.microsoft.com/office/drawing/2014/main" id="{F9E30DD0-FB39-F646-B9E1-7CB1E7564756}"/>
              </a:ext>
            </a:extLst>
          </p:cNvPr>
          <p:cNvSpPr>
            <a:spLocks noGrp="1"/>
          </p:cNvSpPr>
          <p:nvPr>
            <p:ph type="pic" sz="quarter" idx="15"/>
          </p:nvPr>
        </p:nvSpPr>
        <p:spPr>
          <a:xfrm>
            <a:off x="5107259" y="681038"/>
            <a:ext cx="6246541" cy="54959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6"/>
          </p:nvPr>
        </p:nvSpPr>
        <p:spPr/>
        <p:txBody>
          <a:bodyPr/>
          <a:lstStyle/>
          <a:p>
            <a:endParaRPr lang="en-US" dirty="0"/>
          </a:p>
        </p:txBody>
      </p:sp>
      <p:sp>
        <p:nvSpPr>
          <p:cNvPr id="4" name="Slide Number Placeholder 3"/>
          <p:cNvSpPr>
            <a:spLocks noGrp="1"/>
          </p:cNvSpPr>
          <p:nvPr>
            <p:ph type="sldNum" sz="quarter" idx="17"/>
          </p:nvPr>
        </p:nvSpPr>
        <p:spPr/>
        <p:txBody>
          <a:bodyPr/>
          <a:lstStyle/>
          <a:p>
            <a:fld id="{1267BF92-073C-4ECE-B084-A7F2B13135E2}" type="slidenum">
              <a:rPr lang="en-US" smtClean="0"/>
              <a:pPr/>
              <a:t>‹#›</a:t>
            </a:fld>
            <a:endParaRPr lang="en-US" dirty="0"/>
          </a:p>
        </p:txBody>
      </p:sp>
    </p:spTree>
    <p:extLst>
      <p:ext uri="{BB962C8B-B14F-4D97-AF65-F5344CB8AC3E}">
        <p14:creationId xmlns:p14="http://schemas.microsoft.com/office/powerpoint/2010/main" val="26802058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usiness-1">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CDB8341-4CC5-F34B-A652-1359B3F9AB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086316"/>
          </a:xfrm>
          <a:prstGeom prst="rect">
            <a:avLst/>
          </a:prstGeom>
        </p:spPr>
      </p:pic>
      <p:sp>
        <p:nvSpPr>
          <p:cNvPr id="22" name="Rectangle 21">
            <a:extLst>
              <a:ext uri="{FF2B5EF4-FFF2-40B4-BE49-F238E27FC236}">
                <a16:creationId xmlns:a16="http://schemas.microsoft.com/office/drawing/2014/main" id="{8713EFFF-96DB-E844-9795-B9273BC0E999}"/>
              </a:ext>
            </a:extLst>
          </p:cNvPr>
          <p:cNvSpPr/>
          <p:nvPr userDrawn="1"/>
        </p:nvSpPr>
        <p:spPr>
          <a:xfrm>
            <a:off x="-1" y="3886025"/>
            <a:ext cx="12192000" cy="2984089"/>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Subtitle 2">
            <a:extLst>
              <a:ext uri="{FF2B5EF4-FFF2-40B4-BE49-F238E27FC236}">
                <a16:creationId xmlns:a16="http://schemas.microsoft.com/office/drawing/2014/main" id="{DD41B37D-1901-B341-A140-06ECEE405167}"/>
              </a:ext>
            </a:extLst>
          </p:cNvPr>
          <p:cNvSpPr>
            <a:spLocks noGrp="1"/>
          </p:cNvSpPr>
          <p:nvPr>
            <p:ph type="subTitle" idx="1" hasCustomPrompt="1"/>
          </p:nvPr>
        </p:nvSpPr>
        <p:spPr>
          <a:xfrm>
            <a:off x="3008647" y="4891041"/>
            <a:ext cx="8658548" cy="329682"/>
          </a:xfrm>
        </p:spPr>
        <p:txBody>
          <a:bodyPr>
            <a:noAutofit/>
          </a:bodyPr>
          <a:lstStyle>
            <a:lvl1pPr marL="0" indent="0" algn="l">
              <a:buNone/>
              <a:defRPr sz="1800">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subtitle</a:t>
            </a:r>
          </a:p>
        </p:txBody>
      </p:sp>
      <p:sp>
        <p:nvSpPr>
          <p:cNvPr id="24" name="Title 8">
            <a:extLst>
              <a:ext uri="{FF2B5EF4-FFF2-40B4-BE49-F238E27FC236}">
                <a16:creationId xmlns:a16="http://schemas.microsoft.com/office/drawing/2014/main" id="{FFDE4A9E-7EF4-FA46-8049-E5378696CD5E}"/>
              </a:ext>
            </a:extLst>
          </p:cNvPr>
          <p:cNvSpPr>
            <a:spLocks noGrp="1"/>
          </p:cNvSpPr>
          <p:nvPr>
            <p:ph type="title" hasCustomPrompt="1"/>
          </p:nvPr>
        </p:nvSpPr>
        <p:spPr>
          <a:xfrm>
            <a:off x="3008647" y="4157852"/>
            <a:ext cx="8658548" cy="661655"/>
          </a:xfrm>
        </p:spPr>
        <p:txBody>
          <a:bodyPr>
            <a:noAutofit/>
          </a:bodyPr>
          <a:lstStyle>
            <a:lvl1pPr>
              <a:lnSpc>
                <a:spcPct val="100000"/>
              </a:lnSpc>
              <a:defRPr sz="2400">
                <a:solidFill>
                  <a:schemeClr val="bg1"/>
                </a:solidFill>
              </a:defRPr>
            </a:lvl1pPr>
          </a:lstStyle>
          <a:p>
            <a:r>
              <a:rPr lang="en-US"/>
              <a:t>CLICK TO EDIT PRESENTATION TITLE</a:t>
            </a:r>
          </a:p>
        </p:txBody>
      </p:sp>
      <p:cxnSp>
        <p:nvCxnSpPr>
          <p:cNvPr id="26" name="Straight Connector 25">
            <a:extLst>
              <a:ext uri="{FF2B5EF4-FFF2-40B4-BE49-F238E27FC236}">
                <a16:creationId xmlns:a16="http://schemas.microsoft.com/office/drawing/2014/main" id="{9219E343-5D70-324F-B16C-8D84C10B06A0}"/>
              </a:ext>
            </a:extLst>
          </p:cNvPr>
          <p:cNvCxnSpPr/>
          <p:nvPr userDrawn="1"/>
        </p:nvCxnSpPr>
        <p:spPr>
          <a:xfrm flipH="1">
            <a:off x="2714545" y="4267089"/>
            <a:ext cx="1" cy="939884"/>
          </a:xfrm>
          <a:prstGeom prst="line">
            <a:avLst/>
          </a:prstGeom>
          <a:ln w="1270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sp>
        <p:nvSpPr>
          <p:cNvPr id="27" name="Text Placeholder 21">
            <a:extLst>
              <a:ext uri="{FF2B5EF4-FFF2-40B4-BE49-F238E27FC236}">
                <a16:creationId xmlns:a16="http://schemas.microsoft.com/office/drawing/2014/main" id="{91EF3CF4-3BA7-B94D-B86A-7809FDA8CA4D}"/>
              </a:ext>
            </a:extLst>
          </p:cNvPr>
          <p:cNvSpPr>
            <a:spLocks noGrp="1"/>
          </p:cNvSpPr>
          <p:nvPr>
            <p:ph type="body" sz="quarter" idx="16" hasCustomPrompt="1"/>
          </p:nvPr>
        </p:nvSpPr>
        <p:spPr>
          <a:xfrm>
            <a:off x="3008647" y="5602039"/>
            <a:ext cx="5738527" cy="245139"/>
          </a:xfrm>
          <a:prstGeom prst="rect">
            <a:avLst/>
          </a:prstGeom>
        </p:spPr>
        <p:txBody>
          <a:bodyPr>
            <a:normAutofit/>
          </a:bodyPr>
          <a:lstStyle>
            <a:lvl1pPr marL="0" indent="0">
              <a:buNone/>
              <a:defRPr sz="1200" b="1" baseline="0">
                <a:solidFill>
                  <a:schemeClr val="bg1"/>
                </a:solidFill>
                <a:latin typeface="Verdana" charset="0"/>
                <a:ea typeface="Verdana" charset="0"/>
                <a:cs typeface="Verdana" charset="0"/>
              </a:defRPr>
            </a:lvl1pPr>
          </a:lstStyle>
          <a:p>
            <a:pPr lvl="0"/>
            <a:r>
              <a:rPr lang="en-US"/>
              <a:t>Date of Presentation | Presenter Name</a:t>
            </a:r>
          </a:p>
        </p:txBody>
      </p:sp>
      <p:sp>
        <p:nvSpPr>
          <p:cNvPr id="28" name="Text Placeholder 8">
            <a:extLst>
              <a:ext uri="{FF2B5EF4-FFF2-40B4-BE49-F238E27FC236}">
                <a16:creationId xmlns:a16="http://schemas.microsoft.com/office/drawing/2014/main" id="{44DF3CF7-7937-BB48-9C8F-23615A74C6E6}"/>
              </a:ext>
            </a:extLst>
          </p:cNvPr>
          <p:cNvSpPr>
            <a:spLocks noGrp="1"/>
          </p:cNvSpPr>
          <p:nvPr>
            <p:ph type="body" sz="quarter" idx="20" hasCustomPrompt="1"/>
          </p:nvPr>
        </p:nvSpPr>
        <p:spPr>
          <a:xfrm>
            <a:off x="3008645" y="5895303"/>
            <a:ext cx="5067652" cy="587829"/>
          </a:xfrm>
          <a:prstGeom prst="rect">
            <a:avLst/>
          </a:prstGeom>
        </p:spPr>
        <p:txBody>
          <a:bodyPr/>
          <a:lstStyle>
            <a:lvl1pPr marL="0" indent="0">
              <a:buNone/>
              <a:defRPr sz="1200">
                <a:solidFill>
                  <a:schemeClr val="bg1"/>
                </a:solidFill>
                <a:latin typeface="Verdana" charset="0"/>
                <a:ea typeface="Verdana" charset="0"/>
                <a:cs typeface="Verdana" charset="0"/>
              </a:defRPr>
            </a:lvl1pPr>
          </a:lstStyle>
          <a:p>
            <a:pPr lvl="0"/>
            <a:r>
              <a:rPr lang="en-US"/>
              <a:t>Department, Topic or Category</a:t>
            </a:r>
          </a:p>
        </p:txBody>
      </p:sp>
      <p:pic>
        <p:nvPicPr>
          <p:cNvPr id="6" name="Picture 5">
            <a:extLst>
              <a:ext uri="{FF2B5EF4-FFF2-40B4-BE49-F238E27FC236}">
                <a16:creationId xmlns:a16="http://schemas.microsoft.com/office/drawing/2014/main" id="{1EA38738-21F6-6B4D-B7C0-8E66BDD93E10}"/>
              </a:ext>
            </a:extLst>
          </p:cNvPr>
          <p:cNvPicPr>
            <a:picLocks noChangeAspect="1"/>
          </p:cNvPicPr>
          <p:nvPr userDrawn="1"/>
        </p:nvPicPr>
        <p:blipFill>
          <a:blip r:embed="rId3"/>
          <a:stretch>
            <a:fillRect/>
          </a:stretch>
        </p:blipFill>
        <p:spPr>
          <a:xfrm>
            <a:off x="1559000" y="4285561"/>
            <a:ext cx="932011" cy="858188"/>
          </a:xfrm>
          <a:prstGeom prst="rect">
            <a:avLst/>
          </a:prstGeom>
        </p:spPr>
      </p:pic>
    </p:spTree>
    <p:extLst>
      <p:ext uri="{BB962C8B-B14F-4D97-AF65-F5344CB8AC3E}">
        <p14:creationId xmlns:p14="http://schemas.microsoft.com/office/powerpoint/2010/main" val="378050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ft Aligned - Content -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09CF1A-6B6C-9D42-AC56-627CC7E8A6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48779" y="457201"/>
            <a:ext cx="11320576" cy="5734050"/>
          </a:xfrm>
          <a:prstGeom prst="rect">
            <a:avLst/>
          </a:prstGeom>
        </p:spPr>
      </p:pic>
      <p:sp>
        <p:nvSpPr>
          <p:cNvPr id="9" name="Rectangle 8">
            <a:extLst>
              <a:ext uri="{FF2B5EF4-FFF2-40B4-BE49-F238E27FC236}">
                <a16:creationId xmlns:a16="http://schemas.microsoft.com/office/drawing/2014/main" id="{EAEAC198-BCE3-254E-AA28-AC3042966C2B}"/>
              </a:ext>
            </a:extLst>
          </p:cNvPr>
          <p:cNvSpPr/>
          <p:nvPr userDrawn="1"/>
        </p:nvSpPr>
        <p:spPr>
          <a:xfrm>
            <a:off x="448779" y="446809"/>
            <a:ext cx="11320576" cy="5744442"/>
          </a:xfrm>
          <a:prstGeom prst="rect">
            <a:avLst/>
          </a:prstGeom>
          <a:gradFill>
            <a:gsLst>
              <a:gs pos="27000">
                <a:schemeClr val="bg1">
                  <a:alpha val="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5298BD6F-830C-544A-9203-7CE4BB8F708E}"/>
              </a:ext>
            </a:extLst>
          </p:cNvPr>
          <p:cNvSpPr/>
          <p:nvPr userDrawn="1"/>
        </p:nvSpPr>
        <p:spPr>
          <a:xfrm>
            <a:off x="5638800" y="751812"/>
            <a:ext cx="914400"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4" name="Title 3">
            <a:extLst>
              <a:ext uri="{FF2B5EF4-FFF2-40B4-BE49-F238E27FC236}">
                <a16:creationId xmlns:a16="http://schemas.microsoft.com/office/drawing/2014/main" id="{7C73F563-C87D-834B-A06E-D4C61B7257AA}"/>
              </a:ext>
            </a:extLst>
          </p:cNvPr>
          <p:cNvSpPr>
            <a:spLocks noGrp="1"/>
          </p:cNvSpPr>
          <p:nvPr>
            <p:ph type="title" hasCustomPrompt="1"/>
          </p:nvPr>
        </p:nvSpPr>
        <p:spPr>
          <a:xfrm>
            <a:off x="5638799" y="998946"/>
            <a:ext cx="5489347" cy="412411"/>
          </a:xfrm>
        </p:spPr>
        <p:txBody>
          <a:bodyPr/>
          <a:lstStyle>
            <a:lvl1pPr algn="l">
              <a:lnSpc>
                <a:spcPct val="100000"/>
              </a:lnSpc>
              <a:defRPr/>
            </a:lvl1pPr>
          </a:lstStyle>
          <a:p>
            <a:r>
              <a:rPr lang="en-US"/>
              <a:t>Click to edit HEADLINE</a:t>
            </a:r>
          </a:p>
        </p:txBody>
      </p:sp>
      <p:sp>
        <p:nvSpPr>
          <p:cNvPr id="10" name="Text Placeholder 10">
            <a:extLst>
              <a:ext uri="{FF2B5EF4-FFF2-40B4-BE49-F238E27FC236}">
                <a16:creationId xmlns:a16="http://schemas.microsoft.com/office/drawing/2014/main" id="{3B588282-3FB8-094B-9209-FD4AB1D568FA}"/>
              </a:ext>
            </a:extLst>
          </p:cNvPr>
          <p:cNvSpPr>
            <a:spLocks noGrp="1"/>
          </p:cNvSpPr>
          <p:nvPr>
            <p:ph type="body" sz="quarter" idx="17" hasCustomPrompt="1"/>
          </p:nvPr>
        </p:nvSpPr>
        <p:spPr>
          <a:xfrm>
            <a:off x="5638799" y="1523207"/>
            <a:ext cx="5489347" cy="424630"/>
          </a:xfrm>
          <a:prstGeom prst="rect">
            <a:avLst/>
          </a:prstGeom>
        </p:spPr>
        <p:txBody>
          <a:bodyPr/>
          <a:lstStyle>
            <a:lvl1pPr marL="0" indent="0" algn="l">
              <a:buNone/>
              <a:defRPr sz="1800" cap="all" baseline="0">
                <a:solidFill>
                  <a:schemeClr val="bg2"/>
                </a:solidFill>
              </a:defRPr>
            </a:lvl1pPr>
            <a:lvl2pPr marL="457109" indent="0" algn="ctr">
              <a:buNone/>
              <a:defRPr sz="1800" cap="all" baseline="0">
                <a:solidFill>
                  <a:schemeClr val="bg2"/>
                </a:solidFill>
              </a:defRPr>
            </a:lvl2pPr>
            <a:lvl3pPr marL="914217" indent="0" algn="ctr">
              <a:buNone/>
              <a:defRPr sz="1800" cap="all" baseline="0">
                <a:solidFill>
                  <a:schemeClr val="bg2"/>
                </a:solidFill>
              </a:defRPr>
            </a:lvl3pPr>
            <a:lvl4pPr marL="1371326" indent="0" algn="ctr">
              <a:buNone/>
              <a:defRPr sz="1800" cap="all" baseline="0">
                <a:solidFill>
                  <a:schemeClr val="bg2"/>
                </a:solidFill>
              </a:defRPr>
            </a:lvl4pPr>
            <a:lvl5pPr marL="1828434" indent="0" algn="ctr">
              <a:buNone/>
              <a:defRPr sz="1800" cap="all" baseline="0">
                <a:solidFill>
                  <a:schemeClr val="bg2"/>
                </a:solidFill>
              </a:defRPr>
            </a:lvl5pPr>
          </a:lstStyle>
          <a:p>
            <a:pPr lvl="0"/>
            <a:r>
              <a:rPr lang="en-US"/>
              <a:t>Click to edit SUBHEAD</a:t>
            </a:r>
          </a:p>
        </p:txBody>
      </p:sp>
      <p:sp>
        <p:nvSpPr>
          <p:cNvPr id="2" name="Slide Number Placeholder 1">
            <a:extLst>
              <a:ext uri="{FF2B5EF4-FFF2-40B4-BE49-F238E27FC236}">
                <a16:creationId xmlns:a16="http://schemas.microsoft.com/office/drawing/2014/main" id="{2C3E4145-31F2-0B4E-A447-C40272E35251}"/>
              </a:ext>
            </a:extLst>
          </p:cNvPr>
          <p:cNvSpPr>
            <a:spLocks noGrp="1"/>
          </p:cNvSpPr>
          <p:nvPr>
            <p:ph type="sldNum" sz="quarter" idx="18"/>
          </p:nvPr>
        </p:nvSpPr>
        <p:spPr/>
        <p:txBody>
          <a:bodyPr/>
          <a:lstStyle/>
          <a:p>
            <a:fld id="{8FED1F56-C974-6A47-A7B1-11C2DE7BEE2D}" type="slidenum">
              <a:rPr lang="en-US" smtClean="0"/>
              <a:pPr/>
              <a:t>‹#›</a:t>
            </a:fld>
            <a:endParaRPr lang="en-US"/>
          </a:p>
        </p:txBody>
      </p:sp>
    </p:spTree>
    <p:extLst>
      <p:ext uri="{BB962C8B-B14F-4D97-AF65-F5344CB8AC3E}">
        <p14:creationId xmlns:p14="http://schemas.microsoft.com/office/powerpoint/2010/main" val="941130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Left Aligned Content - Imag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50B907B-2095-3446-AA21-4488E4036B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7935" y="457200"/>
            <a:ext cx="11295179" cy="5734050"/>
          </a:xfrm>
          <a:prstGeom prst="rect">
            <a:avLst/>
          </a:prstGeom>
        </p:spPr>
      </p:pic>
      <p:sp>
        <p:nvSpPr>
          <p:cNvPr id="2" name="Title 1">
            <a:extLst>
              <a:ext uri="{FF2B5EF4-FFF2-40B4-BE49-F238E27FC236}">
                <a16:creationId xmlns:a16="http://schemas.microsoft.com/office/drawing/2014/main" id="{99C4DF7C-C406-634A-83EB-C93BE59346F4}"/>
              </a:ext>
            </a:extLst>
          </p:cNvPr>
          <p:cNvSpPr>
            <a:spLocks noGrp="1"/>
          </p:cNvSpPr>
          <p:nvPr>
            <p:ph type="title" hasCustomPrompt="1"/>
          </p:nvPr>
        </p:nvSpPr>
        <p:spPr>
          <a:xfrm>
            <a:off x="895744" y="999780"/>
            <a:ext cx="7031488" cy="523427"/>
          </a:xfrm>
        </p:spPr>
        <p:txBody>
          <a:bodyPr/>
          <a:lstStyle>
            <a:lvl1pPr algn="l">
              <a:defRPr/>
            </a:lvl1pPr>
          </a:lstStyle>
          <a:p>
            <a:r>
              <a:rPr lang="en-US"/>
              <a:t>Click to edit HEADLINE</a:t>
            </a:r>
          </a:p>
        </p:txBody>
      </p:sp>
      <p:sp>
        <p:nvSpPr>
          <p:cNvPr id="11" name="Rectangle 10">
            <a:extLst>
              <a:ext uri="{FF2B5EF4-FFF2-40B4-BE49-F238E27FC236}">
                <a16:creationId xmlns:a16="http://schemas.microsoft.com/office/drawing/2014/main" id="{9E762360-B683-994A-890D-7983AE8B990F}"/>
              </a:ext>
            </a:extLst>
          </p:cNvPr>
          <p:cNvSpPr/>
          <p:nvPr userDrawn="1"/>
        </p:nvSpPr>
        <p:spPr>
          <a:xfrm>
            <a:off x="895744" y="751812"/>
            <a:ext cx="914400"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13" name="Text Placeholder 10">
            <a:extLst>
              <a:ext uri="{FF2B5EF4-FFF2-40B4-BE49-F238E27FC236}">
                <a16:creationId xmlns:a16="http://schemas.microsoft.com/office/drawing/2014/main" id="{6CA2976B-2392-5A46-B04D-06C617662A77}"/>
              </a:ext>
            </a:extLst>
          </p:cNvPr>
          <p:cNvSpPr>
            <a:spLocks noGrp="1"/>
          </p:cNvSpPr>
          <p:nvPr>
            <p:ph type="body" sz="quarter" idx="17" hasCustomPrompt="1"/>
          </p:nvPr>
        </p:nvSpPr>
        <p:spPr>
          <a:xfrm>
            <a:off x="895743" y="1523207"/>
            <a:ext cx="5489347" cy="424630"/>
          </a:xfrm>
          <a:prstGeom prst="rect">
            <a:avLst/>
          </a:prstGeom>
        </p:spPr>
        <p:txBody>
          <a:bodyPr/>
          <a:lstStyle>
            <a:lvl1pPr marL="0" indent="0" algn="l">
              <a:buNone/>
              <a:defRPr sz="1800" cap="all" baseline="0">
                <a:solidFill>
                  <a:schemeClr val="bg2"/>
                </a:solidFill>
              </a:defRPr>
            </a:lvl1pPr>
            <a:lvl2pPr marL="457109" indent="0" algn="ctr">
              <a:buNone/>
              <a:defRPr sz="1800" cap="all" baseline="0">
                <a:solidFill>
                  <a:schemeClr val="bg2"/>
                </a:solidFill>
              </a:defRPr>
            </a:lvl2pPr>
            <a:lvl3pPr marL="914217" indent="0" algn="ctr">
              <a:buNone/>
              <a:defRPr sz="1800" cap="all" baseline="0">
                <a:solidFill>
                  <a:schemeClr val="bg2"/>
                </a:solidFill>
              </a:defRPr>
            </a:lvl3pPr>
            <a:lvl4pPr marL="1371326" indent="0" algn="ctr">
              <a:buNone/>
              <a:defRPr sz="1800" cap="all" baseline="0">
                <a:solidFill>
                  <a:schemeClr val="bg2"/>
                </a:solidFill>
              </a:defRPr>
            </a:lvl4pPr>
            <a:lvl5pPr marL="1828434" indent="0" algn="ctr">
              <a:buNone/>
              <a:defRPr sz="1800" cap="all" baseline="0">
                <a:solidFill>
                  <a:schemeClr val="bg2"/>
                </a:solidFill>
              </a:defRPr>
            </a:lvl5pPr>
          </a:lstStyle>
          <a:p>
            <a:pPr lvl="0"/>
            <a:r>
              <a:rPr lang="en-US"/>
              <a:t>Click to edit SUBHEAD</a:t>
            </a:r>
          </a:p>
        </p:txBody>
      </p:sp>
      <p:sp>
        <p:nvSpPr>
          <p:cNvPr id="3" name="Slide Number Placeholder 2">
            <a:extLst>
              <a:ext uri="{FF2B5EF4-FFF2-40B4-BE49-F238E27FC236}">
                <a16:creationId xmlns:a16="http://schemas.microsoft.com/office/drawing/2014/main" id="{97E0B341-A772-7D43-AC91-23676B0F047A}"/>
              </a:ext>
            </a:extLst>
          </p:cNvPr>
          <p:cNvSpPr>
            <a:spLocks noGrp="1"/>
          </p:cNvSpPr>
          <p:nvPr>
            <p:ph type="sldNum" sz="quarter" idx="18"/>
          </p:nvPr>
        </p:nvSpPr>
        <p:spPr/>
        <p:txBody>
          <a:bodyPr/>
          <a:lstStyle/>
          <a:p>
            <a:fld id="{8FED1F56-C974-6A47-A7B1-11C2DE7BEE2D}" type="slidenum">
              <a:rPr lang="en-US" smtClean="0"/>
              <a:pPr/>
              <a:t>‹#›</a:t>
            </a:fld>
            <a:endParaRPr lang="en-US"/>
          </a:p>
        </p:txBody>
      </p:sp>
      <p:sp>
        <p:nvSpPr>
          <p:cNvPr id="17" name="Slide Number Placeholder 5">
            <a:extLst>
              <a:ext uri="{FF2B5EF4-FFF2-40B4-BE49-F238E27FC236}">
                <a16:creationId xmlns:a16="http://schemas.microsoft.com/office/drawing/2014/main" id="{F0FDDF22-31CF-7E4B-8BEC-A4BEDC69FD83}"/>
              </a:ext>
            </a:extLst>
          </p:cNvPr>
          <p:cNvSpPr txBox="1">
            <a:spLocks/>
          </p:cNvSpPr>
          <p:nvPr userDrawn="1"/>
        </p:nvSpPr>
        <p:spPr>
          <a:xfrm>
            <a:off x="322848" y="6426563"/>
            <a:ext cx="515352" cy="224699"/>
          </a:xfrm>
          <a:prstGeom prst="rect">
            <a:avLst/>
          </a:prstGeom>
        </p:spPr>
        <p:txBody>
          <a:bodyPr vert="horz" lIns="45714" tIns="22857" rIns="45714" bIns="22857" rtlCol="0" anchor="ctr"/>
          <a:lstStyle>
            <a:defPPr>
              <a:defRPr lang="en-US"/>
            </a:defPPr>
            <a:lvl1pPr marL="0" algn="l" defTabSz="1828891" rtl="0" eaLnBrk="1" latinLnBrk="0" hangingPunct="1">
              <a:defRPr sz="1600" kern="1200">
                <a:solidFill>
                  <a:schemeClr val="accent2"/>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fld id="{8FED1F56-C974-6A47-A7B1-11C2DE7BEE2D}" type="slidenum">
              <a:rPr lang="en-US" sz="800" smtClean="0"/>
              <a:pPr/>
              <a:t>‹#›</a:t>
            </a:fld>
            <a:endParaRPr lang="en-US" sz="800"/>
          </a:p>
        </p:txBody>
      </p:sp>
      <p:sp>
        <p:nvSpPr>
          <p:cNvPr id="20" name="TextBox 19">
            <a:extLst>
              <a:ext uri="{FF2B5EF4-FFF2-40B4-BE49-F238E27FC236}">
                <a16:creationId xmlns:a16="http://schemas.microsoft.com/office/drawing/2014/main" id="{7AB01F80-F9C4-3244-8CB8-E274C719D570}"/>
              </a:ext>
            </a:extLst>
          </p:cNvPr>
          <p:cNvSpPr txBox="1"/>
          <p:nvPr userDrawn="1"/>
        </p:nvSpPr>
        <p:spPr>
          <a:xfrm>
            <a:off x="838091" y="6451276"/>
            <a:ext cx="1705010" cy="215444"/>
          </a:xfrm>
          <a:prstGeom prst="rect">
            <a:avLst/>
          </a:prstGeom>
          <a:noFill/>
        </p:spPr>
        <p:txBody>
          <a:bodyPr wrap="squar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lang="en-US" sz="800" kern="1200">
                <a:solidFill>
                  <a:srgbClr val="666666"/>
                </a:solidFill>
                <a:latin typeface="+mn-lt"/>
                <a:ea typeface="+mn-ea"/>
                <a:cs typeface="+mn-cs"/>
              </a:rPr>
              <a:t>CDW.com  |  800.808.4239</a:t>
            </a:r>
          </a:p>
        </p:txBody>
      </p:sp>
      <p:sp>
        <p:nvSpPr>
          <p:cNvPr id="21" name="TextBox 20">
            <a:extLst>
              <a:ext uri="{FF2B5EF4-FFF2-40B4-BE49-F238E27FC236}">
                <a16:creationId xmlns:a16="http://schemas.microsoft.com/office/drawing/2014/main" id="{72BF6867-E739-334A-9D1F-90CA2631D0C9}"/>
              </a:ext>
            </a:extLst>
          </p:cNvPr>
          <p:cNvSpPr txBox="1"/>
          <p:nvPr userDrawn="1"/>
        </p:nvSpPr>
        <p:spPr>
          <a:xfrm>
            <a:off x="9423136" y="6451276"/>
            <a:ext cx="1705010" cy="215444"/>
          </a:xfrm>
          <a:prstGeom prst="rect">
            <a:avLst/>
          </a:prstGeom>
          <a:noFill/>
        </p:spPr>
        <p:txBody>
          <a:bodyPr wrap="square" rtlCol="0">
            <a:spAutoFit/>
          </a:bodyPr>
          <a:lstStyle/>
          <a:p>
            <a:pPr marL="0" algn="r" defTabSz="914263" rtl="0" eaLnBrk="1" latinLnBrk="0" hangingPunct="1"/>
            <a:r>
              <a:rPr lang="en-US" sz="800" kern="1200">
                <a:solidFill>
                  <a:schemeClr val="accent2"/>
                </a:solidFill>
                <a:latin typeface="+mn-lt"/>
                <a:ea typeface="+mn-ea"/>
                <a:cs typeface="+mn-cs"/>
              </a:rPr>
              <a:t>CDW | Confidential</a:t>
            </a:r>
          </a:p>
        </p:txBody>
      </p:sp>
      <p:pic>
        <p:nvPicPr>
          <p:cNvPr id="12" name="Picture 11" descr="Logo&#10;&#10;Description automatically generated">
            <a:extLst>
              <a:ext uri="{FF2B5EF4-FFF2-40B4-BE49-F238E27FC236}">
                <a16:creationId xmlns:a16="http://schemas.microsoft.com/office/drawing/2014/main" id="{F1013BE2-D81C-4EF9-8D18-DF3F34FF1360}"/>
              </a:ext>
            </a:extLst>
          </p:cNvPr>
          <p:cNvPicPr>
            <a:picLocks noChangeAspect="1"/>
          </p:cNvPicPr>
          <p:nvPr userDrawn="1"/>
        </p:nvPicPr>
        <p:blipFill>
          <a:blip r:embed="rId3"/>
          <a:stretch>
            <a:fillRect/>
          </a:stretch>
        </p:blipFill>
        <p:spPr>
          <a:xfrm>
            <a:off x="11445478" y="6276109"/>
            <a:ext cx="615271" cy="457540"/>
          </a:xfrm>
          <a:prstGeom prst="rect">
            <a:avLst/>
          </a:prstGeom>
        </p:spPr>
      </p:pic>
    </p:spTree>
    <p:extLst>
      <p:ext uri="{BB962C8B-B14F-4D97-AF65-F5344CB8AC3E}">
        <p14:creationId xmlns:p14="http://schemas.microsoft.com/office/powerpoint/2010/main" val="3792540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Headline - Subhead - 4-up Content_2">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1458415-531A-5246-838E-2E6CA7083A2A}"/>
              </a:ext>
            </a:extLst>
          </p:cNvPr>
          <p:cNvSpPr/>
          <p:nvPr userDrawn="1"/>
        </p:nvSpPr>
        <p:spPr>
          <a:xfrm>
            <a:off x="791274" y="2729643"/>
            <a:ext cx="2458712" cy="2838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19" name="Rectangle 18">
            <a:extLst>
              <a:ext uri="{FF2B5EF4-FFF2-40B4-BE49-F238E27FC236}">
                <a16:creationId xmlns:a16="http://schemas.microsoft.com/office/drawing/2014/main" id="{8DFAA549-F0A4-004B-8DEE-D7BDECA0066E}"/>
              </a:ext>
            </a:extLst>
          </p:cNvPr>
          <p:cNvSpPr/>
          <p:nvPr userDrawn="1"/>
        </p:nvSpPr>
        <p:spPr>
          <a:xfrm>
            <a:off x="8962259" y="2729643"/>
            <a:ext cx="2458712" cy="2838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22" name="Rectangle 21">
            <a:extLst>
              <a:ext uri="{FF2B5EF4-FFF2-40B4-BE49-F238E27FC236}">
                <a16:creationId xmlns:a16="http://schemas.microsoft.com/office/drawing/2014/main" id="{B2B92792-B6C7-4748-AC93-E3CDD065001E}"/>
              </a:ext>
            </a:extLst>
          </p:cNvPr>
          <p:cNvSpPr/>
          <p:nvPr userDrawn="1"/>
        </p:nvSpPr>
        <p:spPr>
          <a:xfrm>
            <a:off x="6315321" y="2729643"/>
            <a:ext cx="2458712" cy="2838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36" name="Text Placeholder 30">
            <a:extLst>
              <a:ext uri="{FF2B5EF4-FFF2-40B4-BE49-F238E27FC236}">
                <a16:creationId xmlns:a16="http://schemas.microsoft.com/office/drawing/2014/main" id="{23D57D56-E9D9-B448-B5BA-31962766118D}"/>
              </a:ext>
            </a:extLst>
          </p:cNvPr>
          <p:cNvSpPr>
            <a:spLocks noGrp="1"/>
          </p:cNvSpPr>
          <p:nvPr>
            <p:ph type="body" sz="quarter" idx="21" hasCustomPrompt="1"/>
          </p:nvPr>
        </p:nvSpPr>
        <p:spPr>
          <a:xfrm>
            <a:off x="6414695" y="3612357"/>
            <a:ext cx="2203163" cy="480219"/>
          </a:xfrm>
          <a:prstGeom prst="rect">
            <a:avLst/>
          </a:prstGeom>
        </p:spPr>
        <p:txBody>
          <a:bodyPr anchor="b"/>
          <a:lstStyle>
            <a:lvl1pPr marL="0" indent="0" algn="ctr">
              <a:buNone/>
              <a:defRPr sz="1600" b="1">
                <a:solidFill>
                  <a:schemeClr val="accent5">
                    <a:lumMod val="10000"/>
                  </a:schemeClr>
                </a:solidFill>
              </a:defRPr>
            </a:lvl1pPr>
          </a:lstStyle>
          <a:p>
            <a:pPr lvl="0"/>
            <a:r>
              <a:rPr lang="en-US"/>
              <a:t>TOPIC 3</a:t>
            </a:r>
          </a:p>
        </p:txBody>
      </p:sp>
      <p:sp>
        <p:nvSpPr>
          <p:cNvPr id="38" name="Text Placeholder 30">
            <a:extLst>
              <a:ext uri="{FF2B5EF4-FFF2-40B4-BE49-F238E27FC236}">
                <a16:creationId xmlns:a16="http://schemas.microsoft.com/office/drawing/2014/main" id="{E98A70F3-D5C7-F34B-919F-F7610EE5E399}"/>
              </a:ext>
            </a:extLst>
          </p:cNvPr>
          <p:cNvSpPr>
            <a:spLocks noGrp="1"/>
          </p:cNvSpPr>
          <p:nvPr>
            <p:ph type="body" sz="quarter" idx="23" hasCustomPrompt="1"/>
          </p:nvPr>
        </p:nvSpPr>
        <p:spPr>
          <a:xfrm>
            <a:off x="9082597" y="3612357"/>
            <a:ext cx="2203163" cy="480219"/>
          </a:xfrm>
          <a:prstGeom prst="rect">
            <a:avLst/>
          </a:prstGeom>
        </p:spPr>
        <p:txBody>
          <a:bodyPr anchor="b"/>
          <a:lstStyle>
            <a:lvl1pPr marL="0" indent="0" algn="ctr">
              <a:buNone/>
              <a:defRPr sz="1600" b="1">
                <a:solidFill>
                  <a:schemeClr val="accent5">
                    <a:lumMod val="10000"/>
                  </a:schemeClr>
                </a:solidFill>
              </a:defRPr>
            </a:lvl1pPr>
          </a:lstStyle>
          <a:p>
            <a:pPr lvl="0"/>
            <a:r>
              <a:rPr lang="en-US"/>
              <a:t>TOPIC 4</a:t>
            </a:r>
          </a:p>
        </p:txBody>
      </p:sp>
      <p:sp>
        <p:nvSpPr>
          <p:cNvPr id="20" name="Oval 19">
            <a:extLst>
              <a:ext uri="{FF2B5EF4-FFF2-40B4-BE49-F238E27FC236}">
                <a16:creationId xmlns:a16="http://schemas.microsoft.com/office/drawing/2014/main" id="{61B4DCF5-C09D-F942-BA83-F92E5CF73FFB}"/>
              </a:ext>
            </a:extLst>
          </p:cNvPr>
          <p:cNvSpPr>
            <a:spLocks noChangeAspect="1"/>
          </p:cNvSpPr>
          <p:nvPr userDrawn="1"/>
        </p:nvSpPr>
        <p:spPr>
          <a:xfrm>
            <a:off x="9497677" y="2152276"/>
            <a:ext cx="1387878" cy="1388059"/>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21" name="Oval 20">
            <a:extLst>
              <a:ext uri="{FF2B5EF4-FFF2-40B4-BE49-F238E27FC236}">
                <a16:creationId xmlns:a16="http://schemas.microsoft.com/office/drawing/2014/main" id="{084BBEEA-12F6-D04C-9700-F060C29351E6}"/>
              </a:ext>
            </a:extLst>
          </p:cNvPr>
          <p:cNvSpPr>
            <a:spLocks noChangeAspect="1"/>
          </p:cNvSpPr>
          <p:nvPr userDrawn="1"/>
        </p:nvSpPr>
        <p:spPr>
          <a:xfrm>
            <a:off x="9554368" y="2215369"/>
            <a:ext cx="1261708" cy="1261872"/>
          </a:xfrm>
          <a:prstGeom prst="ellipse">
            <a:avLst/>
          </a:prstGeom>
          <a:noFill/>
          <a:ln w="38100" cmpd="sng">
            <a:solidFill>
              <a:schemeClr val="tx1"/>
            </a:solidFill>
          </a:ln>
        </p:spPr>
        <p:txBody>
          <a:bodyPr anchor="ctr"/>
          <a:lstStyle/>
          <a:p>
            <a:pPr lvl="0" indent="0" algn="ctr" defTabSz="914217">
              <a:lnSpc>
                <a:spcPct val="100000"/>
              </a:lnSpc>
              <a:spcBef>
                <a:spcPts val="1000"/>
              </a:spcBef>
              <a:buClr>
                <a:srgbClr val="CC0000"/>
              </a:buClr>
              <a:buFont typeface="Wingdings" pitchFamily="2" charset="2"/>
              <a:buNone/>
            </a:pPr>
            <a:endParaRPr lang="en-US" sz="900">
              <a:solidFill>
                <a:schemeClr val="accent2"/>
              </a:solidFill>
            </a:endParaRPr>
          </a:p>
        </p:txBody>
      </p:sp>
      <p:sp>
        <p:nvSpPr>
          <p:cNvPr id="23" name="Oval 22">
            <a:extLst>
              <a:ext uri="{FF2B5EF4-FFF2-40B4-BE49-F238E27FC236}">
                <a16:creationId xmlns:a16="http://schemas.microsoft.com/office/drawing/2014/main" id="{6D129256-5E08-B649-A2A8-26D89C5E9802}"/>
              </a:ext>
            </a:extLst>
          </p:cNvPr>
          <p:cNvSpPr>
            <a:spLocks noChangeAspect="1"/>
          </p:cNvSpPr>
          <p:nvPr userDrawn="1"/>
        </p:nvSpPr>
        <p:spPr>
          <a:xfrm>
            <a:off x="6850739" y="2152277"/>
            <a:ext cx="1387878" cy="1388059"/>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24" name="Oval 23">
            <a:extLst>
              <a:ext uri="{FF2B5EF4-FFF2-40B4-BE49-F238E27FC236}">
                <a16:creationId xmlns:a16="http://schemas.microsoft.com/office/drawing/2014/main" id="{E2368536-32DD-1448-A7FA-D0D018088CDE}"/>
              </a:ext>
            </a:extLst>
          </p:cNvPr>
          <p:cNvSpPr>
            <a:spLocks noChangeAspect="1"/>
          </p:cNvSpPr>
          <p:nvPr userDrawn="1"/>
        </p:nvSpPr>
        <p:spPr>
          <a:xfrm>
            <a:off x="6907430" y="2215369"/>
            <a:ext cx="1261708" cy="1261872"/>
          </a:xfrm>
          <a:prstGeom prst="ellipse">
            <a:avLst/>
          </a:prstGeom>
          <a:noFill/>
          <a:ln w="38100" cmpd="sng">
            <a:solidFill>
              <a:schemeClr val="tx1"/>
            </a:solidFill>
          </a:ln>
        </p:spPr>
        <p:txBody>
          <a:bodyPr anchor="ctr"/>
          <a:lstStyle/>
          <a:p>
            <a:pPr lvl="0" indent="0" algn="ctr" defTabSz="914217">
              <a:lnSpc>
                <a:spcPct val="100000"/>
              </a:lnSpc>
              <a:spcBef>
                <a:spcPts val="1000"/>
              </a:spcBef>
              <a:buClr>
                <a:srgbClr val="CC0000"/>
              </a:buClr>
              <a:buFont typeface="Wingdings" pitchFamily="2" charset="2"/>
              <a:buNone/>
            </a:pPr>
            <a:endParaRPr lang="en-US" sz="900">
              <a:solidFill>
                <a:schemeClr val="accent2"/>
              </a:solidFill>
            </a:endParaRPr>
          </a:p>
        </p:txBody>
      </p:sp>
      <p:sp>
        <p:nvSpPr>
          <p:cNvPr id="25" name="Rectangle 24">
            <a:extLst>
              <a:ext uri="{FF2B5EF4-FFF2-40B4-BE49-F238E27FC236}">
                <a16:creationId xmlns:a16="http://schemas.microsoft.com/office/drawing/2014/main" id="{4AF6E445-5E24-C542-9742-A6253DD6CBB2}"/>
              </a:ext>
            </a:extLst>
          </p:cNvPr>
          <p:cNvSpPr/>
          <p:nvPr userDrawn="1"/>
        </p:nvSpPr>
        <p:spPr>
          <a:xfrm>
            <a:off x="3566085" y="2729643"/>
            <a:ext cx="2458712" cy="2838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26" name="Oval 25">
            <a:extLst>
              <a:ext uri="{FF2B5EF4-FFF2-40B4-BE49-F238E27FC236}">
                <a16:creationId xmlns:a16="http://schemas.microsoft.com/office/drawing/2014/main" id="{BABFF187-9E56-2547-9F70-7F0D0BC39E62}"/>
              </a:ext>
            </a:extLst>
          </p:cNvPr>
          <p:cNvSpPr>
            <a:spLocks noChangeAspect="1"/>
          </p:cNvSpPr>
          <p:nvPr userDrawn="1"/>
        </p:nvSpPr>
        <p:spPr>
          <a:xfrm>
            <a:off x="4101503" y="2152277"/>
            <a:ext cx="1387878" cy="1388059"/>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29" name="Oval 28">
            <a:extLst>
              <a:ext uri="{FF2B5EF4-FFF2-40B4-BE49-F238E27FC236}">
                <a16:creationId xmlns:a16="http://schemas.microsoft.com/office/drawing/2014/main" id="{F76D5F9A-743F-3F47-A4BE-4AED9727843C}"/>
              </a:ext>
            </a:extLst>
          </p:cNvPr>
          <p:cNvSpPr>
            <a:spLocks noChangeAspect="1"/>
          </p:cNvSpPr>
          <p:nvPr userDrawn="1"/>
        </p:nvSpPr>
        <p:spPr>
          <a:xfrm>
            <a:off x="4158194" y="2215369"/>
            <a:ext cx="1261708" cy="1261872"/>
          </a:xfrm>
          <a:prstGeom prst="ellipse">
            <a:avLst/>
          </a:prstGeom>
          <a:noFill/>
          <a:ln w="38100" cmpd="sng">
            <a:solidFill>
              <a:schemeClr val="tx1"/>
            </a:solidFill>
          </a:ln>
        </p:spPr>
        <p:txBody>
          <a:bodyPr anchor="ctr"/>
          <a:lstStyle/>
          <a:p>
            <a:pPr lvl="0" indent="0" algn="ctr" defTabSz="914217">
              <a:lnSpc>
                <a:spcPct val="100000"/>
              </a:lnSpc>
              <a:spcBef>
                <a:spcPts val="1000"/>
              </a:spcBef>
              <a:buClr>
                <a:srgbClr val="CC0000"/>
              </a:buClr>
              <a:buFont typeface="Wingdings" pitchFamily="2" charset="2"/>
              <a:buNone/>
            </a:pPr>
            <a:endParaRPr lang="en-US" sz="900">
              <a:solidFill>
                <a:schemeClr val="accent2"/>
              </a:solidFill>
            </a:endParaRPr>
          </a:p>
        </p:txBody>
      </p:sp>
      <p:sp>
        <p:nvSpPr>
          <p:cNvPr id="32" name="Oval 31">
            <a:extLst>
              <a:ext uri="{FF2B5EF4-FFF2-40B4-BE49-F238E27FC236}">
                <a16:creationId xmlns:a16="http://schemas.microsoft.com/office/drawing/2014/main" id="{BA517454-E6D8-4645-880D-72662BB9B24A}"/>
              </a:ext>
            </a:extLst>
          </p:cNvPr>
          <p:cNvSpPr>
            <a:spLocks noChangeAspect="1"/>
          </p:cNvSpPr>
          <p:nvPr userDrawn="1"/>
        </p:nvSpPr>
        <p:spPr>
          <a:xfrm>
            <a:off x="1326692" y="2152277"/>
            <a:ext cx="1387878" cy="1388059"/>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a:p>
        </p:txBody>
      </p:sp>
      <p:sp>
        <p:nvSpPr>
          <p:cNvPr id="40" name="Oval 39">
            <a:extLst>
              <a:ext uri="{FF2B5EF4-FFF2-40B4-BE49-F238E27FC236}">
                <a16:creationId xmlns:a16="http://schemas.microsoft.com/office/drawing/2014/main" id="{FC350A56-155F-D141-BCE5-CCC15E99FB35}"/>
              </a:ext>
            </a:extLst>
          </p:cNvPr>
          <p:cNvSpPr>
            <a:spLocks noChangeAspect="1"/>
          </p:cNvSpPr>
          <p:nvPr userDrawn="1"/>
        </p:nvSpPr>
        <p:spPr>
          <a:xfrm>
            <a:off x="1383383" y="2215369"/>
            <a:ext cx="1261708" cy="1261872"/>
          </a:xfrm>
          <a:prstGeom prst="ellipse">
            <a:avLst/>
          </a:prstGeom>
          <a:noFill/>
          <a:ln w="38100" cmpd="sng">
            <a:solidFill>
              <a:schemeClr val="tx1"/>
            </a:solidFill>
          </a:ln>
        </p:spPr>
        <p:txBody>
          <a:bodyPr anchor="ctr"/>
          <a:lstStyle/>
          <a:p>
            <a:pPr lvl="0" indent="0" algn="ctr" defTabSz="914217">
              <a:lnSpc>
                <a:spcPct val="100000"/>
              </a:lnSpc>
              <a:spcBef>
                <a:spcPts val="1000"/>
              </a:spcBef>
              <a:buClr>
                <a:srgbClr val="CC0000"/>
              </a:buClr>
              <a:buFont typeface="Wingdings" pitchFamily="2" charset="2"/>
              <a:buNone/>
            </a:pPr>
            <a:endParaRPr lang="en-US" sz="900">
              <a:solidFill>
                <a:schemeClr val="accent2"/>
              </a:solidFill>
            </a:endParaRPr>
          </a:p>
        </p:txBody>
      </p:sp>
      <p:sp>
        <p:nvSpPr>
          <p:cNvPr id="34" name="Text Placeholder 30">
            <a:extLst>
              <a:ext uri="{FF2B5EF4-FFF2-40B4-BE49-F238E27FC236}">
                <a16:creationId xmlns:a16="http://schemas.microsoft.com/office/drawing/2014/main" id="{C391A7FB-C5EB-D64B-B515-5F8C75CDC2E1}"/>
              </a:ext>
            </a:extLst>
          </p:cNvPr>
          <p:cNvSpPr>
            <a:spLocks noGrp="1"/>
          </p:cNvSpPr>
          <p:nvPr>
            <p:ph type="body" sz="quarter" idx="19" hasCustomPrompt="1"/>
          </p:nvPr>
        </p:nvSpPr>
        <p:spPr>
          <a:xfrm>
            <a:off x="3656864" y="3612357"/>
            <a:ext cx="2203163" cy="480219"/>
          </a:xfrm>
          <a:prstGeom prst="rect">
            <a:avLst/>
          </a:prstGeom>
        </p:spPr>
        <p:txBody>
          <a:bodyPr anchor="b"/>
          <a:lstStyle>
            <a:lvl1pPr marL="0" indent="0" algn="ctr">
              <a:buNone/>
              <a:defRPr sz="1600" b="1">
                <a:solidFill>
                  <a:schemeClr val="accent5">
                    <a:lumMod val="10000"/>
                  </a:schemeClr>
                </a:solidFill>
              </a:defRPr>
            </a:lvl1pPr>
          </a:lstStyle>
          <a:p>
            <a:pPr lvl="0"/>
            <a:r>
              <a:rPr lang="en-US"/>
              <a:t>TOPIC 2</a:t>
            </a:r>
          </a:p>
        </p:txBody>
      </p:sp>
      <p:sp>
        <p:nvSpPr>
          <p:cNvPr id="31" name="Text Placeholder 30">
            <a:extLst>
              <a:ext uri="{FF2B5EF4-FFF2-40B4-BE49-F238E27FC236}">
                <a16:creationId xmlns:a16="http://schemas.microsoft.com/office/drawing/2014/main" id="{595FF680-A462-1941-96E1-E8763278D675}"/>
              </a:ext>
            </a:extLst>
          </p:cNvPr>
          <p:cNvSpPr>
            <a:spLocks noGrp="1"/>
          </p:cNvSpPr>
          <p:nvPr>
            <p:ph type="body" sz="quarter" idx="17" hasCustomPrompt="1"/>
          </p:nvPr>
        </p:nvSpPr>
        <p:spPr>
          <a:xfrm>
            <a:off x="936503" y="3612357"/>
            <a:ext cx="2203163" cy="480219"/>
          </a:xfrm>
          <a:prstGeom prst="rect">
            <a:avLst/>
          </a:prstGeom>
        </p:spPr>
        <p:txBody>
          <a:bodyPr anchor="b"/>
          <a:lstStyle>
            <a:lvl1pPr marL="0" indent="0" algn="ctr">
              <a:buNone/>
              <a:defRPr sz="1600" b="1">
                <a:solidFill>
                  <a:schemeClr val="accent5">
                    <a:lumMod val="10000"/>
                  </a:schemeClr>
                </a:solidFill>
              </a:defRPr>
            </a:lvl1pPr>
          </a:lstStyle>
          <a:p>
            <a:pPr lvl="0"/>
            <a:r>
              <a:rPr lang="en-US"/>
              <a:t>TOPIC 1</a:t>
            </a:r>
          </a:p>
        </p:txBody>
      </p:sp>
      <p:sp>
        <p:nvSpPr>
          <p:cNvPr id="7" name="Title 6">
            <a:extLst>
              <a:ext uri="{FF2B5EF4-FFF2-40B4-BE49-F238E27FC236}">
                <a16:creationId xmlns:a16="http://schemas.microsoft.com/office/drawing/2014/main" id="{2915C36E-4A8A-A842-AF52-79F1A69E1E9B}"/>
              </a:ext>
            </a:extLst>
          </p:cNvPr>
          <p:cNvSpPr>
            <a:spLocks noGrp="1"/>
          </p:cNvSpPr>
          <p:nvPr>
            <p:ph type="title" hasCustomPrompt="1"/>
          </p:nvPr>
        </p:nvSpPr>
        <p:spPr>
          <a:xfrm>
            <a:off x="462871" y="999780"/>
            <a:ext cx="11290243" cy="523427"/>
          </a:xfrm>
        </p:spPr>
        <p:txBody>
          <a:bodyPr/>
          <a:lstStyle/>
          <a:p>
            <a:r>
              <a:rPr lang="en-US"/>
              <a:t>Click to edit Headline</a:t>
            </a:r>
          </a:p>
        </p:txBody>
      </p:sp>
      <p:sp>
        <p:nvSpPr>
          <p:cNvPr id="33" name="Text Placeholder 10">
            <a:extLst>
              <a:ext uri="{FF2B5EF4-FFF2-40B4-BE49-F238E27FC236}">
                <a16:creationId xmlns:a16="http://schemas.microsoft.com/office/drawing/2014/main" id="{7EFAA0AC-EC14-B645-BF60-4E1439B368AE}"/>
              </a:ext>
            </a:extLst>
          </p:cNvPr>
          <p:cNvSpPr>
            <a:spLocks noGrp="1"/>
          </p:cNvSpPr>
          <p:nvPr>
            <p:ph type="body" sz="quarter" idx="29" hasCustomPrompt="1"/>
          </p:nvPr>
        </p:nvSpPr>
        <p:spPr>
          <a:xfrm>
            <a:off x="430156" y="1523207"/>
            <a:ext cx="11299148" cy="424630"/>
          </a:xfrm>
          <a:prstGeom prst="rect">
            <a:avLst/>
          </a:prstGeom>
        </p:spPr>
        <p:txBody>
          <a:bodyPr/>
          <a:lstStyle>
            <a:lvl1pPr marL="0" indent="0" algn="ctr">
              <a:buNone/>
              <a:defRPr sz="1800" cap="all" baseline="0">
                <a:solidFill>
                  <a:schemeClr val="bg2"/>
                </a:solidFill>
              </a:defRPr>
            </a:lvl1pPr>
            <a:lvl2pPr marL="457109" indent="0" algn="ctr">
              <a:buNone/>
              <a:defRPr sz="1800" cap="all" baseline="0">
                <a:solidFill>
                  <a:schemeClr val="bg2"/>
                </a:solidFill>
              </a:defRPr>
            </a:lvl2pPr>
            <a:lvl3pPr marL="914217" indent="0" algn="ctr">
              <a:buNone/>
              <a:defRPr sz="1800" cap="all" baseline="0">
                <a:solidFill>
                  <a:schemeClr val="bg2"/>
                </a:solidFill>
              </a:defRPr>
            </a:lvl3pPr>
            <a:lvl4pPr marL="1371326" indent="0" algn="ctr">
              <a:buNone/>
              <a:defRPr sz="1800" cap="all" baseline="0">
                <a:solidFill>
                  <a:schemeClr val="bg2"/>
                </a:solidFill>
              </a:defRPr>
            </a:lvl4pPr>
            <a:lvl5pPr marL="1828434" indent="0" algn="ctr">
              <a:buNone/>
              <a:defRPr sz="1800" cap="all" baseline="0">
                <a:solidFill>
                  <a:schemeClr val="bg2"/>
                </a:solidFill>
              </a:defRPr>
            </a:lvl5pPr>
          </a:lstStyle>
          <a:p>
            <a:pPr lvl="0"/>
            <a:r>
              <a:rPr lang="en-US"/>
              <a:t>Click to edit SUBHEAD</a:t>
            </a:r>
          </a:p>
        </p:txBody>
      </p:sp>
      <p:sp>
        <p:nvSpPr>
          <p:cNvPr id="37" name="Text Placeholder 6">
            <a:extLst>
              <a:ext uri="{FF2B5EF4-FFF2-40B4-BE49-F238E27FC236}">
                <a16:creationId xmlns:a16="http://schemas.microsoft.com/office/drawing/2014/main" id="{925D5841-418A-D046-9FEB-B751C876EACA}"/>
              </a:ext>
            </a:extLst>
          </p:cNvPr>
          <p:cNvSpPr>
            <a:spLocks noGrp="1"/>
          </p:cNvSpPr>
          <p:nvPr>
            <p:ph type="body" sz="quarter" idx="27" hasCustomPrompt="1"/>
          </p:nvPr>
        </p:nvSpPr>
        <p:spPr>
          <a:xfrm>
            <a:off x="936503" y="4153879"/>
            <a:ext cx="2203163" cy="1294422"/>
          </a:xfrm>
          <a:prstGeom prst="rect">
            <a:avLst/>
          </a:prstGeom>
        </p:spPr>
        <p:txBody>
          <a:bodyPr/>
          <a:lstStyle>
            <a:lvl1pPr marL="173701" indent="-173701">
              <a:spcBef>
                <a:spcPts val="200"/>
              </a:spcBef>
              <a:spcAft>
                <a:spcPts val="200"/>
              </a:spcAft>
              <a:defRPr sz="1200" baseline="0">
                <a:solidFill>
                  <a:schemeClr val="bg2"/>
                </a:solidFill>
              </a:defRPr>
            </a:lvl1pPr>
            <a:lvl2pPr marL="173701" indent="-173701">
              <a:spcBef>
                <a:spcPts val="200"/>
              </a:spcBef>
              <a:spcAft>
                <a:spcPts val="200"/>
              </a:spcAft>
              <a:defRPr sz="1200" baseline="0">
                <a:solidFill>
                  <a:schemeClr val="bg2"/>
                </a:solidFill>
              </a:defRPr>
            </a:lvl2pPr>
            <a:lvl3pPr marL="173701" indent="-173701">
              <a:spcBef>
                <a:spcPts val="200"/>
              </a:spcBef>
              <a:spcAft>
                <a:spcPts val="200"/>
              </a:spcAft>
              <a:defRPr sz="1200" baseline="0">
                <a:solidFill>
                  <a:schemeClr val="bg2"/>
                </a:solidFill>
              </a:defRPr>
            </a:lvl3pPr>
            <a:lvl4pPr marL="173701" indent="-173701">
              <a:spcBef>
                <a:spcPts val="200"/>
              </a:spcBef>
              <a:spcAft>
                <a:spcPts val="200"/>
              </a:spcAft>
              <a:defRPr sz="1200" baseline="0">
                <a:solidFill>
                  <a:schemeClr val="bg2"/>
                </a:solidFill>
              </a:defRPr>
            </a:lvl4pPr>
            <a:lvl5pPr marL="173701" indent="-173701">
              <a:spcBef>
                <a:spcPts val="200"/>
              </a:spcBef>
              <a:spcAft>
                <a:spcPts val="200"/>
              </a:spcAft>
              <a:defRPr sz="1200" baseline="0">
                <a:solidFill>
                  <a:schemeClr val="bg2"/>
                </a:solidFill>
              </a:defRPr>
            </a:lvl5pPr>
          </a:lstStyle>
          <a:p>
            <a:pPr lvl="0"/>
            <a:r>
              <a:rPr lang="en-US"/>
              <a:t>Bullet One</a:t>
            </a:r>
          </a:p>
          <a:p>
            <a:pPr lvl="0"/>
            <a:r>
              <a:rPr lang="en-US"/>
              <a:t>Bullet Two</a:t>
            </a:r>
          </a:p>
          <a:p>
            <a:pPr lvl="0"/>
            <a:r>
              <a:rPr lang="en-US"/>
              <a:t>Bullet Three</a:t>
            </a:r>
          </a:p>
        </p:txBody>
      </p:sp>
      <p:sp>
        <p:nvSpPr>
          <p:cNvPr id="39" name="Text Placeholder 6">
            <a:extLst>
              <a:ext uri="{FF2B5EF4-FFF2-40B4-BE49-F238E27FC236}">
                <a16:creationId xmlns:a16="http://schemas.microsoft.com/office/drawing/2014/main" id="{D719B2D9-E36D-9948-B99B-A8B5B2BC4105}"/>
              </a:ext>
            </a:extLst>
          </p:cNvPr>
          <p:cNvSpPr>
            <a:spLocks noGrp="1"/>
          </p:cNvSpPr>
          <p:nvPr>
            <p:ph type="body" sz="quarter" idx="28" hasCustomPrompt="1"/>
          </p:nvPr>
        </p:nvSpPr>
        <p:spPr>
          <a:xfrm>
            <a:off x="3656864" y="4153879"/>
            <a:ext cx="2203163" cy="1294422"/>
          </a:xfrm>
          <a:prstGeom prst="rect">
            <a:avLst/>
          </a:prstGeom>
        </p:spPr>
        <p:txBody>
          <a:bodyPr/>
          <a:lstStyle>
            <a:lvl1pPr marL="173701" indent="-173701">
              <a:spcBef>
                <a:spcPts val="200"/>
              </a:spcBef>
              <a:spcAft>
                <a:spcPts val="200"/>
              </a:spcAft>
              <a:defRPr sz="1200" baseline="0">
                <a:solidFill>
                  <a:schemeClr val="bg2"/>
                </a:solidFill>
              </a:defRPr>
            </a:lvl1pPr>
            <a:lvl2pPr marL="173701" indent="-173701">
              <a:spcBef>
                <a:spcPts val="200"/>
              </a:spcBef>
              <a:spcAft>
                <a:spcPts val="200"/>
              </a:spcAft>
              <a:defRPr sz="1200" baseline="0">
                <a:solidFill>
                  <a:schemeClr val="bg2"/>
                </a:solidFill>
              </a:defRPr>
            </a:lvl2pPr>
            <a:lvl3pPr marL="173701" indent="-173701">
              <a:spcBef>
                <a:spcPts val="200"/>
              </a:spcBef>
              <a:spcAft>
                <a:spcPts val="200"/>
              </a:spcAft>
              <a:defRPr sz="1200" baseline="0">
                <a:solidFill>
                  <a:schemeClr val="bg2"/>
                </a:solidFill>
              </a:defRPr>
            </a:lvl3pPr>
            <a:lvl4pPr marL="173701" indent="-173701">
              <a:spcBef>
                <a:spcPts val="200"/>
              </a:spcBef>
              <a:spcAft>
                <a:spcPts val="200"/>
              </a:spcAft>
              <a:defRPr sz="1200" baseline="0">
                <a:solidFill>
                  <a:schemeClr val="bg2"/>
                </a:solidFill>
              </a:defRPr>
            </a:lvl4pPr>
            <a:lvl5pPr marL="173701" indent="-173701">
              <a:spcBef>
                <a:spcPts val="200"/>
              </a:spcBef>
              <a:spcAft>
                <a:spcPts val="200"/>
              </a:spcAft>
              <a:defRPr sz="1200" baseline="0">
                <a:solidFill>
                  <a:schemeClr val="bg2"/>
                </a:solidFill>
              </a:defRPr>
            </a:lvl5pPr>
          </a:lstStyle>
          <a:p>
            <a:pPr lvl="0"/>
            <a:r>
              <a:rPr lang="en-US"/>
              <a:t>Bullet One</a:t>
            </a:r>
          </a:p>
          <a:p>
            <a:pPr lvl="0"/>
            <a:r>
              <a:rPr lang="en-US"/>
              <a:t>Bullet Two</a:t>
            </a:r>
          </a:p>
          <a:p>
            <a:pPr lvl="0"/>
            <a:r>
              <a:rPr lang="en-US"/>
              <a:t>Bullet Three</a:t>
            </a:r>
          </a:p>
        </p:txBody>
      </p:sp>
      <p:sp>
        <p:nvSpPr>
          <p:cNvPr id="44" name="Text Placeholder 6">
            <a:extLst>
              <a:ext uri="{FF2B5EF4-FFF2-40B4-BE49-F238E27FC236}">
                <a16:creationId xmlns:a16="http://schemas.microsoft.com/office/drawing/2014/main" id="{9CEDB617-E9E8-A74E-A4E8-CFA97562E8EF}"/>
              </a:ext>
            </a:extLst>
          </p:cNvPr>
          <p:cNvSpPr>
            <a:spLocks noGrp="1"/>
          </p:cNvSpPr>
          <p:nvPr>
            <p:ph type="body" sz="quarter" idx="30" hasCustomPrompt="1"/>
          </p:nvPr>
        </p:nvSpPr>
        <p:spPr>
          <a:xfrm>
            <a:off x="6414695" y="4153879"/>
            <a:ext cx="2203163" cy="1294422"/>
          </a:xfrm>
          <a:prstGeom prst="rect">
            <a:avLst/>
          </a:prstGeom>
        </p:spPr>
        <p:txBody>
          <a:bodyPr/>
          <a:lstStyle>
            <a:lvl1pPr marL="173701" indent="-173701">
              <a:spcBef>
                <a:spcPts val="200"/>
              </a:spcBef>
              <a:spcAft>
                <a:spcPts val="200"/>
              </a:spcAft>
              <a:defRPr sz="1200" baseline="0">
                <a:solidFill>
                  <a:schemeClr val="bg2"/>
                </a:solidFill>
              </a:defRPr>
            </a:lvl1pPr>
            <a:lvl2pPr marL="173701" indent="-173701">
              <a:spcBef>
                <a:spcPts val="200"/>
              </a:spcBef>
              <a:spcAft>
                <a:spcPts val="200"/>
              </a:spcAft>
              <a:defRPr sz="1200" baseline="0">
                <a:solidFill>
                  <a:schemeClr val="bg2"/>
                </a:solidFill>
              </a:defRPr>
            </a:lvl2pPr>
            <a:lvl3pPr marL="173701" indent="-173701">
              <a:spcBef>
                <a:spcPts val="200"/>
              </a:spcBef>
              <a:spcAft>
                <a:spcPts val="200"/>
              </a:spcAft>
              <a:defRPr sz="1200" baseline="0">
                <a:solidFill>
                  <a:schemeClr val="bg2"/>
                </a:solidFill>
              </a:defRPr>
            </a:lvl3pPr>
            <a:lvl4pPr marL="173701" indent="-173701">
              <a:spcBef>
                <a:spcPts val="200"/>
              </a:spcBef>
              <a:spcAft>
                <a:spcPts val="200"/>
              </a:spcAft>
              <a:defRPr sz="1200" baseline="0">
                <a:solidFill>
                  <a:schemeClr val="bg2"/>
                </a:solidFill>
              </a:defRPr>
            </a:lvl4pPr>
            <a:lvl5pPr marL="173701" indent="-173701">
              <a:spcBef>
                <a:spcPts val="200"/>
              </a:spcBef>
              <a:spcAft>
                <a:spcPts val="200"/>
              </a:spcAft>
              <a:defRPr sz="1200" baseline="0">
                <a:solidFill>
                  <a:schemeClr val="bg2"/>
                </a:solidFill>
              </a:defRPr>
            </a:lvl5pPr>
          </a:lstStyle>
          <a:p>
            <a:pPr lvl="0"/>
            <a:r>
              <a:rPr lang="en-US"/>
              <a:t>Bullet One</a:t>
            </a:r>
          </a:p>
          <a:p>
            <a:pPr lvl="0"/>
            <a:r>
              <a:rPr lang="en-US"/>
              <a:t>Bullet Two</a:t>
            </a:r>
          </a:p>
          <a:p>
            <a:pPr lvl="0"/>
            <a:r>
              <a:rPr lang="en-US"/>
              <a:t>Bullet Three</a:t>
            </a:r>
          </a:p>
        </p:txBody>
      </p:sp>
      <p:sp>
        <p:nvSpPr>
          <p:cNvPr id="45" name="Text Placeholder 6">
            <a:extLst>
              <a:ext uri="{FF2B5EF4-FFF2-40B4-BE49-F238E27FC236}">
                <a16:creationId xmlns:a16="http://schemas.microsoft.com/office/drawing/2014/main" id="{8052FEB8-EE7A-1F4D-96EC-30E3F38D45FA}"/>
              </a:ext>
            </a:extLst>
          </p:cNvPr>
          <p:cNvSpPr>
            <a:spLocks noGrp="1"/>
          </p:cNvSpPr>
          <p:nvPr>
            <p:ph type="body" sz="quarter" idx="31" hasCustomPrompt="1"/>
          </p:nvPr>
        </p:nvSpPr>
        <p:spPr>
          <a:xfrm>
            <a:off x="9094046" y="4153879"/>
            <a:ext cx="2203163" cy="1294422"/>
          </a:xfrm>
          <a:prstGeom prst="rect">
            <a:avLst/>
          </a:prstGeom>
        </p:spPr>
        <p:txBody>
          <a:bodyPr/>
          <a:lstStyle>
            <a:lvl1pPr marL="173701" indent="-173701">
              <a:spcBef>
                <a:spcPts val="200"/>
              </a:spcBef>
              <a:spcAft>
                <a:spcPts val="200"/>
              </a:spcAft>
              <a:defRPr sz="1200" baseline="0">
                <a:solidFill>
                  <a:schemeClr val="bg2"/>
                </a:solidFill>
              </a:defRPr>
            </a:lvl1pPr>
            <a:lvl2pPr marL="173701" indent="-173701">
              <a:spcBef>
                <a:spcPts val="200"/>
              </a:spcBef>
              <a:spcAft>
                <a:spcPts val="200"/>
              </a:spcAft>
              <a:defRPr sz="1200" baseline="0">
                <a:solidFill>
                  <a:schemeClr val="bg2"/>
                </a:solidFill>
              </a:defRPr>
            </a:lvl2pPr>
            <a:lvl3pPr marL="173701" indent="-173701">
              <a:spcBef>
                <a:spcPts val="200"/>
              </a:spcBef>
              <a:spcAft>
                <a:spcPts val="200"/>
              </a:spcAft>
              <a:defRPr sz="1200" baseline="0">
                <a:solidFill>
                  <a:schemeClr val="bg2"/>
                </a:solidFill>
              </a:defRPr>
            </a:lvl3pPr>
            <a:lvl4pPr marL="173701" indent="-173701">
              <a:spcBef>
                <a:spcPts val="200"/>
              </a:spcBef>
              <a:spcAft>
                <a:spcPts val="200"/>
              </a:spcAft>
              <a:defRPr sz="1200" baseline="0">
                <a:solidFill>
                  <a:schemeClr val="bg2"/>
                </a:solidFill>
              </a:defRPr>
            </a:lvl4pPr>
            <a:lvl5pPr marL="173701" indent="-173701">
              <a:spcBef>
                <a:spcPts val="200"/>
              </a:spcBef>
              <a:spcAft>
                <a:spcPts val="200"/>
              </a:spcAft>
              <a:defRPr sz="1200" baseline="0">
                <a:solidFill>
                  <a:schemeClr val="bg2"/>
                </a:solidFill>
              </a:defRPr>
            </a:lvl5pPr>
          </a:lstStyle>
          <a:p>
            <a:pPr lvl="0"/>
            <a:r>
              <a:rPr lang="en-US"/>
              <a:t>Bullet One</a:t>
            </a:r>
          </a:p>
          <a:p>
            <a:pPr lvl="0"/>
            <a:r>
              <a:rPr lang="en-US"/>
              <a:t>Bullet Two</a:t>
            </a:r>
          </a:p>
          <a:p>
            <a:pPr lvl="0"/>
            <a:r>
              <a:rPr lang="en-US"/>
              <a:t>Bullet Three</a:t>
            </a:r>
          </a:p>
        </p:txBody>
      </p:sp>
      <p:sp>
        <p:nvSpPr>
          <p:cNvPr id="2" name="Slide Number Placeholder 1">
            <a:extLst>
              <a:ext uri="{FF2B5EF4-FFF2-40B4-BE49-F238E27FC236}">
                <a16:creationId xmlns:a16="http://schemas.microsoft.com/office/drawing/2014/main" id="{7F46A23C-7BA9-A842-B933-9E56A83D188B}"/>
              </a:ext>
            </a:extLst>
          </p:cNvPr>
          <p:cNvSpPr>
            <a:spLocks noGrp="1"/>
          </p:cNvSpPr>
          <p:nvPr>
            <p:ph type="sldNum" sz="quarter" idx="32"/>
          </p:nvPr>
        </p:nvSpPr>
        <p:spPr/>
        <p:txBody>
          <a:bodyPr/>
          <a:lstStyle/>
          <a:p>
            <a:fld id="{8FED1F56-C974-6A47-A7B1-11C2DE7BEE2D}" type="slidenum">
              <a:rPr lang="en-US" smtClean="0"/>
              <a:pPr/>
              <a:t>‹#›</a:t>
            </a:fld>
            <a:endParaRPr lang="en-US"/>
          </a:p>
        </p:txBody>
      </p:sp>
    </p:spTree>
    <p:extLst>
      <p:ext uri="{BB962C8B-B14F-4D97-AF65-F5344CB8AC3E}">
        <p14:creationId xmlns:p14="http://schemas.microsoft.com/office/powerpoint/2010/main" val="4283456948"/>
      </p:ext>
    </p:extLst>
  </p:cSld>
  <p:clrMapOvr>
    <a:masterClrMapping/>
  </p:clrMapOvr>
  <p:transition spd="slow">
    <p:push dir="u"/>
  </p:transition>
  <p:extLst>
    <p:ext uri="{DCECCB84-F9BA-43D5-87BE-67443E8EF086}">
      <p15:sldGuideLst xmlns:p15="http://schemas.microsoft.com/office/powerpoint/2012/main">
        <p15:guide id="1" orient="horz" pos="1392">
          <p15:clr>
            <a:srgbClr val="FBAE40"/>
          </p15:clr>
        </p15:guide>
        <p15:guide id="2" orient="horz" pos="31104">
          <p15:clr>
            <a:srgbClr val="FBAE40"/>
          </p15:clr>
        </p15:guide>
        <p15:guide id="3" pos="1056">
          <p15:clr>
            <a:srgbClr val="FBAE40"/>
          </p15:clr>
        </p15:guide>
        <p15:guide id="4" pos="591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7171E52E-92FA-7C47-BBE3-DA4A47273CF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53800" y="6426562"/>
            <a:ext cx="498246" cy="224699"/>
          </a:xfrm>
          <a:prstGeom prst="rect">
            <a:avLst/>
          </a:prstGeom>
        </p:spPr>
      </p:pic>
      <p:sp>
        <p:nvSpPr>
          <p:cNvPr id="7" name="Date Placeholder 6">
            <a:extLst>
              <a:ext uri="{FF2B5EF4-FFF2-40B4-BE49-F238E27FC236}">
                <a16:creationId xmlns:a16="http://schemas.microsoft.com/office/drawing/2014/main" id="{E494B6A5-8940-E741-A85A-A5C82445F9A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CFDB222D-86BF-324A-B73C-CC157BACE6F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2696514-1E87-A048-A639-E3E0C577C155}"/>
              </a:ext>
            </a:extLst>
          </p:cNvPr>
          <p:cNvSpPr>
            <a:spLocks noGrp="1"/>
          </p:cNvSpPr>
          <p:nvPr>
            <p:ph type="sldNum" sz="quarter" idx="12"/>
          </p:nvPr>
        </p:nvSpPr>
        <p:spPr/>
        <p:txBody>
          <a:bodyPr/>
          <a:lstStyle/>
          <a:p>
            <a:fld id="{8FED1F56-C974-6A47-A7B1-11C2DE7BEE2D}" type="slidenum">
              <a:rPr lang="en-US" smtClean="0"/>
              <a:pPr/>
              <a:t>‹#›</a:t>
            </a:fld>
            <a:endParaRPr lang="en-US"/>
          </a:p>
        </p:txBody>
      </p:sp>
    </p:spTree>
    <p:extLst>
      <p:ext uri="{BB962C8B-B14F-4D97-AF65-F5344CB8AC3E}">
        <p14:creationId xmlns:p14="http://schemas.microsoft.com/office/powerpoint/2010/main" val="41418119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line Centere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7488CF-2BC7-134B-8F88-8274055956B0}"/>
              </a:ext>
            </a:extLst>
          </p:cNvPr>
          <p:cNvSpPr>
            <a:spLocks noGrp="1"/>
          </p:cNvSpPr>
          <p:nvPr>
            <p:ph type="title" hasCustomPrompt="1"/>
          </p:nvPr>
        </p:nvSpPr>
        <p:spPr/>
        <p:txBody>
          <a:bodyPr/>
          <a:lstStyle/>
          <a:p>
            <a:r>
              <a:rPr lang="en-US"/>
              <a:t>Click to edit Headline</a:t>
            </a:r>
          </a:p>
        </p:txBody>
      </p:sp>
      <p:sp>
        <p:nvSpPr>
          <p:cNvPr id="11" name="Slide Number Placeholder 5">
            <a:extLst>
              <a:ext uri="{FF2B5EF4-FFF2-40B4-BE49-F238E27FC236}">
                <a16:creationId xmlns:a16="http://schemas.microsoft.com/office/drawing/2014/main" id="{5737F147-2DA2-CD43-B4FD-B1205448C97B}"/>
              </a:ext>
            </a:extLst>
          </p:cNvPr>
          <p:cNvSpPr>
            <a:spLocks noGrp="1"/>
          </p:cNvSpPr>
          <p:nvPr>
            <p:ph type="sldNum" sz="quarter" idx="4"/>
          </p:nvPr>
        </p:nvSpPr>
        <p:spPr>
          <a:xfrm>
            <a:off x="322848" y="6426563"/>
            <a:ext cx="515352" cy="224699"/>
          </a:xfrm>
          <a:prstGeom prst="rect">
            <a:avLst/>
          </a:prstGeom>
        </p:spPr>
        <p:txBody>
          <a:bodyPr vert="horz" lIns="91440" tIns="45720" rIns="91440" bIns="45720" rtlCol="0" anchor="ctr"/>
          <a:lstStyle>
            <a:lvl1pPr algn="l">
              <a:defRPr sz="800">
                <a:solidFill>
                  <a:schemeClr val="accent2"/>
                </a:solidFill>
              </a:defRPr>
            </a:lvl1pPr>
          </a:lstStyle>
          <a:p>
            <a:fld id="{8FED1F56-C974-6A47-A7B1-11C2DE7BEE2D}" type="slidenum">
              <a:rPr lang="en-US" smtClean="0"/>
              <a:pPr/>
              <a:t>‹#›</a:t>
            </a:fld>
            <a:endParaRPr lang="en-US"/>
          </a:p>
        </p:txBody>
      </p:sp>
      <p:pic>
        <p:nvPicPr>
          <p:cNvPr id="4" name="Picture 3" descr="Logo&#10;&#10;Description automatically generated">
            <a:extLst>
              <a:ext uri="{FF2B5EF4-FFF2-40B4-BE49-F238E27FC236}">
                <a16:creationId xmlns:a16="http://schemas.microsoft.com/office/drawing/2014/main" id="{105B1C2B-452E-44F1-8651-210AC0FAAB77}"/>
              </a:ext>
            </a:extLst>
          </p:cNvPr>
          <p:cNvPicPr>
            <a:picLocks noChangeAspect="1"/>
          </p:cNvPicPr>
          <p:nvPr userDrawn="1"/>
        </p:nvPicPr>
        <p:blipFill>
          <a:blip r:embed="rId2"/>
          <a:stretch>
            <a:fillRect/>
          </a:stretch>
        </p:blipFill>
        <p:spPr>
          <a:xfrm>
            <a:off x="11445478" y="6276109"/>
            <a:ext cx="615271" cy="457540"/>
          </a:xfrm>
          <a:prstGeom prst="rect">
            <a:avLst/>
          </a:prstGeom>
        </p:spPr>
      </p:pic>
    </p:spTree>
    <p:extLst>
      <p:ext uri="{BB962C8B-B14F-4D97-AF65-F5344CB8AC3E}">
        <p14:creationId xmlns:p14="http://schemas.microsoft.com/office/powerpoint/2010/main" val="1670309572"/>
      </p:ext>
    </p:extLst>
  </p:cSld>
  <p:clrMapOvr>
    <a:masterClrMapping/>
  </p:clrMapOvr>
  <p:transition spd="slow">
    <p:push dir="u"/>
  </p:transition>
  <p:extLst>
    <p:ext uri="{DCECCB84-F9BA-43D5-87BE-67443E8EF086}">
      <p15:sldGuideLst xmlns:p15="http://schemas.microsoft.com/office/powerpoint/2012/main">
        <p15:guide id="1" orient="horz" pos="1392">
          <p15:clr>
            <a:srgbClr val="FBAE40"/>
          </p15:clr>
        </p15:guide>
        <p15:guide id="2" orient="horz" pos="31104">
          <p15:clr>
            <a:srgbClr val="FBAE40"/>
          </p15:clr>
        </p15:guide>
        <p15:guide id="3" pos="1056">
          <p15:clr>
            <a:srgbClr val="FBAE40"/>
          </p15:clr>
        </p15:guide>
        <p15:guide id="4" pos="591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DT 3">
  <p:cSld name="SDT 3">
    <p:spTree>
      <p:nvGrpSpPr>
        <p:cNvPr id="1" name="Shape 139"/>
        <p:cNvGrpSpPr/>
        <p:nvPr/>
      </p:nvGrpSpPr>
      <p:grpSpPr>
        <a:xfrm>
          <a:off x="0" y="0"/>
          <a:ext cx="0" cy="0"/>
          <a:chOff x="0" y="0"/>
          <a:chExt cx="0" cy="0"/>
        </a:xfrm>
      </p:grpSpPr>
      <p:sp>
        <p:nvSpPr>
          <p:cNvPr id="140" name="Google Shape;140;p31"/>
          <p:cNvSpPr txBox="1">
            <a:spLocks noGrp="1"/>
          </p:cNvSpPr>
          <p:nvPr>
            <p:ph type="body" idx="1"/>
          </p:nvPr>
        </p:nvSpPr>
        <p:spPr>
          <a:xfrm>
            <a:off x="508000" y="1178427"/>
            <a:ext cx="11158000" cy="231200"/>
          </a:xfrm>
          <a:prstGeom prst="rect">
            <a:avLst/>
          </a:prstGeom>
          <a:noFill/>
          <a:ln>
            <a:noFill/>
          </a:ln>
        </p:spPr>
        <p:txBody>
          <a:bodyPr spcFirstLastPara="1" wrap="square" lIns="0" tIns="0" rIns="0" bIns="0" anchor="ctr" anchorCtr="0">
            <a:noAutofit/>
          </a:bodyPr>
          <a:lstStyle>
            <a:lvl1pPr marL="609585" marR="0" lvl="0" indent="-304792" algn="ctr" rtl="0">
              <a:spcBef>
                <a:spcPts val="267"/>
              </a:spcBef>
              <a:spcAft>
                <a:spcPts val="0"/>
              </a:spcAft>
              <a:buClr>
                <a:srgbClr val="A5A5A5"/>
              </a:buClr>
              <a:buSzPts val="1200"/>
              <a:buFont typeface="Arial"/>
              <a:buNone/>
              <a:defRPr sz="1600" b="0" i="0" u="none" strike="noStrike" cap="none">
                <a:solidFill>
                  <a:srgbClr val="A5A5A5"/>
                </a:solidFill>
                <a:latin typeface="Roboto"/>
                <a:ea typeface="Roboto"/>
                <a:cs typeface="Roboto"/>
                <a:sym typeface="Roboto"/>
              </a:defRPr>
            </a:lvl1pPr>
            <a:lvl2pPr marL="1219170" marR="0" lvl="1" indent="-304792" algn="l" rtl="0">
              <a:spcBef>
                <a:spcPts val="267"/>
              </a:spcBef>
              <a:spcAft>
                <a:spcPts val="0"/>
              </a:spcAft>
              <a:buClr>
                <a:schemeClr val="dk1"/>
              </a:buClr>
              <a:buSzPts val="1200"/>
              <a:buFont typeface="Arial"/>
              <a:buNone/>
              <a:defRPr sz="1600" b="0" i="0" u="none" strike="noStrike" cap="none">
                <a:solidFill>
                  <a:schemeClr val="dk1"/>
                </a:solidFill>
                <a:latin typeface="Roboto"/>
                <a:ea typeface="Roboto"/>
                <a:cs typeface="Roboto"/>
                <a:sym typeface="Roboto"/>
              </a:defRPr>
            </a:lvl2pPr>
            <a:lvl3pPr marL="1828754" marR="0" lvl="2" indent="-304792" algn="l" rtl="0">
              <a:spcBef>
                <a:spcPts val="267"/>
              </a:spcBef>
              <a:spcAft>
                <a:spcPts val="0"/>
              </a:spcAft>
              <a:buClr>
                <a:schemeClr val="dk1"/>
              </a:buClr>
              <a:buSzPts val="1000"/>
              <a:buFont typeface="Arial"/>
              <a:buNone/>
              <a:defRPr sz="1333" b="0" i="0" u="none" strike="noStrike" cap="none">
                <a:solidFill>
                  <a:schemeClr val="dk1"/>
                </a:solidFill>
                <a:latin typeface="Roboto"/>
                <a:ea typeface="Roboto"/>
                <a:cs typeface="Roboto"/>
                <a:sym typeface="Roboto"/>
              </a:defRPr>
            </a:lvl3pPr>
            <a:lvl4pPr marL="2438339" marR="0" lvl="3" indent="-304792" algn="l" rtl="0">
              <a:spcBef>
                <a:spcPts val="267"/>
              </a:spcBef>
              <a:spcAft>
                <a:spcPts val="0"/>
              </a:spcAft>
              <a:buClr>
                <a:schemeClr val="dk1"/>
              </a:buClr>
              <a:buSzPts val="900"/>
              <a:buFont typeface="Arial"/>
              <a:buNone/>
              <a:defRPr sz="1200" b="0" i="0" u="none" strike="noStrike" cap="none">
                <a:solidFill>
                  <a:schemeClr val="dk1"/>
                </a:solidFill>
                <a:latin typeface="Roboto"/>
                <a:ea typeface="Roboto"/>
                <a:cs typeface="Roboto"/>
                <a:sym typeface="Roboto"/>
              </a:defRPr>
            </a:lvl4pPr>
            <a:lvl5pPr marL="3047924" marR="0" lvl="4" indent="-304792" algn="l" rtl="0">
              <a:spcBef>
                <a:spcPts val="267"/>
              </a:spcBef>
              <a:spcAft>
                <a:spcPts val="0"/>
              </a:spcAft>
              <a:buClr>
                <a:schemeClr val="dk1"/>
              </a:buClr>
              <a:buSzPts val="900"/>
              <a:buFont typeface="Arial"/>
              <a:buNone/>
              <a:defRPr sz="1200" b="0" i="0" u="none" strike="noStrike" cap="none">
                <a:solidFill>
                  <a:schemeClr val="dk1"/>
                </a:solidFill>
                <a:latin typeface="Roboto"/>
                <a:ea typeface="Roboto"/>
                <a:cs typeface="Roboto"/>
                <a:sym typeface="Roboto"/>
              </a:defRPr>
            </a:lvl5pPr>
            <a:lvl6pPr marL="3657509" marR="0" lvl="5" indent="-304792" algn="l" rtl="0">
              <a:spcBef>
                <a:spcPts val="267"/>
              </a:spcBef>
              <a:spcAft>
                <a:spcPts val="0"/>
              </a:spcAft>
              <a:buClr>
                <a:schemeClr val="dk1"/>
              </a:buClr>
              <a:buSzPts val="900"/>
              <a:buFont typeface="Arial"/>
              <a:buNone/>
              <a:defRPr sz="1200" b="0" i="0" u="none" strike="noStrike" cap="none">
                <a:solidFill>
                  <a:schemeClr val="dk1"/>
                </a:solidFill>
                <a:latin typeface="Roboto"/>
                <a:ea typeface="Roboto"/>
                <a:cs typeface="Roboto"/>
                <a:sym typeface="Roboto"/>
              </a:defRPr>
            </a:lvl6pPr>
            <a:lvl7pPr marL="4267093" marR="0" lvl="6" indent="-304792" algn="l" rtl="0">
              <a:spcBef>
                <a:spcPts val="267"/>
              </a:spcBef>
              <a:spcAft>
                <a:spcPts val="0"/>
              </a:spcAft>
              <a:buClr>
                <a:schemeClr val="dk1"/>
              </a:buClr>
              <a:buSzPts val="900"/>
              <a:buFont typeface="Arial"/>
              <a:buNone/>
              <a:defRPr sz="1200" b="0" i="0" u="none" strike="noStrike" cap="none">
                <a:solidFill>
                  <a:schemeClr val="dk1"/>
                </a:solidFill>
                <a:latin typeface="Roboto"/>
                <a:ea typeface="Roboto"/>
                <a:cs typeface="Roboto"/>
                <a:sym typeface="Roboto"/>
              </a:defRPr>
            </a:lvl7pPr>
            <a:lvl8pPr marL="4876678" marR="0" lvl="7" indent="-304792" algn="l" rtl="0">
              <a:spcBef>
                <a:spcPts val="267"/>
              </a:spcBef>
              <a:spcAft>
                <a:spcPts val="0"/>
              </a:spcAft>
              <a:buClr>
                <a:schemeClr val="dk1"/>
              </a:buClr>
              <a:buSzPts val="900"/>
              <a:buFont typeface="Arial"/>
              <a:buNone/>
              <a:defRPr sz="1200" b="0" i="0" u="none" strike="noStrike" cap="none">
                <a:solidFill>
                  <a:schemeClr val="dk1"/>
                </a:solidFill>
                <a:latin typeface="Roboto"/>
                <a:ea typeface="Roboto"/>
                <a:cs typeface="Roboto"/>
                <a:sym typeface="Roboto"/>
              </a:defRPr>
            </a:lvl8pPr>
            <a:lvl9pPr marL="5486263" marR="0" lvl="8" indent="-304792" algn="l" rtl="0">
              <a:spcBef>
                <a:spcPts val="267"/>
              </a:spcBef>
              <a:spcAft>
                <a:spcPts val="2267"/>
              </a:spcAft>
              <a:buClr>
                <a:schemeClr val="dk1"/>
              </a:buClr>
              <a:buSzPts val="900"/>
              <a:buFont typeface="Arial"/>
              <a:buNone/>
              <a:defRPr sz="1200" b="0" i="0" u="none" strike="noStrike" cap="none">
                <a:solidFill>
                  <a:schemeClr val="dk1"/>
                </a:solidFill>
                <a:latin typeface="Roboto"/>
                <a:ea typeface="Roboto"/>
                <a:cs typeface="Roboto"/>
                <a:sym typeface="Roboto"/>
              </a:defRPr>
            </a:lvl9pPr>
          </a:lstStyle>
          <a:p>
            <a:endParaRPr/>
          </a:p>
        </p:txBody>
      </p:sp>
      <p:sp>
        <p:nvSpPr>
          <p:cNvPr id="141" name="Google Shape;141;p31"/>
          <p:cNvSpPr txBox="1">
            <a:spLocks noGrp="1"/>
          </p:cNvSpPr>
          <p:nvPr>
            <p:ph type="title"/>
          </p:nvPr>
        </p:nvSpPr>
        <p:spPr>
          <a:xfrm>
            <a:off x="508000" y="455084"/>
            <a:ext cx="11158000" cy="660400"/>
          </a:xfrm>
          <a:prstGeom prst="rect">
            <a:avLst/>
          </a:prstGeom>
          <a:noFill/>
          <a:ln>
            <a:noFill/>
          </a:ln>
        </p:spPr>
        <p:txBody>
          <a:bodyPr spcFirstLastPara="1" wrap="square" lIns="0" tIns="0" rIns="0" bIns="0" anchor="ctr" anchorCtr="0">
            <a:noAutofit/>
          </a:bodyPr>
          <a:lstStyle>
            <a:lvl1pPr marR="0" lvl="0" algn="ctr" rtl="0">
              <a:spcBef>
                <a:spcPts val="0"/>
              </a:spcBef>
              <a:spcAft>
                <a:spcPts val="0"/>
              </a:spcAft>
              <a:buClr>
                <a:srgbClr val="7F7F7F"/>
              </a:buClr>
              <a:buSzPts val="3600"/>
              <a:buFont typeface="Roboto"/>
              <a:buNone/>
              <a:defRPr sz="4800" b="0" i="0" u="none" strike="noStrike" cap="none">
                <a:solidFill>
                  <a:srgbClr val="7F7F7F"/>
                </a:solidFill>
                <a:latin typeface="Roboto"/>
                <a:ea typeface="Roboto"/>
                <a:cs typeface="Roboto"/>
                <a:sym typeface="Roboto"/>
              </a:defRPr>
            </a:lvl1pPr>
            <a:lvl2pPr lvl="1" rtl="0">
              <a:spcBef>
                <a:spcPts val="0"/>
              </a:spcBef>
              <a:spcAft>
                <a:spcPts val="0"/>
              </a:spcAft>
              <a:buSzPts val="3100"/>
              <a:buNone/>
              <a:defRPr sz="2400"/>
            </a:lvl2pPr>
            <a:lvl3pPr lvl="2" rtl="0">
              <a:spcBef>
                <a:spcPts val="0"/>
              </a:spcBef>
              <a:spcAft>
                <a:spcPts val="0"/>
              </a:spcAft>
              <a:buSzPts val="3100"/>
              <a:buNone/>
              <a:defRPr sz="2400"/>
            </a:lvl3pPr>
            <a:lvl4pPr lvl="3" rtl="0">
              <a:spcBef>
                <a:spcPts val="0"/>
              </a:spcBef>
              <a:spcAft>
                <a:spcPts val="0"/>
              </a:spcAft>
              <a:buSzPts val="3100"/>
              <a:buNone/>
              <a:defRPr sz="2400"/>
            </a:lvl4pPr>
            <a:lvl5pPr lvl="4" rtl="0">
              <a:spcBef>
                <a:spcPts val="0"/>
              </a:spcBef>
              <a:spcAft>
                <a:spcPts val="0"/>
              </a:spcAft>
              <a:buSzPts val="3100"/>
              <a:buNone/>
              <a:defRPr sz="2400"/>
            </a:lvl5pPr>
            <a:lvl6pPr lvl="5" rtl="0">
              <a:spcBef>
                <a:spcPts val="0"/>
              </a:spcBef>
              <a:spcAft>
                <a:spcPts val="0"/>
              </a:spcAft>
              <a:buSzPts val="3100"/>
              <a:buNone/>
              <a:defRPr sz="2400"/>
            </a:lvl6pPr>
            <a:lvl7pPr lvl="6" rtl="0">
              <a:spcBef>
                <a:spcPts val="0"/>
              </a:spcBef>
              <a:spcAft>
                <a:spcPts val="0"/>
              </a:spcAft>
              <a:buSzPts val="3100"/>
              <a:buNone/>
              <a:defRPr sz="2400"/>
            </a:lvl7pPr>
            <a:lvl8pPr lvl="7" rtl="0">
              <a:spcBef>
                <a:spcPts val="0"/>
              </a:spcBef>
              <a:spcAft>
                <a:spcPts val="0"/>
              </a:spcAft>
              <a:buSzPts val="3100"/>
              <a:buNone/>
              <a:defRPr sz="2400"/>
            </a:lvl8pPr>
            <a:lvl9pPr lvl="8" rtl="0">
              <a:spcBef>
                <a:spcPts val="0"/>
              </a:spcBef>
              <a:spcAft>
                <a:spcPts val="0"/>
              </a:spcAft>
              <a:buSzPts val="3100"/>
              <a:buNone/>
              <a:defRPr sz="2400"/>
            </a:lvl9pPr>
          </a:lstStyle>
          <a:p>
            <a:endParaRPr/>
          </a:p>
        </p:txBody>
      </p:sp>
    </p:spTree>
    <p:extLst>
      <p:ext uri="{BB962C8B-B14F-4D97-AF65-F5344CB8AC3E}">
        <p14:creationId xmlns:p14="http://schemas.microsoft.com/office/powerpoint/2010/main" val="15894782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652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lvl="0"/>
            <a:endParaRPr lang="en-US" sz="1600" b="0" noProof="0" dirty="0">
              <a:solidFill>
                <a:srgbClr val="FFFFFF"/>
              </a:solidFill>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9" name="Title 1"/>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23" name="Subtitle 2"/>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29" name="Text Placeholder 13"/>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31" name="Picture 3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91491" y="5585561"/>
            <a:ext cx="834198" cy="417099"/>
          </a:xfrm>
          <a:prstGeom prst="rect">
            <a:avLst/>
          </a:prstGeom>
        </p:spPr>
      </p:pic>
    </p:spTree>
    <p:extLst>
      <p:ext uri="{BB962C8B-B14F-4D97-AF65-F5344CB8AC3E}">
        <p14:creationId xmlns:p14="http://schemas.microsoft.com/office/powerpoint/2010/main" val="36068470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363003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1267BF92-073C-4ECE-B084-A7F2B13135E2}" type="slidenum">
              <a:rPr lang="en-US" smtClean="0"/>
              <a:t>‹#›</a:t>
            </a:fld>
            <a:endParaRPr lang="en-US"/>
          </a:p>
        </p:txBody>
      </p:sp>
      <p:sp>
        <p:nvSpPr>
          <p:cNvPr id="7" name="Title Placeholder 1">
            <a:extLst>
              <a:ext uri="{FF2B5EF4-FFF2-40B4-BE49-F238E27FC236}">
                <a16:creationId xmlns:a16="http://schemas.microsoft.com/office/drawing/2014/main" id="{DDC39784-8F34-764C-8B7C-D0E10C339E87}"/>
              </a:ext>
            </a:extLst>
          </p:cNvPr>
          <p:cNvSpPr>
            <a:spLocks noGrp="1"/>
          </p:cNvSpPr>
          <p:nvPr>
            <p:ph type="title" hasCustomPrompt="1"/>
          </p:nvPr>
        </p:nvSpPr>
        <p:spPr>
          <a:xfrm>
            <a:off x="838200" y="1805176"/>
            <a:ext cx="4831080" cy="1325563"/>
          </a:xfrm>
          <a:prstGeom prst="rect">
            <a:avLst/>
          </a:prstGeom>
        </p:spPr>
        <p:txBody>
          <a:bodyPr vert="horz" lIns="91440" tIns="45720" rIns="91440" bIns="45720" rtlCol="0" anchor="b" anchorCtr="0">
            <a:normAutofit/>
          </a:bodyPr>
          <a:lstStyle>
            <a:lvl1pPr>
              <a:defRPr>
                <a:solidFill>
                  <a:schemeClr val="accent4"/>
                </a:solidFill>
              </a:defRPr>
            </a:lvl1pPr>
          </a:lstStyle>
          <a:p>
            <a:r>
              <a:rPr lang="en-US" dirty="0"/>
              <a:t>Main Section/</a:t>
            </a:r>
            <a:br>
              <a:rPr lang="en-US" dirty="0"/>
            </a:br>
            <a:r>
              <a:rPr lang="en-US" dirty="0"/>
              <a:t>Topic Title</a:t>
            </a:r>
          </a:p>
        </p:txBody>
      </p:sp>
      <p:sp>
        <p:nvSpPr>
          <p:cNvPr id="8" name="Text Placeholder 2">
            <a:extLst>
              <a:ext uri="{FF2B5EF4-FFF2-40B4-BE49-F238E27FC236}">
                <a16:creationId xmlns:a16="http://schemas.microsoft.com/office/drawing/2014/main" id="{D01F2183-4538-9948-8247-306DD17B11EA}"/>
              </a:ext>
            </a:extLst>
          </p:cNvPr>
          <p:cNvSpPr>
            <a:spLocks noGrp="1"/>
          </p:cNvSpPr>
          <p:nvPr>
            <p:ph idx="1"/>
          </p:nvPr>
        </p:nvSpPr>
        <p:spPr>
          <a:xfrm>
            <a:off x="838200" y="3310127"/>
            <a:ext cx="4831080" cy="2866835"/>
          </a:xfrm>
          <a:prstGeom prst="rect">
            <a:avLst/>
          </a:prstGeom>
        </p:spPr>
        <p:txBody>
          <a:bodyPr vert="horz" lIns="91440" tIns="45720" rIns="91440" bIns="45720" rtlCol="0">
            <a:normAutofit/>
          </a:bodyPr>
          <a:lstStyle/>
          <a:p>
            <a:pPr lvl="0"/>
            <a:r>
              <a:rPr lang="en-US"/>
              <a:t>Edit Master text styles</a:t>
            </a:r>
          </a:p>
        </p:txBody>
      </p:sp>
      <p:pic>
        <p:nvPicPr>
          <p:cNvPr id="9" name="Picture 8">
            <a:extLst>
              <a:ext uri="{FF2B5EF4-FFF2-40B4-BE49-F238E27FC236}">
                <a16:creationId xmlns:a16="http://schemas.microsoft.com/office/drawing/2014/main" id="{4439D4CD-A87F-D24A-BB46-E8B62A704C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6869" r="6983"/>
          <a:stretch/>
        </p:blipFill>
        <p:spPr>
          <a:xfrm>
            <a:off x="6210925" y="854242"/>
            <a:ext cx="5142874" cy="5149516"/>
          </a:xfrm>
          <a:prstGeom prst="rect">
            <a:avLst/>
          </a:prstGeom>
        </p:spPr>
      </p:pic>
      <p:sp>
        <p:nvSpPr>
          <p:cNvPr id="2" name="Footer Placeholder 1"/>
          <p:cNvSpPr>
            <a:spLocks noGrp="1"/>
          </p:cNvSpPr>
          <p:nvPr>
            <p:ph type="ftr" sz="quarter" idx="13"/>
          </p:nvPr>
        </p:nvSpPr>
        <p:spPr/>
        <p:txBody>
          <a:bodyPr/>
          <a:lstStyle/>
          <a:p>
            <a:endParaRPr lang="en-US" dirty="0"/>
          </a:p>
        </p:txBody>
      </p:sp>
      <p:sp>
        <p:nvSpPr>
          <p:cNvPr id="5" name="Text Placeholder 4"/>
          <p:cNvSpPr>
            <a:spLocks noGrp="1"/>
          </p:cNvSpPr>
          <p:nvPr>
            <p:ph type="body" sz="quarter" idx="14" hasCustomPrompt="1"/>
          </p:nvPr>
        </p:nvSpPr>
        <p:spPr>
          <a:xfrm>
            <a:off x="838200" y="530046"/>
            <a:ext cx="1206500" cy="949325"/>
          </a:xfrm>
          <a:noFill/>
        </p:spPr>
        <p:txBody>
          <a:bodyPr>
            <a:noAutofit/>
          </a:bodyPr>
          <a:lstStyle>
            <a:lvl1pPr>
              <a:defRPr sz="9600" b="1">
                <a:solidFill>
                  <a:schemeClr val="accent4">
                    <a:lumMod val="40000"/>
                    <a:lumOff val="60000"/>
                  </a:schemeClr>
                </a:solidFill>
                <a:latin typeface="+mj-lt"/>
              </a:defRPr>
            </a:lvl1pPr>
          </a:lstStyle>
          <a:p>
            <a:pPr lvl="0"/>
            <a:r>
              <a:rPr lang="en-US" dirty="0"/>
              <a:t>1</a:t>
            </a:r>
          </a:p>
        </p:txBody>
      </p:sp>
    </p:spTree>
    <p:extLst>
      <p:ext uri="{BB962C8B-B14F-4D97-AF65-F5344CB8AC3E}">
        <p14:creationId xmlns:p14="http://schemas.microsoft.com/office/powerpoint/2010/main" val="27335676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0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6448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2764203"/>
            <a:ext cx="2708587" cy="1314311"/>
          </a:xfrm>
        </p:spPr>
        <p:txBody>
          <a:bodyPr vert="horz" anchor="ctr" anchorCtr="0">
            <a:noAutofit/>
          </a:bodyPr>
          <a:lstStyle>
            <a:lvl1pPr>
              <a:defRPr>
                <a:solidFill>
                  <a:srgbClr val="FFFFFF"/>
                </a:solidFill>
                <a:latin typeface="+mj-lt"/>
                <a:ea typeface="+mj-ea"/>
                <a:cs typeface="+mj-cs"/>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77646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Slide">
  <p:cSld name="2_Title Slide">
    <p:spTree>
      <p:nvGrpSpPr>
        <p:cNvPr id="1" name="Shape 20"/>
        <p:cNvGrpSpPr/>
        <p:nvPr/>
      </p:nvGrpSpPr>
      <p:grpSpPr>
        <a:xfrm>
          <a:off x="0" y="0"/>
          <a:ext cx="0" cy="0"/>
          <a:chOff x="0" y="0"/>
          <a:chExt cx="0" cy="0"/>
        </a:xfrm>
      </p:grpSpPr>
      <p:sp>
        <p:nvSpPr>
          <p:cNvPr id="21" name="Google Shape;21;p2"/>
          <p:cNvSpPr txBox="1">
            <a:spLocks noGrp="1"/>
          </p:cNvSpPr>
          <p:nvPr>
            <p:ph type="title"/>
          </p:nvPr>
        </p:nvSpPr>
        <p:spPr>
          <a:xfrm>
            <a:off x="854924" y="2164953"/>
            <a:ext cx="10715627" cy="743347"/>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rgbClr val="101820"/>
              </a:buClr>
              <a:buSzPts val="4000"/>
              <a:buFont typeface="Arial"/>
              <a:buNone/>
              <a:defRPr sz="4800" b="0" i="0" u="none" strike="noStrike" cap="none">
                <a:solidFill>
                  <a:schemeClr val="bg2"/>
                </a:solidFill>
                <a:latin typeface="Avenir Next LT Pro Demi" panose="020B0704020202020204" pitchFamily="34" charset="0"/>
                <a:ea typeface="Avenir Next LT Pro Demi" panose="020B0704020202020204" pitchFamily="34" charset="0"/>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Click to edit Master title style</a:t>
            </a:r>
            <a:endParaRPr dirty="0"/>
          </a:p>
        </p:txBody>
      </p:sp>
      <p:sp>
        <p:nvSpPr>
          <p:cNvPr id="22" name="Google Shape;22;p2"/>
          <p:cNvSpPr txBox="1">
            <a:spLocks noGrp="1"/>
          </p:cNvSpPr>
          <p:nvPr>
            <p:ph type="body" idx="1"/>
          </p:nvPr>
        </p:nvSpPr>
        <p:spPr>
          <a:xfrm>
            <a:off x="861803" y="2994263"/>
            <a:ext cx="10708748" cy="520700"/>
          </a:xfrm>
          <a:prstGeom prst="rect">
            <a:avLst/>
          </a:prstGeom>
          <a:noFill/>
          <a:ln>
            <a:noFill/>
          </a:ln>
        </p:spPr>
        <p:txBody>
          <a:bodyPr spcFirstLastPara="1" wrap="square" lIns="91425" tIns="45700" rIns="91425" bIns="45700" anchor="t" anchorCtr="0">
            <a:noAutofit/>
          </a:bodyPr>
          <a:lstStyle>
            <a:lvl1pPr marL="0" marR="0" lvl="0" indent="-228594" algn="l" rtl="0">
              <a:lnSpc>
                <a:spcPct val="100000"/>
              </a:lnSpc>
              <a:spcBef>
                <a:spcPts val="0"/>
              </a:spcBef>
              <a:spcAft>
                <a:spcPts val="0"/>
              </a:spcAft>
              <a:buClr>
                <a:schemeClr val="dk2"/>
              </a:buClr>
              <a:buSzPts val="1600"/>
              <a:buFont typeface="Noto Sans Symbols"/>
              <a:buNone/>
              <a:defRPr sz="2667" b="0" i="0" u="none" strike="noStrike" cap="none">
                <a:solidFill>
                  <a:srgbClr val="43484E"/>
                </a:solidFill>
                <a:latin typeface="+mj-lt"/>
                <a:ea typeface="Georgia"/>
                <a:cs typeface="Georgia"/>
                <a:sym typeface="Georgia"/>
              </a:defRPr>
            </a:lvl1pPr>
            <a:lvl2pPr marL="914377" marR="0" lvl="1" indent="-292093" algn="l" rtl="0">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566" marR="0" lvl="2" indent="-342891" algn="l" rtl="0">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754" marR="0" lvl="3"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5943" marR="0" lvl="4"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131" marR="0" lvl="5"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320" marR="0" lvl="6"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509" marR="0" lvl="7"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697" marR="0" lvl="8"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pPr lvl="0"/>
            <a:r>
              <a:rPr lang="en-US" dirty="0"/>
              <a:t>Click to edit Master text styles</a:t>
            </a:r>
          </a:p>
        </p:txBody>
      </p:sp>
      <p:pic>
        <p:nvPicPr>
          <p:cNvPr id="24" name="Google Shape;24;p2"/>
          <p:cNvPicPr preferRelativeResize="0"/>
          <p:nvPr/>
        </p:nvPicPr>
        <p:blipFill rotWithShape="1">
          <a:blip r:embed="rId2">
            <a:alphaModFix/>
          </a:blip>
          <a:srcRect/>
          <a:stretch/>
        </p:blipFill>
        <p:spPr>
          <a:xfrm>
            <a:off x="0" y="5328741"/>
            <a:ext cx="12210216" cy="1885401"/>
          </a:xfrm>
          <a:prstGeom prst="rect">
            <a:avLst/>
          </a:prstGeom>
          <a:noFill/>
          <a:ln>
            <a:noFill/>
          </a:ln>
        </p:spPr>
      </p:pic>
      <p:pic>
        <p:nvPicPr>
          <p:cNvPr id="7" name="Picture 6">
            <a:extLst>
              <a:ext uri="{FF2B5EF4-FFF2-40B4-BE49-F238E27FC236}">
                <a16:creationId xmlns:a16="http://schemas.microsoft.com/office/drawing/2014/main" id="{BF3045F9-90CE-FE46-8518-70A4DB3FD2A6}"/>
              </a:ext>
            </a:extLst>
          </p:cNvPr>
          <p:cNvPicPr>
            <a:picLocks noChangeAspect="1"/>
          </p:cNvPicPr>
          <p:nvPr userDrawn="1"/>
        </p:nvPicPr>
        <p:blipFill>
          <a:blip r:embed="rId3"/>
          <a:stretch>
            <a:fillRect/>
          </a:stretch>
        </p:blipFill>
        <p:spPr>
          <a:xfrm>
            <a:off x="663926" y="4764680"/>
            <a:ext cx="3522133" cy="1236133"/>
          </a:xfrm>
          <a:prstGeom prst="rect">
            <a:avLst/>
          </a:prstGeom>
        </p:spPr>
      </p:pic>
    </p:spTree>
    <p:extLst>
      <p:ext uri="{BB962C8B-B14F-4D97-AF65-F5344CB8AC3E}">
        <p14:creationId xmlns:p14="http://schemas.microsoft.com/office/powerpoint/2010/main" val="2529902484"/>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
        <p:cNvGrpSpPr/>
        <p:nvPr/>
      </p:nvGrpSpPr>
      <p:grpSpPr>
        <a:xfrm>
          <a:off x="0" y="0"/>
          <a:ext cx="0" cy="0"/>
          <a:chOff x="0" y="0"/>
          <a:chExt cx="0" cy="0"/>
        </a:xfrm>
      </p:grpSpPr>
      <p:sp>
        <p:nvSpPr>
          <p:cNvPr id="32" name="Google Shape;32;p4"/>
          <p:cNvSpPr txBox="1">
            <a:spLocks noGrp="1"/>
          </p:cNvSpPr>
          <p:nvPr>
            <p:ph type="title"/>
          </p:nvPr>
        </p:nvSpPr>
        <p:spPr>
          <a:xfrm>
            <a:off x="738188" y="516045"/>
            <a:ext cx="10715627" cy="743347"/>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dk1"/>
              </a:buClr>
              <a:buSzPts val="2800"/>
              <a:buFont typeface="Georgia"/>
              <a:buNone/>
              <a:defRPr sz="4267" b="0" i="0" u="none" strike="noStrike" cap="none">
                <a:solidFill>
                  <a:srgbClr val="43484E"/>
                </a:solidFill>
                <a:latin typeface="+mj-lt"/>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33" name="Google Shape;33;p4"/>
          <p:cNvSpPr txBox="1">
            <a:spLocks noGrp="1"/>
          </p:cNvSpPr>
          <p:nvPr>
            <p:ph type="body" idx="1"/>
          </p:nvPr>
        </p:nvSpPr>
        <p:spPr>
          <a:xfrm>
            <a:off x="738188" y="1524001"/>
            <a:ext cx="10715627" cy="4106412"/>
          </a:xfrm>
          <a:prstGeom prst="rect">
            <a:avLst/>
          </a:prstGeom>
          <a:noFill/>
          <a:ln>
            <a:noFill/>
          </a:ln>
        </p:spPr>
        <p:txBody>
          <a:bodyPr spcFirstLastPara="1" wrap="square" lIns="91425" tIns="45700" rIns="91425" bIns="45700" anchor="t" anchorCtr="0">
            <a:noAutofit/>
          </a:bodyPr>
          <a:lstStyle>
            <a:lvl1pPr marL="457189" marR="0" lvl="0" indent="-368291" algn="l" rtl="0">
              <a:lnSpc>
                <a:spcPct val="118181"/>
              </a:lnSpc>
              <a:spcBef>
                <a:spcPts val="1000"/>
              </a:spcBef>
              <a:spcAft>
                <a:spcPts val="0"/>
              </a:spcAft>
              <a:buClr>
                <a:schemeClr val="dk2"/>
              </a:buClr>
              <a:buSzPts val="2200"/>
              <a:buFont typeface="Noto Sans Symbols"/>
              <a:buChar char="▪"/>
              <a:defRPr sz="2133" b="0" i="0" u="none" strike="noStrike" cap="none">
                <a:solidFill>
                  <a:schemeClr val="dk1"/>
                </a:solidFill>
                <a:latin typeface="+mn-lt"/>
                <a:ea typeface="Georgia"/>
                <a:cs typeface="Georgia"/>
                <a:sym typeface="Georgia"/>
              </a:defRPr>
            </a:lvl1pPr>
            <a:lvl2pPr marL="914377" marR="0" lvl="1" indent="-292093" algn="l" rtl="0">
              <a:spcBef>
                <a:spcPts val="1000"/>
              </a:spcBef>
              <a:spcAft>
                <a:spcPts val="0"/>
              </a:spcAft>
              <a:buClr>
                <a:schemeClr val="dk2"/>
              </a:buClr>
              <a:buSzPts val="1000"/>
              <a:buFont typeface="Noto Sans Symbols"/>
              <a:buChar char="◻"/>
              <a:defRPr sz="2000" b="0" i="0" u="none" strike="noStrike" cap="none">
                <a:solidFill>
                  <a:schemeClr val="dk1"/>
                </a:solidFill>
                <a:latin typeface="+mn-lt"/>
                <a:ea typeface="Georgia"/>
                <a:cs typeface="Georgia"/>
                <a:sym typeface="Georgia"/>
              </a:defRPr>
            </a:lvl2pPr>
            <a:lvl3pPr marL="1371566" marR="0" lvl="2" indent="-342891" algn="l" rtl="0">
              <a:spcBef>
                <a:spcPts val="1000"/>
              </a:spcBef>
              <a:spcAft>
                <a:spcPts val="0"/>
              </a:spcAft>
              <a:buClr>
                <a:schemeClr val="dk1"/>
              </a:buClr>
              <a:buSzPts val="1800"/>
              <a:buFont typeface="Arial"/>
              <a:buChar char="•"/>
              <a:defRPr sz="1800" b="0" i="0" u="none" strike="noStrike" cap="none">
                <a:solidFill>
                  <a:schemeClr val="dk1"/>
                </a:solidFill>
                <a:latin typeface="+mn-lt"/>
                <a:ea typeface="Georgia"/>
                <a:cs typeface="Georgia"/>
                <a:sym typeface="Georgia"/>
              </a:defRPr>
            </a:lvl3pPr>
            <a:lvl4pPr marL="1828754" marR="0" lvl="3" indent="-355591" algn="l" rtl="0">
              <a:spcBef>
                <a:spcPts val="400"/>
              </a:spcBef>
              <a:spcAft>
                <a:spcPts val="0"/>
              </a:spcAft>
              <a:buClr>
                <a:schemeClr val="dk1"/>
              </a:buClr>
              <a:buSzPts val="2000"/>
              <a:buFont typeface="Arial"/>
              <a:buChar char="–"/>
              <a:defRPr sz="1600" b="0" i="0" u="none" strike="noStrike" cap="none">
                <a:solidFill>
                  <a:schemeClr val="dk1"/>
                </a:solidFill>
                <a:latin typeface="+mn-lt"/>
                <a:ea typeface="Georgia"/>
                <a:cs typeface="Georgia"/>
                <a:sym typeface="Georgia"/>
              </a:defRPr>
            </a:lvl4pPr>
            <a:lvl5pPr marL="2285943" marR="0" lvl="4" indent="-355591" algn="l" rtl="0">
              <a:spcBef>
                <a:spcPts val="400"/>
              </a:spcBef>
              <a:spcAft>
                <a:spcPts val="0"/>
              </a:spcAft>
              <a:buClr>
                <a:schemeClr val="dk1"/>
              </a:buClr>
              <a:buSzPts val="2000"/>
              <a:buFont typeface="Arial"/>
              <a:buChar char="»"/>
              <a:defRPr sz="1467" b="0" i="0" u="none" strike="noStrike" cap="none">
                <a:solidFill>
                  <a:schemeClr val="dk1"/>
                </a:solidFill>
                <a:latin typeface="+mn-lt"/>
                <a:ea typeface="Georgia"/>
                <a:cs typeface="Georgia"/>
                <a:sym typeface="Georgia"/>
              </a:defRPr>
            </a:lvl5pPr>
            <a:lvl6pPr marL="2743131" marR="0" lvl="5"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320" marR="0" lvl="6"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509" marR="0" lvl="7"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697" marR="0" lvl="8" indent="-355591"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pPr lvl="0"/>
            <a:r>
              <a:rPr lang="en-US"/>
              <a:t>Click to edit Master text styles</a:t>
            </a:r>
          </a:p>
          <a:p>
            <a:pPr lvl="1"/>
            <a:r>
              <a:rPr lang="en-US"/>
              <a:t>Test stile</a:t>
            </a:r>
          </a:p>
          <a:p>
            <a:pPr lvl="2"/>
            <a:r>
              <a:rPr lang="en-US"/>
              <a:t>T</a:t>
            </a:r>
          </a:p>
          <a:p>
            <a:pPr lvl="3"/>
            <a:r>
              <a:rPr lang="en-US"/>
              <a:t>A</a:t>
            </a:r>
          </a:p>
          <a:p>
            <a:pPr lvl="4"/>
            <a:r>
              <a:rPr lang="en-US"/>
              <a:t>A</a:t>
            </a:r>
          </a:p>
        </p:txBody>
      </p:sp>
      <p:sp>
        <p:nvSpPr>
          <p:cNvPr id="34" name="Google Shape;34;p4"/>
          <p:cNvSpPr txBox="1">
            <a:spLocks noGrp="1"/>
          </p:cNvSpPr>
          <p:nvPr>
            <p:ph type="dt" idx="10"/>
          </p:nvPr>
        </p:nvSpPr>
        <p:spPr>
          <a:xfrm>
            <a:off x="4243424" y="6081190"/>
            <a:ext cx="284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98A"/>
                </a:solidFill>
                <a:latin typeface="+mn-lt"/>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lang="en-US"/>
          </a:p>
        </p:txBody>
      </p:sp>
      <p:sp>
        <p:nvSpPr>
          <p:cNvPr id="35" name="Google Shape;35;p4"/>
          <p:cNvSpPr txBox="1">
            <a:spLocks noGrp="1"/>
          </p:cNvSpPr>
          <p:nvPr>
            <p:ph type="ftr" idx="11"/>
          </p:nvPr>
        </p:nvSpPr>
        <p:spPr>
          <a:xfrm>
            <a:off x="7593013" y="6081190"/>
            <a:ext cx="3860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8898A"/>
                </a:solidFill>
                <a:latin typeface="+mn-lt"/>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a:t>
            </a:fld>
            <a:endParaRPr lang="en-US"/>
          </a:p>
        </p:txBody>
      </p:sp>
    </p:spTree>
    <p:extLst>
      <p:ext uri="{BB962C8B-B14F-4D97-AF65-F5344CB8AC3E}">
        <p14:creationId xmlns:p14="http://schemas.microsoft.com/office/powerpoint/2010/main" val="33801247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738188" y="516045"/>
            <a:ext cx="10715627" cy="743347"/>
          </a:xfrm>
          <a:prstGeom prst="rect">
            <a:avLst/>
          </a:prstGeom>
        </p:spPr>
        <p:txBody>
          <a:bodyPr vert="horz" lIns="91440" tIns="45720" rIns="91440" bIns="45720" rtlCol="0" anchor="ctr">
            <a:noAutofit/>
          </a:bodyPr>
          <a:lstStyle>
            <a:lvl1pPr>
              <a:defRPr sz="4267">
                <a:solidFill>
                  <a:srgbClr val="43484E"/>
                </a:solidFill>
                <a:latin typeface="+mj-lt"/>
              </a:defRPr>
            </a:lvl1pPr>
          </a:lstStyle>
          <a:p>
            <a:r>
              <a:rPr lang="en-US"/>
              <a:t>Click to edit Master title style</a:t>
            </a:r>
          </a:p>
        </p:txBody>
      </p:sp>
      <p:sp>
        <p:nvSpPr>
          <p:cNvPr id="8" name="Text Placeholder 2"/>
          <p:cNvSpPr>
            <a:spLocks noGrp="1"/>
          </p:cNvSpPr>
          <p:nvPr>
            <p:ph idx="1" hasCustomPrompt="1"/>
          </p:nvPr>
        </p:nvSpPr>
        <p:spPr>
          <a:xfrm>
            <a:off x="738188" y="1524002"/>
            <a:ext cx="10715627" cy="4106412"/>
          </a:xfrm>
          <a:prstGeom prst="rect">
            <a:avLst/>
          </a:prstGeom>
        </p:spPr>
        <p:txBody>
          <a:bodyPr vert="horz" lIns="91440" tIns="45720" rIns="91440" bIns="45720" rtlCol="0">
            <a:normAutofit/>
          </a:bodyPr>
          <a:lstStyle>
            <a:lvl1pPr marL="342891" marR="0" indent="-347463" algn="l" defTabSz="457189" rtl="0" eaLnBrk="1" fontAlgn="auto" latinLnBrk="0" hangingPunct="1">
              <a:lnSpc>
                <a:spcPts val="2600"/>
              </a:lnSpc>
              <a:spcBef>
                <a:spcPts val="1000"/>
              </a:spcBef>
              <a:spcAft>
                <a:spcPts val="0"/>
              </a:spcAft>
              <a:buClr>
                <a:srgbClr val="20AA3F"/>
              </a:buClr>
              <a:buSzTx/>
              <a:buFont typeface="Wingdings" charset="2"/>
              <a:buChar char="§"/>
              <a:tabLst/>
              <a:defRPr/>
            </a:lvl1pPr>
            <a:lvl2pPr marL="742932" marR="0" indent="-285744" algn="l" defTabSz="457189" rtl="0" eaLnBrk="1" fontAlgn="auto" latinLnBrk="0" hangingPunct="1">
              <a:lnSpc>
                <a:spcPct val="100000"/>
              </a:lnSpc>
              <a:spcBef>
                <a:spcPts val="1000"/>
              </a:spcBef>
              <a:spcAft>
                <a:spcPts val="0"/>
              </a:spcAft>
              <a:buClr>
                <a:srgbClr val="20AA3F"/>
              </a:buClr>
              <a:buSzPct val="50000"/>
              <a:buFont typeface="Wingdings" charset="2"/>
              <a:buChar char=""/>
              <a:tabLst/>
              <a:defRPr/>
            </a:lvl2pPr>
            <a:lvl3pPr marL="1142971" marR="0" indent="-228594" algn="l" defTabSz="457189" rtl="0" eaLnBrk="1" fontAlgn="auto" latinLnBrk="0" hangingPunct="1">
              <a:lnSpc>
                <a:spcPct val="100000"/>
              </a:lnSpc>
              <a:spcBef>
                <a:spcPts val="1000"/>
              </a:spcBef>
              <a:spcAft>
                <a:spcPts val="0"/>
              </a:spcAft>
              <a:buClrTx/>
              <a:buSzTx/>
              <a:buFont typeface="Arial"/>
              <a:buChar char="•"/>
              <a:tabLst/>
              <a:defRPr/>
            </a:lvl3pPr>
          </a:lstStyle>
          <a:p>
            <a:pPr marL="342891" marR="0" lvl="0" indent="-347463" algn="l" defTabSz="457189" rtl="0" eaLnBrk="1" fontAlgn="auto" latinLnBrk="0" hangingPunct="1">
              <a:lnSpc>
                <a:spcPts val="2600"/>
              </a:lnSpc>
              <a:spcBef>
                <a:spcPts val="1000"/>
              </a:spcBef>
              <a:spcAft>
                <a:spcPts val="0"/>
              </a:spcAft>
              <a:buClr>
                <a:srgbClr val="20AA3F"/>
              </a:buClr>
              <a:buSzTx/>
              <a:buFont typeface="Wingdings" charset="2"/>
              <a:buChar char="§"/>
              <a:tabLst/>
              <a:defRPr/>
            </a:pPr>
            <a:r>
              <a:rPr kumimoji="0" lang="en-US" sz="2200" b="0" i="0" u="none" strike="noStrike" kern="1200" cap="none" spc="0" normalizeH="0" baseline="0" noProof="0">
                <a:ln>
                  <a:noFill/>
                </a:ln>
                <a:solidFill>
                  <a:srgbClr val="101820"/>
                </a:solidFill>
                <a:effectLst/>
                <a:uLnTx/>
                <a:uFillTx/>
                <a:latin typeface="+mn-lt"/>
                <a:ea typeface="+mn-ea"/>
                <a:cs typeface="+mn-cs"/>
              </a:rPr>
              <a:t>Click to edit master text styles</a:t>
            </a:r>
          </a:p>
          <a:p>
            <a:pPr marL="742932" marR="0" lvl="1" indent="-285744" algn="l" defTabSz="457189" rtl="0" eaLnBrk="1" fontAlgn="auto" latinLnBrk="0" hangingPunct="1">
              <a:lnSpc>
                <a:spcPct val="100000"/>
              </a:lnSpc>
              <a:spcBef>
                <a:spcPts val="1000"/>
              </a:spcBef>
              <a:spcAft>
                <a:spcPts val="0"/>
              </a:spcAft>
              <a:buClr>
                <a:srgbClr val="20AA3F"/>
              </a:buClr>
              <a:buSzPct val="50000"/>
              <a:buFont typeface="Wingdings" charset="2"/>
              <a:buChar char=""/>
              <a:tabLst/>
              <a:defRPr/>
            </a:pPr>
            <a:r>
              <a:rPr kumimoji="0" lang="en-US" sz="2000" b="0" i="0" u="none" strike="noStrike" kern="1200" cap="none" spc="0" normalizeH="0" baseline="0" noProof="0">
                <a:ln>
                  <a:noFill/>
                </a:ln>
                <a:solidFill>
                  <a:srgbClr val="101820"/>
                </a:solidFill>
                <a:effectLst/>
                <a:uLnTx/>
                <a:uFillTx/>
                <a:latin typeface="+mn-lt"/>
                <a:ea typeface="+mn-ea"/>
                <a:cs typeface="+mn-cs"/>
              </a:rPr>
              <a:t>Second level</a:t>
            </a:r>
          </a:p>
          <a:p>
            <a:pPr marL="1142971" marR="0" lvl="2" indent="-228594" algn="l" defTabSz="457189" rtl="0" eaLnBrk="1" fontAlgn="auto" latinLnBrk="0" hangingPunct="1">
              <a:lnSpc>
                <a:spcPct val="100000"/>
              </a:lnSpc>
              <a:spcBef>
                <a:spcPts val="1000"/>
              </a:spcBef>
              <a:spcAft>
                <a:spcPts val="0"/>
              </a:spcAft>
              <a:buClrTx/>
              <a:buSzTx/>
              <a:buFont typeface="Arial"/>
              <a:buChar char="•"/>
              <a:tabLst/>
              <a:defRPr/>
            </a:pPr>
            <a:r>
              <a:rPr kumimoji="0" lang="en-US" sz="1800" b="0" i="0" u="none" strike="noStrike" kern="1200" cap="none" spc="0" normalizeH="0" baseline="0" noProof="0">
                <a:ln>
                  <a:noFill/>
                </a:ln>
                <a:solidFill>
                  <a:srgbClr val="101820"/>
                </a:solidFill>
                <a:effectLst/>
                <a:uLnTx/>
                <a:uFillTx/>
                <a:latin typeface="+mn-lt"/>
                <a:ea typeface="+mn-ea"/>
                <a:cs typeface="+mn-cs"/>
              </a:rPr>
              <a:t>Third level</a:t>
            </a:r>
          </a:p>
        </p:txBody>
      </p:sp>
      <p:sp>
        <p:nvSpPr>
          <p:cNvPr id="9" name="Date Placeholder 3"/>
          <p:cNvSpPr>
            <a:spLocks noGrp="1"/>
          </p:cNvSpPr>
          <p:nvPr>
            <p:ph type="dt" sz="half" idx="2"/>
          </p:nvPr>
        </p:nvSpPr>
        <p:spPr>
          <a:xfrm>
            <a:off x="4243424" y="6081191"/>
            <a:ext cx="2844800" cy="365125"/>
          </a:xfrm>
          <a:prstGeom prst="rect">
            <a:avLst/>
          </a:prstGeom>
        </p:spPr>
        <p:txBody>
          <a:bodyPr vert="horz" lIns="91440" tIns="45720" rIns="91440" bIns="45720" rtlCol="0" anchor="ctr"/>
          <a:lstStyle>
            <a:lvl1pPr algn="ctr">
              <a:defRPr sz="1200">
                <a:solidFill>
                  <a:schemeClr val="tx1">
                    <a:tint val="75000"/>
                  </a:schemeClr>
                </a:solidFill>
                <a:latin typeface="+mn-lt"/>
                <a:cs typeface="Arial"/>
              </a:defRPr>
            </a:lvl1pPr>
          </a:lstStyle>
          <a:p>
            <a:endParaRPr lang="en-US"/>
          </a:p>
        </p:txBody>
      </p:sp>
      <p:sp>
        <p:nvSpPr>
          <p:cNvPr id="10" name="Footer Placeholder 4"/>
          <p:cNvSpPr>
            <a:spLocks noGrp="1"/>
          </p:cNvSpPr>
          <p:nvPr>
            <p:ph type="ftr" sz="quarter" idx="3"/>
          </p:nvPr>
        </p:nvSpPr>
        <p:spPr>
          <a:xfrm>
            <a:off x="11108847" y="6125254"/>
            <a:ext cx="344966" cy="276999"/>
          </a:xfrm>
          <a:prstGeom prst="rect">
            <a:avLst/>
          </a:prstGeom>
        </p:spPr>
        <p:txBody>
          <a:bodyPr vert="horz" lIns="91440" tIns="45720" rIns="91440" bIns="45720" rtlCol="0" anchor="ctr"/>
          <a:lstStyle>
            <a:lvl1pPr algn="r">
              <a:defRPr sz="1200">
                <a:solidFill>
                  <a:schemeClr val="tx1">
                    <a:tint val="75000"/>
                  </a:schemeClr>
                </a:solidFill>
                <a:latin typeface="+mn-lt"/>
                <a:cs typeface="Arial"/>
              </a:defRPr>
            </a:lvl1pPr>
          </a:lstStyle>
          <a:p>
            <a:fld id="{022636EB-ADE8-A646-A11D-FED0A955D1AA}" type="slidenum">
              <a:rPr lang="en-US" smtClean="0"/>
              <a:pPr/>
              <a:t>‹#›</a:t>
            </a:fld>
            <a:endParaRPr lang="en-US"/>
          </a:p>
        </p:txBody>
      </p:sp>
    </p:spTree>
    <p:extLst>
      <p:ext uri="{BB962C8B-B14F-4D97-AF65-F5344CB8AC3E}">
        <p14:creationId xmlns:p14="http://schemas.microsoft.com/office/powerpoint/2010/main" val="29084598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26018" y="1549400"/>
            <a:ext cx="5268383" cy="4326747"/>
          </a:xfrm>
          <a:prstGeom prst="rect">
            <a:avLst/>
          </a:prstGeom>
        </p:spPr>
        <p:txBody>
          <a:bodyPr/>
          <a:lstStyle>
            <a:lvl1pPr>
              <a:defRPr sz="2000">
                <a:latin typeface="+mn-lt"/>
              </a:defRPr>
            </a:lvl1pPr>
            <a:lvl2pPr>
              <a:spcBef>
                <a:spcPts val="1000"/>
              </a:spcBef>
              <a:defRPr sz="1800">
                <a:latin typeface="+mn-lt"/>
              </a:defRPr>
            </a:lvl2pPr>
            <a:lvl3pPr>
              <a:spcBef>
                <a:spcPts val="1000"/>
              </a:spcBef>
              <a:defRPr sz="1600">
                <a:latin typeface="+mn-lt"/>
              </a:defRPr>
            </a:lvl3pPr>
            <a:lvl4pPr>
              <a:defRPr sz="18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6314018" y="1549400"/>
            <a:ext cx="5268383" cy="4326747"/>
          </a:xfrm>
          <a:prstGeom prst="rect">
            <a:avLst/>
          </a:prstGeom>
        </p:spPr>
        <p:txBody>
          <a:bodyPr/>
          <a:lstStyle>
            <a:lvl1pPr>
              <a:defRPr sz="2000">
                <a:latin typeface="+mn-lt"/>
              </a:defRPr>
            </a:lvl1pPr>
            <a:lvl2pPr>
              <a:spcBef>
                <a:spcPts val="1000"/>
              </a:spcBef>
              <a:defRPr sz="1800">
                <a:latin typeface="+mn-lt"/>
              </a:defRPr>
            </a:lvl2pPr>
            <a:lvl3pPr>
              <a:spcBef>
                <a:spcPts val="1000"/>
              </a:spcBef>
              <a:defRPr sz="1600">
                <a:latin typeface="+mn-lt"/>
              </a:defRPr>
            </a:lvl3pPr>
            <a:lvl4pPr>
              <a:defRPr sz="18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p:txBody>
      </p:sp>
      <p:sp>
        <p:nvSpPr>
          <p:cNvPr id="14" name="Date Placeholder 3"/>
          <p:cNvSpPr>
            <a:spLocks noGrp="1"/>
          </p:cNvSpPr>
          <p:nvPr>
            <p:ph type="dt" sz="half" idx="10"/>
          </p:nvPr>
        </p:nvSpPr>
        <p:spPr>
          <a:xfrm>
            <a:off x="4165600" y="6173788"/>
            <a:ext cx="284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US">
              <a:solidFill>
                <a:srgbClr val="101820">
                  <a:tint val="75000"/>
                </a:srgbClr>
              </a:solidFill>
            </a:endParaRPr>
          </a:p>
        </p:txBody>
      </p:sp>
      <p:sp>
        <p:nvSpPr>
          <p:cNvPr id="7" name="Footer Placeholder 4"/>
          <p:cNvSpPr>
            <a:spLocks noGrp="1"/>
          </p:cNvSpPr>
          <p:nvPr>
            <p:ph type="ftr" sz="quarter" idx="3"/>
          </p:nvPr>
        </p:nvSpPr>
        <p:spPr>
          <a:xfrm>
            <a:off x="11269082" y="6217851"/>
            <a:ext cx="184731" cy="276999"/>
          </a:xfrm>
          <a:prstGeom prst="rect">
            <a:avLst/>
          </a:prstGeom>
        </p:spPr>
        <p:txBody>
          <a:bodyPr vert="horz" lIns="91440" tIns="45720" rIns="91440" bIns="45720" rtlCol="0" anchor="ctr"/>
          <a:lstStyle>
            <a:lvl1pPr algn="r">
              <a:defRPr sz="1200">
                <a:solidFill>
                  <a:schemeClr val="tx1">
                    <a:tint val="75000"/>
                  </a:schemeClr>
                </a:solidFill>
                <a:latin typeface="+mn-lt"/>
                <a:cs typeface="Arial"/>
              </a:defRPr>
            </a:lvl1pPr>
          </a:lstStyle>
          <a:p>
            <a:endParaRPr lang="en-US">
              <a:solidFill>
                <a:srgbClr val="101820">
                  <a:tint val="75000"/>
                </a:srgbClr>
              </a:solidFill>
            </a:endParaRPr>
          </a:p>
        </p:txBody>
      </p:sp>
      <p:sp>
        <p:nvSpPr>
          <p:cNvPr id="8" name="Title Placeholder 1"/>
          <p:cNvSpPr>
            <a:spLocks noGrp="1"/>
          </p:cNvSpPr>
          <p:nvPr>
            <p:ph type="title"/>
          </p:nvPr>
        </p:nvSpPr>
        <p:spPr>
          <a:xfrm>
            <a:off x="738188" y="516045"/>
            <a:ext cx="10715627" cy="743347"/>
          </a:xfrm>
          <a:prstGeom prst="rect">
            <a:avLst/>
          </a:prstGeom>
        </p:spPr>
        <p:txBody>
          <a:bodyPr vert="horz" lIns="91440" tIns="45720" rIns="91440" bIns="45720" rtlCol="0" anchor="ctr">
            <a:noAutofit/>
          </a:bodyPr>
          <a:lstStyle>
            <a:lvl1pPr>
              <a:defRPr sz="4267">
                <a:solidFill>
                  <a:srgbClr val="43484E"/>
                </a:solidFill>
                <a:latin typeface="+mj-lt"/>
              </a:defRPr>
            </a:lvl1pPr>
          </a:lstStyle>
          <a:p>
            <a:r>
              <a:rPr lang="en-US"/>
              <a:t>Click to edit Master title style</a:t>
            </a:r>
          </a:p>
        </p:txBody>
      </p:sp>
    </p:spTree>
    <p:extLst>
      <p:ext uri="{BB962C8B-B14F-4D97-AF65-F5344CB8AC3E}">
        <p14:creationId xmlns:p14="http://schemas.microsoft.com/office/powerpoint/2010/main" val="30731506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ntent">
  <p:cSld name="2_Two Content">
    <p:spTree>
      <p:nvGrpSpPr>
        <p:cNvPr id="1" name="Shape 69"/>
        <p:cNvGrpSpPr/>
        <p:nvPr/>
      </p:nvGrpSpPr>
      <p:grpSpPr>
        <a:xfrm>
          <a:off x="0" y="0"/>
          <a:ext cx="0" cy="0"/>
          <a:chOff x="0" y="0"/>
          <a:chExt cx="0" cy="0"/>
        </a:xfrm>
      </p:grpSpPr>
      <p:sp>
        <p:nvSpPr>
          <p:cNvPr id="70" name="Google Shape;70;p11"/>
          <p:cNvSpPr txBox="1">
            <a:spLocks noGrp="1"/>
          </p:cNvSpPr>
          <p:nvPr>
            <p:ph type="body" idx="1"/>
          </p:nvPr>
        </p:nvSpPr>
        <p:spPr>
          <a:xfrm>
            <a:off x="726018" y="1549402"/>
            <a:ext cx="5268383" cy="4199647"/>
          </a:xfrm>
          <a:prstGeom prst="rect">
            <a:avLst/>
          </a:prstGeom>
          <a:noFill/>
          <a:ln>
            <a:noFill/>
          </a:ln>
        </p:spPr>
        <p:txBody>
          <a:bodyPr spcFirstLastPara="1" wrap="square" lIns="91425" tIns="45700" rIns="91425" bIns="45700" anchor="t" anchorCtr="0">
            <a:noAutofit/>
          </a:bodyPr>
          <a:lstStyle>
            <a:lvl1pPr marL="457189" marR="0" lvl="0" indent="-355591" algn="l" rtl="0">
              <a:lnSpc>
                <a:spcPct val="130000"/>
              </a:lnSpc>
              <a:spcBef>
                <a:spcPts val="1000"/>
              </a:spcBef>
              <a:spcAft>
                <a:spcPts val="0"/>
              </a:spcAft>
              <a:buClr>
                <a:schemeClr val="dk2"/>
              </a:buClr>
              <a:buSzPts val="2000"/>
              <a:buFont typeface="Noto Sans Symbols"/>
              <a:buChar char="▪"/>
              <a:defRPr sz="1867" b="0" i="0" u="none" strike="noStrike" cap="none">
                <a:solidFill>
                  <a:schemeClr val="dk1"/>
                </a:solidFill>
                <a:latin typeface="+mn-lt"/>
                <a:ea typeface="Georgia"/>
                <a:cs typeface="Georgia"/>
                <a:sym typeface="Georgia"/>
              </a:defRPr>
            </a:lvl1pPr>
            <a:lvl2pPr marL="914377" marR="0" lvl="1" indent="-285744" algn="l" rtl="0">
              <a:spcBef>
                <a:spcPts val="1000"/>
              </a:spcBef>
              <a:spcAft>
                <a:spcPts val="0"/>
              </a:spcAft>
              <a:buClr>
                <a:schemeClr val="dk2"/>
              </a:buClr>
              <a:buSzPts val="900"/>
              <a:buFont typeface="Noto Sans Symbols"/>
              <a:buChar char="◻"/>
              <a:defRPr sz="1800" b="0" i="0" u="none" strike="noStrike" cap="none">
                <a:solidFill>
                  <a:schemeClr val="dk1"/>
                </a:solidFill>
                <a:latin typeface="+mn-lt"/>
                <a:ea typeface="Georgia"/>
                <a:cs typeface="Georgia"/>
                <a:sym typeface="Georgia"/>
              </a:defRPr>
            </a:lvl2pPr>
            <a:lvl3pPr marL="1371566" marR="0" lvl="2" indent="-330192" algn="l" rtl="0">
              <a:spcBef>
                <a:spcPts val="1000"/>
              </a:spcBef>
              <a:spcAft>
                <a:spcPts val="0"/>
              </a:spcAft>
              <a:buClr>
                <a:schemeClr val="dk1"/>
              </a:buClr>
              <a:buSzPts val="1600"/>
              <a:buFont typeface="Arial"/>
              <a:buChar char="•"/>
              <a:defRPr sz="1600" b="0" i="0" u="none" strike="noStrike" cap="none">
                <a:solidFill>
                  <a:schemeClr val="dk1"/>
                </a:solidFill>
                <a:latin typeface="+mn-lt"/>
                <a:ea typeface="Georgia"/>
                <a:cs typeface="Georgia"/>
                <a:sym typeface="Georgia"/>
              </a:defRPr>
            </a:lvl3pPr>
            <a:lvl4pPr marL="1828754" marR="0" lvl="3"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4pPr>
            <a:lvl5pPr marL="2285943" marR="0" lvl="4"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5pPr>
            <a:lvl6pPr marL="2743131" marR="0" lvl="5"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6pPr>
            <a:lvl7pPr marL="3200320" marR="0" lvl="6"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7pPr>
            <a:lvl8pPr marL="3657509" marR="0" lvl="7"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8pPr>
            <a:lvl9pPr marL="4114697" marR="0" lvl="8"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9pPr>
          </a:lstStyle>
          <a:p>
            <a:pPr lvl="0"/>
            <a:r>
              <a:rPr lang="en-US"/>
              <a:t>Click to edit Master text styles</a:t>
            </a:r>
          </a:p>
          <a:p>
            <a:pPr lvl="1"/>
            <a:r>
              <a:rPr lang="en-US"/>
              <a:t>Edit</a:t>
            </a:r>
          </a:p>
          <a:p>
            <a:pPr lvl="2"/>
            <a:r>
              <a:rPr lang="en-US"/>
              <a:t>edit</a:t>
            </a:r>
          </a:p>
        </p:txBody>
      </p:sp>
      <p:sp>
        <p:nvSpPr>
          <p:cNvPr id="71" name="Google Shape;71;p11"/>
          <p:cNvSpPr txBox="1">
            <a:spLocks noGrp="1"/>
          </p:cNvSpPr>
          <p:nvPr>
            <p:ph type="body" idx="2"/>
          </p:nvPr>
        </p:nvSpPr>
        <p:spPr>
          <a:xfrm>
            <a:off x="6314018" y="1549402"/>
            <a:ext cx="5268383" cy="4199647"/>
          </a:xfrm>
          <a:prstGeom prst="rect">
            <a:avLst/>
          </a:prstGeom>
          <a:noFill/>
          <a:ln>
            <a:noFill/>
          </a:ln>
        </p:spPr>
        <p:txBody>
          <a:bodyPr spcFirstLastPara="1" wrap="square" lIns="91425" tIns="45700" rIns="91425" bIns="45700" anchor="t" anchorCtr="0">
            <a:noAutofit/>
          </a:bodyPr>
          <a:lstStyle>
            <a:lvl1pPr marL="457189" marR="0" lvl="0" indent="-355591" algn="l" rtl="0">
              <a:lnSpc>
                <a:spcPct val="130000"/>
              </a:lnSpc>
              <a:spcBef>
                <a:spcPts val="1000"/>
              </a:spcBef>
              <a:spcAft>
                <a:spcPts val="0"/>
              </a:spcAft>
              <a:buClr>
                <a:schemeClr val="dk2"/>
              </a:buClr>
              <a:buSzPts val="2000"/>
              <a:buFont typeface="Noto Sans Symbols"/>
              <a:buChar char="▪"/>
              <a:defRPr sz="1867" b="0" i="0" u="none" strike="noStrike" cap="none">
                <a:solidFill>
                  <a:schemeClr val="dk1"/>
                </a:solidFill>
                <a:latin typeface="+mn-lt"/>
                <a:ea typeface="Georgia"/>
                <a:cs typeface="Georgia"/>
                <a:sym typeface="Georgia"/>
              </a:defRPr>
            </a:lvl1pPr>
            <a:lvl2pPr marL="914377" marR="0" lvl="1" indent="-285744" algn="l" rtl="0">
              <a:spcBef>
                <a:spcPts val="1000"/>
              </a:spcBef>
              <a:spcAft>
                <a:spcPts val="0"/>
              </a:spcAft>
              <a:buClr>
                <a:schemeClr val="dk2"/>
              </a:buClr>
              <a:buSzPts val="900"/>
              <a:buFont typeface="Noto Sans Symbols"/>
              <a:buChar char="◻"/>
              <a:defRPr sz="1800" b="0" i="0" u="none" strike="noStrike" cap="none">
                <a:solidFill>
                  <a:schemeClr val="dk1"/>
                </a:solidFill>
                <a:latin typeface="+mn-lt"/>
                <a:ea typeface="Georgia"/>
                <a:cs typeface="Georgia"/>
                <a:sym typeface="Georgia"/>
              </a:defRPr>
            </a:lvl2pPr>
            <a:lvl3pPr marL="1371566" marR="0" lvl="2" indent="-330192" algn="l" rtl="0">
              <a:spcBef>
                <a:spcPts val="1000"/>
              </a:spcBef>
              <a:spcAft>
                <a:spcPts val="0"/>
              </a:spcAft>
              <a:buClr>
                <a:schemeClr val="dk1"/>
              </a:buClr>
              <a:buSzPts val="1600"/>
              <a:buFont typeface="Arial"/>
              <a:buChar char="•"/>
              <a:defRPr sz="1600" b="0" i="0" u="none" strike="noStrike" cap="none">
                <a:solidFill>
                  <a:schemeClr val="dk1"/>
                </a:solidFill>
                <a:latin typeface="+mn-lt"/>
                <a:ea typeface="Georgia"/>
                <a:cs typeface="Georgia"/>
                <a:sym typeface="Georgia"/>
              </a:defRPr>
            </a:lvl3pPr>
            <a:lvl4pPr marL="1828754" marR="0" lvl="3"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4pPr>
            <a:lvl5pPr marL="2285943" marR="0" lvl="4"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5pPr>
            <a:lvl6pPr marL="2743131" marR="0" lvl="5"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6pPr>
            <a:lvl7pPr marL="3200320" marR="0" lvl="6"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7pPr>
            <a:lvl8pPr marL="3657509" marR="0" lvl="7"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8pPr>
            <a:lvl9pPr marL="4114697" marR="0" lvl="8" indent="-342891"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9pPr>
          </a:lstStyle>
          <a:p>
            <a:pPr lvl="0"/>
            <a:r>
              <a:rPr lang="en-US"/>
              <a:t>Click to edit Master text styles</a:t>
            </a:r>
          </a:p>
          <a:p>
            <a:pPr lvl="1"/>
            <a:r>
              <a:rPr lang="en-US"/>
              <a:t>Edit</a:t>
            </a:r>
          </a:p>
          <a:p>
            <a:pPr lvl="2"/>
            <a:r>
              <a:rPr lang="en-US"/>
              <a:t>Edit</a:t>
            </a:r>
          </a:p>
        </p:txBody>
      </p:sp>
      <p:sp>
        <p:nvSpPr>
          <p:cNvPr id="72" name="Google Shape;72;p11"/>
          <p:cNvSpPr txBox="1">
            <a:spLocks noGrp="1"/>
          </p:cNvSpPr>
          <p:nvPr>
            <p:ph type="title"/>
          </p:nvPr>
        </p:nvSpPr>
        <p:spPr>
          <a:xfrm>
            <a:off x="738188" y="516045"/>
            <a:ext cx="10715627" cy="743347"/>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dk1"/>
              </a:buClr>
              <a:buSzPts val="2800"/>
              <a:buFont typeface="Georgia"/>
              <a:buNone/>
              <a:defRPr sz="4267" b="0" i="0" u="none" strike="noStrike" cap="none">
                <a:solidFill>
                  <a:srgbClr val="43484E"/>
                </a:solidFill>
                <a:latin typeface="+mj-lt"/>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73" name="Google Shape;73;p11"/>
          <p:cNvSpPr txBox="1">
            <a:spLocks noGrp="1"/>
          </p:cNvSpPr>
          <p:nvPr>
            <p:ph type="dt" idx="10"/>
          </p:nvPr>
        </p:nvSpPr>
        <p:spPr>
          <a:xfrm>
            <a:off x="4243424" y="6081190"/>
            <a:ext cx="284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98A"/>
                </a:solidFill>
                <a:latin typeface="+mn-lt"/>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lang="en-US"/>
          </a:p>
        </p:txBody>
      </p:sp>
      <p:sp>
        <p:nvSpPr>
          <p:cNvPr id="74" name="Google Shape;74;p11"/>
          <p:cNvSpPr txBox="1">
            <a:spLocks noGrp="1"/>
          </p:cNvSpPr>
          <p:nvPr>
            <p:ph type="ftr" idx="11"/>
          </p:nvPr>
        </p:nvSpPr>
        <p:spPr>
          <a:xfrm>
            <a:off x="7593013" y="6081190"/>
            <a:ext cx="3860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a:solidFill>
                  <a:srgbClr val="88898A"/>
                </a:solidFill>
                <a:latin typeface="+mn-lt"/>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a:t>
            </a:fld>
            <a:endParaRPr lang="en-US"/>
          </a:p>
        </p:txBody>
      </p:sp>
    </p:spTree>
    <p:extLst>
      <p:ext uri="{BB962C8B-B14F-4D97-AF65-F5344CB8AC3E}">
        <p14:creationId xmlns:p14="http://schemas.microsoft.com/office/powerpoint/2010/main" val="1552617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Section Header" type="secHead">
  <p:cSld name="1_Section Header">
    <p:spTree>
      <p:nvGrpSpPr>
        <p:cNvPr id="1" name="Shape 18"/>
        <p:cNvGrpSpPr/>
        <p:nvPr/>
      </p:nvGrpSpPr>
      <p:grpSpPr>
        <a:xfrm>
          <a:off x="0" y="0"/>
          <a:ext cx="0" cy="0"/>
          <a:chOff x="0" y="0"/>
          <a:chExt cx="0" cy="0"/>
        </a:xfrm>
      </p:grpSpPr>
      <p:sp>
        <p:nvSpPr>
          <p:cNvPr id="19" name="Google Shape;19;p2"/>
          <p:cNvSpPr/>
          <p:nvPr/>
        </p:nvSpPr>
        <p:spPr>
          <a:xfrm>
            <a:off x="9622368" y="0"/>
            <a:ext cx="2569632" cy="6858000"/>
          </a:xfrm>
          <a:custGeom>
            <a:avLst/>
            <a:gdLst/>
            <a:ahLst/>
            <a:cxnLst/>
            <a:rect l="l" t="t" r="r" b="b"/>
            <a:pathLst>
              <a:path w="1927224" h="6858000" extrusionOk="0">
                <a:moveTo>
                  <a:pt x="0" y="0"/>
                </a:moveTo>
                <a:lnTo>
                  <a:pt x="1927224" y="0"/>
                </a:lnTo>
                <a:lnTo>
                  <a:pt x="1927224" y="6858000"/>
                </a:lnTo>
                <a:lnTo>
                  <a:pt x="254000" y="6858000"/>
                </a:lnTo>
                <a:lnTo>
                  <a:pt x="892175" y="433705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Book Antiqua"/>
              <a:ea typeface="Book Antiqua"/>
              <a:cs typeface="Book Antiqua"/>
              <a:sym typeface="Book Antiqua"/>
            </a:endParaRPr>
          </a:p>
        </p:txBody>
      </p:sp>
      <p:sp>
        <p:nvSpPr>
          <p:cNvPr id="20" name="Google Shape;20;p2"/>
          <p:cNvSpPr/>
          <p:nvPr/>
        </p:nvSpPr>
        <p:spPr>
          <a:xfrm>
            <a:off x="9237132" y="0"/>
            <a:ext cx="1671124" cy="6858000"/>
          </a:xfrm>
          <a:custGeom>
            <a:avLst/>
            <a:gdLst/>
            <a:ahLst/>
            <a:cxnLst/>
            <a:rect l="l" t="t" r="r" b="b"/>
            <a:pathLst>
              <a:path w="1254127" h="6858000" extrusionOk="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outerShdw blurRad="101600" dist="50800" algn="l" rotWithShape="0">
              <a:srgbClr val="000000">
                <a:alpha val="24310"/>
              </a:srgbClr>
            </a:outerShdw>
          </a:effectLst>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Book Antiqua"/>
              <a:ea typeface="Book Antiqua"/>
              <a:cs typeface="Book Antiqua"/>
              <a:sym typeface="Book Antiqua"/>
            </a:endParaRPr>
          </a:p>
        </p:txBody>
      </p:sp>
      <p:sp>
        <p:nvSpPr>
          <p:cNvPr id="21" name="Google Shape;21;p2"/>
          <p:cNvSpPr/>
          <p:nvPr/>
        </p:nvSpPr>
        <p:spPr>
          <a:xfrm>
            <a:off x="9173633" y="0"/>
            <a:ext cx="1459586" cy="6858000"/>
          </a:xfrm>
          <a:custGeom>
            <a:avLst/>
            <a:gdLst/>
            <a:ahLst/>
            <a:cxnLst/>
            <a:rect l="l" t="t" r="r" b="b"/>
            <a:pathLst>
              <a:path w="1095374" h="6858000" extrusionOk="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outerShdw blurRad="101600" dist="50800" algn="l" rotWithShape="0">
              <a:srgbClr val="000000">
                <a:alpha val="24313"/>
              </a:srgbClr>
            </a:outerShdw>
          </a:effectLst>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Book Antiqua"/>
              <a:ea typeface="Book Antiqua"/>
              <a:cs typeface="Book Antiqua"/>
              <a:sym typeface="Book Antiqua"/>
            </a:endParaRPr>
          </a:p>
        </p:txBody>
      </p:sp>
      <p:sp>
        <p:nvSpPr>
          <p:cNvPr id="22" name="Google Shape;22;p2"/>
          <p:cNvSpPr/>
          <p:nvPr/>
        </p:nvSpPr>
        <p:spPr>
          <a:xfrm>
            <a:off x="9173633" y="0"/>
            <a:ext cx="1459586" cy="6858000"/>
          </a:xfrm>
          <a:custGeom>
            <a:avLst/>
            <a:gdLst/>
            <a:ahLst/>
            <a:cxnLst/>
            <a:rect l="l" t="t" r="r" b="b"/>
            <a:pathLst>
              <a:path w="1095374" h="6858000" extrusionOk="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Book Antiqua"/>
              <a:ea typeface="Book Antiqua"/>
              <a:cs typeface="Book Antiqua"/>
              <a:sym typeface="Book Antiqua"/>
            </a:endParaRPr>
          </a:p>
        </p:txBody>
      </p:sp>
      <p:sp>
        <p:nvSpPr>
          <p:cNvPr id="23" name="Google Shape;23;p2"/>
          <p:cNvSpPr txBox="1">
            <a:spLocks noGrp="1"/>
          </p:cNvSpPr>
          <p:nvPr>
            <p:ph type="title"/>
          </p:nvPr>
        </p:nvSpPr>
        <p:spPr>
          <a:xfrm>
            <a:off x="1295398" y="2914650"/>
            <a:ext cx="8046720" cy="1557338"/>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Book Antiqua"/>
              <a:buNone/>
              <a:defRPr sz="32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
          <p:cNvSpPr txBox="1">
            <a:spLocks noGrp="1"/>
          </p:cNvSpPr>
          <p:nvPr>
            <p:ph type="body" idx="1"/>
          </p:nvPr>
        </p:nvSpPr>
        <p:spPr>
          <a:xfrm>
            <a:off x="1295398" y="4589463"/>
            <a:ext cx="8046718" cy="1011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200"/>
              </a:spcBef>
              <a:spcAft>
                <a:spcPts val="0"/>
              </a:spcAft>
              <a:buClr>
                <a:schemeClr val="dk1"/>
              </a:buClr>
              <a:buSzPts val="2400"/>
              <a:buNone/>
              <a:defRPr sz="2400">
                <a:solidFill>
                  <a:schemeClr val="dk1"/>
                </a:solidFill>
              </a:defRPr>
            </a:lvl1pPr>
            <a:lvl2pPr marL="914400" lvl="1" indent="-228600" algn="l">
              <a:lnSpc>
                <a:spcPct val="90000"/>
              </a:lnSpc>
              <a:spcBef>
                <a:spcPts val="1000"/>
              </a:spcBef>
              <a:spcAft>
                <a:spcPts val="0"/>
              </a:spcAft>
              <a:buClr>
                <a:srgbClr val="999999"/>
              </a:buClr>
              <a:buSzPts val="2000"/>
              <a:buNone/>
              <a:defRPr sz="2000">
                <a:solidFill>
                  <a:srgbClr val="999999"/>
                </a:solidFill>
              </a:defRPr>
            </a:lvl2pPr>
            <a:lvl3pPr marL="1371600" lvl="2" indent="-228600" algn="l">
              <a:lnSpc>
                <a:spcPct val="90000"/>
              </a:lnSpc>
              <a:spcBef>
                <a:spcPts val="800"/>
              </a:spcBef>
              <a:spcAft>
                <a:spcPts val="0"/>
              </a:spcAft>
              <a:buClr>
                <a:srgbClr val="999999"/>
              </a:buClr>
              <a:buSzPts val="1800"/>
              <a:buNone/>
              <a:defRPr sz="1800">
                <a:solidFill>
                  <a:srgbClr val="999999"/>
                </a:solidFill>
              </a:defRPr>
            </a:lvl3pPr>
            <a:lvl4pPr marL="1828800" lvl="3" indent="-228600" algn="l">
              <a:lnSpc>
                <a:spcPct val="90000"/>
              </a:lnSpc>
              <a:spcBef>
                <a:spcPts val="800"/>
              </a:spcBef>
              <a:spcAft>
                <a:spcPts val="0"/>
              </a:spcAft>
              <a:buClr>
                <a:srgbClr val="999999"/>
              </a:buClr>
              <a:buSzPts val="1600"/>
              <a:buNone/>
              <a:defRPr sz="1600">
                <a:solidFill>
                  <a:srgbClr val="999999"/>
                </a:solidFill>
              </a:defRPr>
            </a:lvl4pPr>
            <a:lvl5pPr marL="2286000" lvl="4" indent="-228600" algn="l">
              <a:lnSpc>
                <a:spcPct val="90000"/>
              </a:lnSpc>
              <a:spcBef>
                <a:spcPts val="800"/>
              </a:spcBef>
              <a:spcAft>
                <a:spcPts val="0"/>
              </a:spcAft>
              <a:buClr>
                <a:srgbClr val="999999"/>
              </a:buClr>
              <a:buSzPts val="1600"/>
              <a:buNone/>
              <a:defRPr sz="1600">
                <a:solidFill>
                  <a:srgbClr val="999999"/>
                </a:solidFill>
              </a:defRPr>
            </a:lvl5pPr>
            <a:lvl6pPr marL="2743200" lvl="5" indent="-228600" algn="l">
              <a:lnSpc>
                <a:spcPct val="90000"/>
              </a:lnSpc>
              <a:spcBef>
                <a:spcPts val="800"/>
              </a:spcBef>
              <a:spcAft>
                <a:spcPts val="0"/>
              </a:spcAft>
              <a:buClr>
                <a:srgbClr val="999999"/>
              </a:buClr>
              <a:buSzPts val="1600"/>
              <a:buNone/>
              <a:defRPr sz="1600">
                <a:solidFill>
                  <a:srgbClr val="999999"/>
                </a:solidFill>
              </a:defRPr>
            </a:lvl6pPr>
            <a:lvl7pPr marL="3200400" lvl="6" indent="-228600" algn="l">
              <a:lnSpc>
                <a:spcPct val="90000"/>
              </a:lnSpc>
              <a:spcBef>
                <a:spcPts val="800"/>
              </a:spcBef>
              <a:spcAft>
                <a:spcPts val="0"/>
              </a:spcAft>
              <a:buClr>
                <a:srgbClr val="999999"/>
              </a:buClr>
              <a:buSzPts val="1600"/>
              <a:buNone/>
              <a:defRPr sz="1600">
                <a:solidFill>
                  <a:srgbClr val="999999"/>
                </a:solidFill>
              </a:defRPr>
            </a:lvl7pPr>
            <a:lvl8pPr marL="3657600" lvl="7" indent="-228600" algn="l">
              <a:lnSpc>
                <a:spcPct val="90000"/>
              </a:lnSpc>
              <a:spcBef>
                <a:spcPts val="800"/>
              </a:spcBef>
              <a:spcAft>
                <a:spcPts val="0"/>
              </a:spcAft>
              <a:buClr>
                <a:srgbClr val="999999"/>
              </a:buClr>
              <a:buSzPts val="1600"/>
              <a:buNone/>
              <a:defRPr sz="1600">
                <a:solidFill>
                  <a:srgbClr val="999999"/>
                </a:solidFill>
              </a:defRPr>
            </a:lvl8pPr>
            <a:lvl9pPr marL="4114800" lvl="8" indent="-228600" algn="l">
              <a:lnSpc>
                <a:spcPct val="90000"/>
              </a:lnSpc>
              <a:spcBef>
                <a:spcPts val="800"/>
              </a:spcBef>
              <a:spcAft>
                <a:spcPts val="0"/>
              </a:spcAft>
              <a:buClr>
                <a:srgbClr val="999999"/>
              </a:buClr>
              <a:buSzPts val="1600"/>
              <a:buNone/>
              <a:defRPr sz="1600">
                <a:solidFill>
                  <a:srgbClr val="999999"/>
                </a:solidFill>
              </a:defRPr>
            </a:lvl9pPr>
          </a:lstStyle>
          <a:p>
            <a:endParaRPr/>
          </a:p>
        </p:txBody>
      </p:sp>
    </p:spTree>
    <p:extLst>
      <p:ext uri="{BB962C8B-B14F-4D97-AF65-F5344CB8AC3E}">
        <p14:creationId xmlns:p14="http://schemas.microsoft.com/office/powerpoint/2010/main" val="1773208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115"/>
        <p:cNvGrpSpPr/>
        <p:nvPr/>
      </p:nvGrpSpPr>
      <p:grpSpPr>
        <a:xfrm>
          <a:off x="0" y="0"/>
          <a:ext cx="0" cy="0"/>
          <a:chOff x="0" y="0"/>
          <a:chExt cx="0" cy="0"/>
        </a:xfrm>
      </p:grpSpPr>
      <p:sp>
        <p:nvSpPr>
          <p:cNvPr id="116" name="Google Shape;116;p16"/>
          <p:cNvSpPr/>
          <p:nvPr/>
        </p:nvSpPr>
        <p:spPr>
          <a:xfrm rot="8100000">
            <a:off x="2464145" y="5670696"/>
            <a:ext cx="163342" cy="163342"/>
          </a:xfrm>
          <a:prstGeom prst="teardrop">
            <a:avLst>
              <a:gd name="adj" fmla="val 100000"/>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17" name="Google Shape;117;p16"/>
          <p:cNvSpPr txBox="1">
            <a:spLocks noGrp="1"/>
          </p:cNvSpPr>
          <p:nvPr>
            <p:ph type="title"/>
          </p:nvPr>
        </p:nvSpPr>
        <p:spPr>
          <a:xfrm>
            <a:off x="1397000" y="235900"/>
            <a:ext cx="9328800" cy="954300"/>
          </a:xfrm>
          <a:prstGeom prst="rect">
            <a:avLst/>
          </a:prstGeom>
        </p:spPr>
        <p:txBody>
          <a:bodyPr spcFirstLastPara="1" wrap="square" lIns="91425" tIns="45700" rIns="91425" bIns="45700" anchor="b" anchorCtr="0">
            <a:normAutofit/>
          </a:bodyPr>
          <a:lstStyle>
            <a:lvl1pPr lvl="0" rtl="0">
              <a:spcBef>
                <a:spcPts val="0"/>
              </a:spcBef>
              <a:spcAft>
                <a:spcPts val="0"/>
              </a:spcAft>
              <a:buSzPts val="32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18" name="Google Shape;118;p16"/>
          <p:cNvSpPr txBox="1">
            <a:spLocks noGrp="1"/>
          </p:cNvSpPr>
          <p:nvPr>
            <p:ph type="body" idx="1"/>
          </p:nvPr>
        </p:nvSpPr>
        <p:spPr>
          <a:xfrm>
            <a:off x="1508667" y="1461000"/>
            <a:ext cx="4453200" cy="3554400"/>
          </a:xfrm>
          <a:prstGeom prst="rect">
            <a:avLst/>
          </a:prstGeom>
        </p:spPr>
        <p:txBody>
          <a:bodyPr spcFirstLastPara="1" wrap="square" lIns="91425" tIns="45700" rIns="91425" bIns="45700" anchor="t" anchorCtr="0">
            <a:normAutofit/>
          </a:bodyPr>
          <a:lstStyle>
            <a:lvl1pPr marL="457200" lvl="0" indent="-381000" rtl="0">
              <a:spcBef>
                <a:spcPts val="1800"/>
              </a:spcBef>
              <a:spcAft>
                <a:spcPts val="0"/>
              </a:spcAft>
              <a:buSzPts val="2400"/>
              <a:buChar char="•"/>
              <a:defRPr sz="2400"/>
            </a:lvl1pPr>
            <a:lvl2pPr marL="914400" lvl="1" indent="-355600" rtl="0">
              <a:spcBef>
                <a:spcPts val="1000"/>
              </a:spcBef>
              <a:spcAft>
                <a:spcPts val="0"/>
              </a:spcAft>
              <a:buSzPts val="2000"/>
              <a:buChar char="•"/>
              <a:defRPr/>
            </a:lvl2pPr>
            <a:lvl3pPr marL="1371600" lvl="2" indent="-342900" rtl="0">
              <a:spcBef>
                <a:spcPts val="800"/>
              </a:spcBef>
              <a:spcAft>
                <a:spcPts val="0"/>
              </a:spcAft>
              <a:buSzPts val="1800"/>
              <a:buChar char="•"/>
              <a:defRPr/>
            </a:lvl3pPr>
            <a:lvl4pPr marL="1828800" lvl="3" indent="-330200" rtl="0">
              <a:spcBef>
                <a:spcPts val="800"/>
              </a:spcBef>
              <a:spcAft>
                <a:spcPts val="0"/>
              </a:spcAft>
              <a:buSzPts val="1600"/>
              <a:buChar char="•"/>
              <a:defRPr/>
            </a:lvl4pPr>
            <a:lvl5pPr marL="2286000" lvl="4" indent="-330200" rtl="0">
              <a:spcBef>
                <a:spcPts val="800"/>
              </a:spcBef>
              <a:spcAft>
                <a:spcPts val="0"/>
              </a:spcAft>
              <a:buSzPts val="1600"/>
              <a:buChar char="•"/>
              <a:defRPr/>
            </a:lvl5pPr>
            <a:lvl6pPr marL="2743200" lvl="5" indent="-330200" rtl="0">
              <a:spcBef>
                <a:spcPts val="800"/>
              </a:spcBef>
              <a:spcAft>
                <a:spcPts val="0"/>
              </a:spcAft>
              <a:buSzPts val="1600"/>
              <a:buChar char="•"/>
              <a:defRPr/>
            </a:lvl6pPr>
            <a:lvl7pPr marL="3200400" lvl="6" indent="-330200" rtl="0">
              <a:spcBef>
                <a:spcPts val="800"/>
              </a:spcBef>
              <a:spcAft>
                <a:spcPts val="0"/>
              </a:spcAft>
              <a:buSzPts val="1600"/>
              <a:buChar char="•"/>
              <a:defRPr/>
            </a:lvl7pPr>
            <a:lvl8pPr marL="3657600" lvl="7" indent="-330200" rtl="0">
              <a:spcBef>
                <a:spcPts val="800"/>
              </a:spcBef>
              <a:spcAft>
                <a:spcPts val="0"/>
              </a:spcAft>
              <a:buSzPts val="1600"/>
              <a:buChar char="•"/>
              <a:defRPr/>
            </a:lvl8pPr>
            <a:lvl9pPr marL="4114800" lvl="8" indent="-330200" rtl="0">
              <a:spcBef>
                <a:spcPts val="800"/>
              </a:spcBef>
              <a:spcAft>
                <a:spcPts val="0"/>
              </a:spcAft>
              <a:buSzPts val="1600"/>
              <a:buChar char="•"/>
              <a:defRPr/>
            </a:lvl9pPr>
          </a:lstStyle>
          <a:p>
            <a:endParaRPr/>
          </a:p>
        </p:txBody>
      </p:sp>
      <p:sp>
        <p:nvSpPr>
          <p:cNvPr id="119" name="Google Shape;119;p16"/>
          <p:cNvSpPr txBox="1">
            <a:spLocks noGrp="1"/>
          </p:cNvSpPr>
          <p:nvPr>
            <p:ph type="body" idx="2"/>
          </p:nvPr>
        </p:nvSpPr>
        <p:spPr>
          <a:xfrm>
            <a:off x="6230084" y="1461000"/>
            <a:ext cx="4453200" cy="3554400"/>
          </a:xfrm>
          <a:prstGeom prst="rect">
            <a:avLst/>
          </a:prstGeom>
        </p:spPr>
        <p:txBody>
          <a:bodyPr spcFirstLastPara="1" wrap="square" lIns="91425" tIns="45700" rIns="91425" bIns="45700" anchor="t" anchorCtr="0">
            <a:normAutofit/>
          </a:bodyPr>
          <a:lstStyle>
            <a:lvl1pPr marL="457200" lvl="0" indent="-381000" rtl="0">
              <a:spcBef>
                <a:spcPts val="1800"/>
              </a:spcBef>
              <a:spcAft>
                <a:spcPts val="0"/>
              </a:spcAft>
              <a:buSzPts val="2400"/>
              <a:buChar char="•"/>
              <a:defRPr sz="2400"/>
            </a:lvl1pPr>
            <a:lvl2pPr marL="914400" lvl="1" indent="-355600" rtl="0">
              <a:spcBef>
                <a:spcPts val="1000"/>
              </a:spcBef>
              <a:spcAft>
                <a:spcPts val="0"/>
              </a:spcAft>
              <a:buSzPts val="2000"/>
              <a:buChar char="•"/>
              <a:defRPr/>
            </a:lvl2pPr>
            <a:lvl3pPr marL="1371600" lvl="2" indent="-342900" rtl="0">
              <a:spcBef>
                <a:spcPts val="800"/>
              </a:spcBef>
              <a:spcAft>
                <a:spcPts val="0"/>
              </a:spcAft>
              <a:buSzPts val="1800"/>
              <a:buChar char="•"/>
              <a:defRPr/>
            </a:lvl3pPr>
            <a:lvl4pPr marL="1828800" lvl="3" indent="-330200" rtl="0">
              <a:spcBef>
                <a:spcPts val="800"/>
              </a:spcBef>
              <a:spcAft>
                <a:spcPts val="0"/>
              </a:spcAft>
              <a:buSzPts val="1600"/>
              <a:buChar char="•"/>
              <a:defRPr/>
            </a:lvl4pPr>
            <a:lvl5pPr marL="2286000" lvl="4" indent="-330200" rtl="0">
              <a:spcBef>
                <a:spcPts val="800"/>
              </a:spcBef>
              <a:spcAft>
                <a:spcPts val="0"/>
              </a:spcAft>
              <a:buSzPts val="1600"/>
              <a:buChar char="•"/>
              <a:defRPr/>
            </a:lvl5pPr>
            <a:lvl6pPr marL="2743200" lvl="5" indent="-330200" rtl="0">
              <a:spcBef>
                <a:spcPts val="800"/>
              </a:spcBef>
              <a:spcAft>
                <a:spcPts val="0"/>
              </a:spcAft>
              <a:buSzPts val="1600"/>
              <a:buChar char="•"/>
              <a:defRPr/>
            </a:lvl6pPr>
            <a:lvl7pPr marL="3200400" lvl="6" indent="-330200" rtl="0">
              <a:spcBef>
                <a:spcPts val="800"/>
              </a:spcBef>
              <a:spcAft>
                <a:spcPts val="0"/>
              </a:spcAft>
              <a:buSzPts val="1600"/>
              <a:buChar char="•"/>
              <a:defRPr/>
            </a:lvl7pPr>
            <a:lvl8pPr marL="3657600" lvl="7" indent="-330200" rtl="0">
              <a:spcBef>
                <a:spcPts val="800"/>
              </a:spcBef>
              <a:spcAft>
                <a:spcPts val="0"/>
              </a:spcAft>
              <a:buSzPts val="1600"/>
              <a:buChar char="•"/>
              <a:defRPr/>
            </a:lvl8pPr>
            <a:lvl9pPr marL="4114800" lvl="8" indent="-330200" rtl="0">
              <a:spcBef>
                <a:spcPts val="800"/>
              </a:spcBef>
              <a:spcAft>
                <a:spcPts val="0"/>
              </a:spcAft>
              <a:buSzPts val="1600"/>
              <a:buChar char="•"/>
              <a:defRPr/>
            </a:lvl9pPr>
          </a:lstStyle>
          <a:p>
            <a:endParaRPr/>
          </a:p>
        </p:txBody>
      </p:sp>
      <p:sp>
        <p:nvSpPr>
          <p:cNvPr id="120" name="Google Shape;120;p16"/>
          <p:cNvSpPr txBox="1">
            <a:spLocks noGrp="1"/>
          </p:cNvSpPr>
          <p:nvPr>
            <p:ph type="sldNum" idx="12"/>
          </p:nvPr>
        </p:nvSpPr>
        <p:spPr>
          <a:xfrm>
            <a:off x="11409033" y="6434934"/>
            <a:ext cx="731700" cy="423300"/>
          </a:xfrm>
          <a:prstGeom prst="rect">
            <a:avLst/>
          </a:prstGeom>
        </p:spPr>
        <p:txBody>
          <a:bodyPr spcFirstLastPara="1" wrap="square" lIns="91425" tIns="45700" rIns="91425" bIns="45700"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t>‹#›</a:t>
            </a:fld>
            <a:endParaRPr/>
          </a:p>
        </p:txBody>
      </p:sp>
      <p:sp>
        <p:nvSpPr>
          <p:cNvPr id="121" name="Google Shape;121;p16"/>
          <p:cNvSpPr/>
          <p:nvPr/>
        </p:nvSpPr>
        <p:spPr>
          <a:xfrm>
            <a:off x="-38100" y="5929033"/>
            <a:ext cx="12255194" cy="949970"/>
          </a:xfrm>
          <a:custGeom>
            <a:avLst/>
            <a:gdLst/>
            <a:ahLst/>
            <a:cxnLst/>
            <a:rect l="l" t="t" r="r" b="b"/>
            <a:pathLst>
              <a:path w="367665" h="41339" extrusionOk="0">
                <a:moveTo>
                  <a:pt x="381" y="381"/>
                </a:moveTo>
                <a:lnTo>
                  <a:pt x="16574" y="16383"/>
                </a:lnTo>
                <a:lnTo>
                  <a:pt x="31623" y="7430"/>
                </a:lnTo>
                <a:lnTo>
                  <a:pt x="62484" y="7239"/>
                </a:lnTo>
                <a:lnTo>
                  <a:pt x="77724" y="0"/>
                </a:lnTo>
                <a:lnTo>
                  <a:pt x="92964" y="19622"/>
                </a:lnTo>
                <a:lnTo>
                  <a:pt x="108014" y="30861"/>
                </a:lnTo>
                <a:lnTo>
                  <a:pt x="123063" y="30671"/>
                </a:lnTo>
                <a:lnTo>
                  <a:pt x="139065" y="15050"/>
                </a:lnTo>
                <a:lnTo>
                  <a:pt x="154115" y="11430"/>
                </a:lnTo>
                <a:lnTo>
                  <a:pt x="168783" y="3408"/>
                </a:lnTo>
                <a:lnTo>
                  <a:pt x="184404" y="21527"/>
                </a:lnTo>
                <a:lnTo>
                  <a:pt x="199644" y="22155"/>
                </a:lnTo>
                <a:lnTo>
                  <a:pt x="214694" y="36386"/>
                </a:lnTo>
                <a:lnTo>
                  <a:pt x="230124" y="36386"/>
                </a:lnTo>
                <a:lnTo>
                  <a:pt x="246126" y="29147"/>
                </a:lnTo>
                <a:lnTo>
                  <a:pt x="261176" y="29147"/>
                </a:lnTo>
                <a:lnTo>
                  <a:pt x="275463" y="16574"/>
                </a:lnTo>
                <a:lnTo>
                  <a:pt x="291656" y="24384"/>
                </a:lnTo>
                <a:lnTo>
                  <a:pt x="305943" y="11811"/>
                </a:lnTo>
                <a:lnTo>
                  <a:pt x="336804" y="11621"/>
                </a:lnTo>
                <a:lnTo>
                  <a:pt x="351854" y="16383"/>
                </a:lnTo>
                <a:lnTo>
                  <a:pt x="367665" y="4001"/>
                </a:lnTo>
                <a:lnTo>
                  <a:pt x="367284" y="41339"/>
                </a:lnTo>
                <a:lnTo>
                  <a:pt x="0" y="41339"/>
                </a:lnTo>
                <a:close/>
              </a:path>
            </a:pathLst>
          </a:custGeom>
          <a:solidFill>
            <a:schemeClr val="accent3"/>
          </a:solidFill>
          <a:ln>
            <a:noFill/>
          </a:ln>
        </p:spPr>
      </p:sp>
      <p:sp>
        <p:nvSpPr>
          <p:cNvPr id="122" name="Google Shape;122;p16"/>
          <p:cNvSpPr/>
          <p:nvPr/>
        </p:nvSpPr>
        <p:spPr>
          <a:xfrm>
            <a:off x="-38100" y="6104148"/>
            <a:ext cx="12255194" cy="779252"/>
          </a:xfrm>
          <a:custGeom>
            <a:avLst/>
            <a:gdLst/>
            <a:ahLst/>
            <a:cxnLst/>
            <a:rect l="l" t="t" r="r" b="b"/>
            <a:pathLst>
              <a:path w="367665" h="33910" extrusionOk="0">
                <a:moveTo>
                  <a:pt x="381" y="8001"/>
                </a:moveTo>
                <a:lnTo>
                  <a:pt x="16764" y="16266"/>
                </a:lnTo>
                <a:lnTo>
                  <a:pt x="47244" y="16266"/>
                </a:lnTo>
                <a:lnTo>
                  <a:pt x="62484" y="9925"/>
                </a:lnTo>
                <a:lnTo>
                  <a:pt x="77724" y="23434"/>
                </a:lnTo>
                <a:lnTo>
                  <a:pt x="92964" y="23434"/>
                </a:lnTo>
                <a:lnTo>
                  <a:pt x="107442" y="16266"/>
                </a:lnTo>
                <a:lnTo>
                  <a:pt x="122682" y="11855"/>
                </a:lnTo>
                <a:lnTo>
                  <a:pt x="138684" y="11855"/>
                </a:lnTo>
                <a:lnTo>
                  <a:pt x="153924" y="15714"/>
                </a:lnTo>
                <a:lnTo>
                  <a:pt x="168783" y="11028"/>
                </a:lnTo>
                <a:lnTo>
                  <a:pt x="184023" y="18471"/>
                </a:lnTo>
                <a:lnTo>
                  <a:pt x="199644" y="29775"/>
                </a:lnTo>
                <a:lnTo>
                  <a:pt x="214122" y="22055"/>
                </a:lnTo>
                <a:lnTo>
                  <a:pt x="229743" y="22055"/>
                </a:lnTo>
                <a:lnTo>
                  <a:pt x="245364" y="8546"/>
                </a:lnTo>
                <a:lnTo>
                  <a:pt x="260604" y="16266"/>
                </a:lnTo>
                <a:lnTo>
                  <a:pt x="275844" y="16266"/>
                </a:lnTo>
                <a:lnTo>
                  <a:pt x="291084" y="9925"/>
                </a:lnTo>
                <a:lnTo>
                  <a:pt x="321564" y="9925"/>
                </a:lnTo>
                <a:lnTo>
                  <a:pt x="336804" y="23158"/>
                </a:lnTo>
                <a:lnTo>
                  <a:pt x="351282" y="18471"/>
                </a:lnTo>
                <a:lnTo>
                  <a:pt x="367665" y="0"/>
                </a:lnTo>
                <a:lnTo>
                  <a:pt x="367665" y="33910"/>
                </a:lnTo>
                <a:lnTo>
                  <a:pt x="0" y="33910"/>
                </a:lnTo>
                <a:close/>
              </a:path>
            </a:pathLst>
          </a:custGeom>
          <a:solidFill>
            <a:srgbClr val="E63946">
              <a:alpha val="60340"/>
            </a:srgbClr>
          </a:solidFill>
          <a:ln>
            <a:noFill/>
          </a:ln>
        </p:spPr>
      </p:sp>
      <p:sp>
        <p:nvSpPr>
          <p:cNvPr id="123" name="Google Shape;123;p16"/>
          <p:cNvSpPr/>
          <p:nvPr/>
        </p:nvSpPr>
        <p:spPr>
          <a:xfrm rot="8100000">
            <a:off x="2464145" y="5670696"/>
            <a:ext cx="163342" cy="163342"/>
          </a:xfrm>
          <a:prstGeom prst="teardrop">
            <a:avLst>
              <a:gd name="adj" fmla="val 100000"/>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24" name="Google Shape;124;p16"/>
          <p:cNvSpPr/>
          <p:nvPr/>
        </p:nvSpPr>
        <p:spPr>
          <a:xfrm rot="8100000">
            <a:off x="8052145" y="6049162"/>
            <a:ext cx="163342" cy="163342"/>
          </a:xfrm>
          <a:prstGeom prst="teardrop">
            <a:avLst>
              <a:gd name="adj" fmla="val 100000"/>
            </a:avLst>
          </a:prstGeom>
          <a:noFill/>
          <a:ln w="2857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25" name="Google Shape;125;p16"/>
          <p:cNvSpPr/>
          <p:nvPr/>
        </p:nvSpPr>
        <p:spPr>
          <a:xfrm rot="8100000">
            <a:off x="9576145" y="6093629"/>
            <a:ext cx="163342" cy="163342"/>
          </a:xfrm>
          <a:prstGeom prst="teardrop">
            <a:avLst>
              <a:gd name="adj" fmla="val 100000"/>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nvGrpSpPr>
          <p:cNvPr id="126" name="Google Shape;126;p16"/>
          <p:cNvGrpSpPr/>
          <p:nvPr/>
        </p:nvGrpSpPr>
        <p:grpSpPr>
          <a:xfrm>
            <a:off x="-12700" y="5949818"/>
            <a:ext cx="12223461" cy="793713"/>
            <a:chOff x="-9525" y="4462475"/>
            <a:chExt cx="9167825" cy="595300"/>
          </a:xfrm>
        </p:grpSpPr>
        <p:sp>
          <p:nvSpPr>
            <p:cNvPr id="127" name="Google Shape;127;p16"/>
            <p:cNvSpPr/>
            <p:nvPr/>
          </p:nvSpPr>
          <p:spPr>
            <a:xfrm>
              <a:off x="-9525" y="4581525"/>
              <a:ext cx="4205300" cy="476250"/>
            </a:xfrm>
            <a:custGeom>
              <a:avLst/>
              <a:gdLst/>
              <a:ahLst/>
              <a:cxnLst/>
              <a:rect l="l" t="t" r="r" b="b"/>
              <a:pathLst>
                <a:path w="168212" h="19050" extrusionOk="0">
                  <a:moveTo>
                    <a:pt x="0" y="1715"/>
                  </a:moveTo>
                  <a:lnTo>
                    <a:pt x="15812" y="16574"/>
                  </a:lnTo>
                  <a:lnTo>
                    <a:pt x="31052" y="16574"/>
                  </a:lnTo>
                  <a:lnTo>
                    <a:pt x="46292" y="14097"/>
                  </a:lnTo>
                  <a:lnTo>
                    <a:pt x="61532" y="19050"/>
                  </a:lnTo>
                  <a:lnTo>
                    <a:pt x="76581" y="11240"/>
                  </a:lnTo>
                  <a:lnTo>
                    <a:pt x="92012" y="11240"/>
                  </a:lnTo>
                  <a:lnTo>
                    <a:pt x="106871" y="0"/>
                  </a:lnTo>
                  <a:lnTo>
                    <a:pt x="122111" y="2667"/>
                  </a:lnTo>
                  <a:lnTo>
                    <a:pt x="137541" y="2667"/>
                  </a:lnTo>
                  <a:lnTo>
                    <a:pt x="152972" y="16002"/>
                  </a:lnTo>
                  <a:lnTo>
                    <a:pt x="168212" y="16002"/>
                  </a:lnTo>
                </a:path>
              </a:pathLst>
            </a:custGeom>
            <a:noFill/>
            <a:ln w="9525" cap="flat" cmpd="sng">
              <a:solidFill>
                <a:schemeClr val="accent1"/>
              </a:solidFill>
              <a:prstDash val="solid"/>
              <a:round/>
              <a:headEnd type="none" w="med" len="med"/>
              <a:tailEnd type="none" w="med" len="med"/>
            </a:ln>
          </p:spPr>
        </p:sp>
        <p:sp>
          <p:nvSpPr>
            <p:cNvPr id="128" name="Google Shape;128;p16"/>
            <p:cNvSpPr/>
            <p:nvPr/>
          </p:nvSpPr>
          <p:spPr>
            <a:xfrm>
              <a:off x="4195775" y="4462475"/>
              <a:ext cx="3424225" cy="590550"/>
            </a:xfrm>
            <a:custGeom>
              <a:avLst/>
              <a:gdLst/>
              <a:ahLst/>
              <a:cxnLst/>
              <a:rect l="l" t="t" r="r" b="b"/>
              <a:pathLst>
                <a:path w="136969" h="23622" extrusionOk="0">
                  <a:moveTo>
                    <a:pt x="0" y="20955"/>
                  </a:moveTo>
                  <a:lnTo>
                    <a:pt x="15049" y="9144"/>
                  </a:lnTo>
                  <a:lnTo>
                    <a:pt x="30480" y="4381"/>
                  </a:lnTo>
                  <a:lnTo>
                    <a:pt x="45720" y="13716"/>
                  </a:lnTo>
                  <a:lnTo>
                    <a:pt x="60769" y="13716"/>
                  </a:lnTo>
                  <a:lnTo>
                    <a:pt x="76009" y="16573"/>
                  </a:lnTo>
                  <a:lnTo>
                    <a:pt x="91249" y="11811"/>
                  </a:lnTo>
                  <a:lnTo>
                    <a:pt x="106680" y="23622"/>
                  </a:lnTo>
                  <a:lnTo>
                    <a:pt x="122110" y="23622"/>
                  </a:lnTo>
                  <a:lnTo>
                    <a:pt x="136969" y="0"/>
                  </a:lnTo>
                </a:path>
              </a:pathLst>
            </a:custGeom>
            <a:noFill/>
            <a:ln w="9525" cap="flat" cmpd="sng">
              <a:solidFill>
                <a:schemeClr val="accent1"/>
              </a:solidFill>
              <a:prstDash val="solid"/>
              <a:round/>
              <a:headEnd type="none" w="med" len="med"/>
              <a:tailEnd type="none" w="med" len="med"/>
            </a:ln>
          </p:spPr>
        </p:sp>
        <p:sp>
          <p:nvSpPr>
            <p:cNvPr id="129" name="Google Shape;129;p16"/>
            <p:cNvSpPr/>
            <p:nvPr/>
          </p:nvSpPr>
          <p:spPr>
            <a:xfrm>
              <a:off x="7624775" y="4472000"/>
              <a:ext cx="1533525" cy="414325"/>
            </a:xfrm>
            <a:custGeom>
              <a:avLst/>
              <a:gdLst/>
              <a:ahLst/>
              <a:cxnLst/>
              <a:rect l="l" t="t" r="r" b="b"/>
              <a:pathLst>
                <a:path w="61341" h="16573" extrusionOk="0">
                  <a:moveTo>
                    <a:pt x="0" y="0"/>
                  </a:moveTo>
                  <a:lnTo>
                    <a:pt x="15049" y="4762"/>
                  </a:lnTo>
                  <a:lnTo>
                    <a:pt x="30670" y="4762"/>
                  </a:lnTo>
                  <a:lnTo>
                    <a:pt x="45910" y="4762"/>
                  </a:lnTo>
                  <a:lnTo>
                    <a:pt x="61341" y="16573"/>
                  </a:lnTo>
                </a:path>
              </a:pathLst>
            </a:custGeom>
            <a:noFill/>
            <a:ln w="9525" cap="flat" cmpd="sng">
              <a:solidFill>
                <a:schemeClr val="accent1"/>
              </a:solidFill>
              <a:prstDash val="solid"/>
              <a:round/>
              <a:headEnd type="none" w="med" len="med"/>
              <a:tailEnd type="none" w="med" len="med"/>
            </a:ln>
          </p:spPr>
        </p:sp>
      </p:grpSp>
      <p:grpSp>
        <p:nvGrpSpPr>
          <p:cNvPr id="130" name="Google Shape;130;p16"/>
          <p:cNvGrpSpPr/>
          <p:nvPr/>
        </p:nvGrpSpPr>
        <p:grpSpPr>
          <a:xfrm>
            <a:off x="-57115" y="5924502"/>
            <a:ext cx="12305792" cy="857029"/>
            <a:chOff x="-42837" y="4443488"/>
            <a:chExt cx="9229575" cy="642788"/>
          </a:xfrm>
        </p:grpSpPr>
        <p:sp>
          <p:nvSpPr>
            <p:cNvPr id="131" name="Google Shape;131;p16"/>
            <p:cNvSpPr/>
            <p:nvPr/>
          </p:nvSpPr>
          <p:spPr>
            <a:xfrm>
              <a:off x="1114450" y="490068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2" name="Google Shape;132;p16"/>
            <p:cNvSpPr/>
            <p:nvPr/>
          </p:nvSpPr>
          <p:spPr>
            <a:xfrm>
              <a:off x="1495450" y="5029275"/>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3" name="Google Shape;133;p16"/>
            <p:cNvSpPr/>
            <p:nvPr/>
          </p:nvSpPr>
          <p:spPr>
            <a:xfrm>
              <a:off x="733450" y="4972125"/>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4" name="Google Shape;134;p16"/>
            <p:cNvSpPr/>
            <p:nvPr/>
          </p:nvSpPr>
          <p:spPr>
            <a:xfrm>
              <a:off x="352450" y="496260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5" name="Google Shape;135;p16"/>
            <p:cNvSpPr/>
            <p:nvPr/>
          </p:nvSpPr>
          <p:spPr>
            <a:xfrm>
              <a:off x="-42837" y="46054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6" name="Google Shape;136;p16"/>
            <p:cNvSpPr/>
            <p:nvPr/>
          </p:nvSpPr>
          <p:spPr>
            <a:xfrm>
              <a:off x="1876450" y="48340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7" name="Google Shape;137;p16"/>
            <p:cNvSpPr/>
            <p:nvPr/>
          </p:nvSpPr>
          <p:spPr>
            <a:xfrm>
              <a:off x="2257450" y="482925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8" name="Google Shape;138;p16"/>
            <p:cNvSpPr/>
            <p:nvPr/>
          </p:nvSpPr>
          <p:spPr>
            <a:xfrm>
              <a:off x="2638450" y="454826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9" name="Google Shape;139;p16"/>
            <p:cNvSpPr/>
            <p:nvPr/>
          </p:nvSpPr>
          <p:spPr>
            <a:xfrm>
              <a:off x="3019450" y="461493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0" name="Google Shape;140;p16"/>
            <p:cNvSpPr/>
            <p:nvPr/>
          </p:nvSpPr>
          <p:spPr>
            <a:xfrm>
              <a:off x="3400450" y="461493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1" name="Google Shape;141;p16"/>
            <p:cNvSpPr/>
            <p:nvPr/>
          </p:nvSpPr>
          <p:spPr>
            <a:xfrm>
              <a:off x="3781450" y="49483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2" name="Google Shape;142;p16"/>
            <p:cNvSpPr/>
            <p:nvPr/>
          </p:nvSpPr>
          <p:spPr>
            <a:xfrm>
              <a:off x="4162450" y="49483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3" name="Google Shape;143;p16"/>
            <p:cNvSpPr/>
            <p:nvPr/>
          </p:nvSpPr>
          <p:spPr>
            <a:xfrm>
              <a:off x="4543450" y="4667325"/>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4" name="Google Shape;144;p16"/>
            <p:cNvSpPr/>
            <p:nvPr/>
          </p:nvSpPr>
          <p:spPr>
            <a:xfrm>
              <a:off x="4924450" y="454350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5" name="Google Shape;145;p16"/>
            <p:cNvSpPr/>
            <p:nvPr/>
          </p:nvSpPr>
          <p:spPr>
            <a:xfrm>
              <a:off x="5305450" y="477210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6" name="Google Shape;146;p16"/>
            <p:cNvSpPr/>
            <p:nvPr/>
          </p:nvSpPr>
          <p:spPr>
            <a:xfrm>
              <a:off x="5686450" y="477210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7" name="Google Shape;147;p16"/>
            <p:cNvSpPr/>
            <p:nvPr/>
          </p:nvSpPr>
          <p:spPr>
            <a:xfrm>
              <a:off x="6067450" y="484830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8" name="Google Shape;148;p16"/>
            <p:cNvSpPr/>
            <p:nvPr/>
          </p:nvSpPr>
          <p:spPr>
            <a:xfrm>
              <a:off x="6448450" y="472923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9" name="Google Shape;149;p16"/>
            <p:cNvSpPr/>
            <p:nvPr/>
          </p:nvSpPr>
          <p:spPr>
            <a:xfrm>
              <a:off x="6829450" y="50245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0" name="Google Shape;150;p16"/>
            <p:cNvSpPr/>
            <p:nvPr/>
          </p:nvSpPr>
          <p:spPr>
            <a:xfrm>
              <a:off x="7210450" y="5024513"/>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1" name="Google Shape;151;p16"/>
            <p:cNvSpPr/>
            <p:nvPr/>
          </p:nvSpPr>
          <p:spPr>
            <a:xfrm>
              <a:off x="7591450" y="444348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2" name="Google Shape;152;p16"/>
            <p:cNvSpPr/>
            <p:nvPr/>
          </p:nvSpPr>
          <p:spPr>
            <a:xfrm>
              <a:off x="7972450" y="455778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3" name="Google Shape;153;p16"/>
            <p:cNvSpPr/>
            <p:nvPr/>
          </p:nvSpPr>
          <p:spPr>
            <a:xfrm>
              <a:off x="8353450" y="455778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4" name="Google Shape;154;p16"/>
            <p:cNvSpPr/>
            <p:nvPr/>
          </p:nvSpPr>
          <p:spPr>
            <a:xfrm>
              <a:off x="8734450" y="4557788"/>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5" name="Google Shape;155;p16"/>
            <p:cNvSpPr/>
            <p:nvPr/>
          </p:nvSpPr>
          <p:spPr>
            <a:xfrm>
              <a:off x="9129738" y="4867350"/>
              <a:ext cx="57000" cy="57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sp>
        <p:nvSpPr>
          <p:cNvPr id="156" name="Google Shape;156;p16"/>
          <p:cNvSpPr/>
          <p:nvPr/>
        </p:nvSpPr>
        <p:spPr>
          <a:xfrm>
            <a:off x="3987600" y="6114933"/>
            <a:ext cx="152700" cy="152700"/>
          </a:xfrm>
          <a:prstGeom prst="ellipse">
            <a:avLst/>
          </a:prstGeom>
          <a:noFill/>
          <a:ln w="9525"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7" name="Google Shape;157;p16"/>
          <p:cNvSpPr/>
          <p:nvPr/>
        </p:nvSpPr>
        <p:spPr>
          <a:xfrm>
            <a:off x="1447600" y="6495933"/>
            <a:ext cx="152700" cy="152700"/>
          </a:xfrm>
          <a:prstGeom prst="ellipse">
            <a:avLst/>
          </a:prstGeom>
          <a:noFill/>
          <a:ln w="9525" cap="flat" cmpd="sng">
            <a:solidFill>
              <a:schemeClr val="l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58" name="Google Shape;158;p16"/>
          <p:cNvSpPr/>
          <p:nvPr/>
        </p:nvSpPr>
        <p:spPr>
          <a:xfrm rot="8100000">
            <a:off x="11600103" y="5772296"/>
            <a:ext cx="163342" cy="163342"/>
          </a:xfrm>
          <a:prstGeom prst="teardrop">
            <a:avLst>
              <a:gd name="adj" fmla="val 100000"/>
            </a:avLst>
          </a:prstGeom>
          <a:solidFill>
            <a:schemeClr val="accent1"/>
          </a:solidFill>
          <a:ln w="2857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37743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199" y="678935"/>
            <a:ext cx="10515600" cy="695375"/>
          </a:xfrm>
          <a:prstGeom prst="rect">
            <a:avLst/>
          </a:prstGeom>
        </p:spPr>
        <p:txBody>
          <a:bodyPr/>
          <a:lstStyle>
            <a:lvl1pPr>
              <a:defRPr>
                <a:solidFill>
                  <a:schemeClr val="accent4"/>
                </a:solidFill>
              </a:defRPr>
            </a:lvl1pPr>
          </a:lstStyle>
          <a:p>
            <a:r>
              <a:rPr lang="en-US"/>
              <a:t>Click to edit Master title style</a:t>
            </a:r>
            <a:endParaRPr lang="en-US" dirty="0"/>
          </a:p>
        </p:txBody>
      </p:sp>
      <p:sp>
        <p:nvSpPr>
          <p:cNvPr id="3" name="Content Placeholder 2"/>
          <p:cNvSpPr>
            <a:spLocks noGrp="1"/>
          </p:cNvSpPr>
          <p:nvPr>
            <p:ph idx="1" hasCustomPrompt="1"/>
          </p:nvPr>
        </p:nvSpPr>
        <p:spPr>
          <a:xfrm>
            <a:off x="838199" y="1540043"/>
            <a:ext cx="10515599" cy="4636920"/>
          </a:xfrm>
        </p:spPr>
        <p:txBody>
          <a:bodyPr numCol="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1267BF92-073C-4ECE-B084-A7F2B13135E2}" type="slidenum">
              <a:rPr lang="en-US" smtClean="0"/>
              <a:t>‹#›</a:t>
            </a:fld>
            <a:endParaRPr lang="en-US"/>
          </a:p>
        </p:txBody>
      </p:sp>
      <p:sp>
        <p:nvSpPr>
          <p:cNvPr id="7" name="Footer Placeholder 6"/>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2142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81038"/>
            <a:ext cx="10515600" cy="695376"/>
          </a:xfrm>
          <a:prstGeom prst="rect">
            <a:avLst/>
          </a:prstGeom>
        </p:spPr>
        <p:txBody>
          <a:bodyPr/>
          <a:lstStyle>
            <a:lvl1pPr>
              <a:defRPr>
                <a:solidFill>
                  <a:schemeClr val="accent4"/>
                </a:solidFill>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1267BF92-073C-4ECE-B084-A7F2B13135E2}" type="slidenum">
              <a:rPr lang="en-US" smtClean="0"/>
              <a:t>‹#›</a:t>
            </a:fld>
            <a:endParaRPr lang="en-US"/>
          </a:p>
        </p:txBody>
      </p:sp>
      <p:sp>
        <p:nvSpPr>
          <p:cNvPr id="8" name="Footer Placeholder 7"/>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82552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1267BF92-073C-4ECE-B084-A7F2B13135E2}" type="slidenum">
              <a:rPr lang="en-US" smtClean="0"/>
              <a:t>‹#›</a:t>
            </a:fld>
            <a:endParaRPr lang="en-US"/>
          </a:p>
        </p:txBody>
      </p:sp>
      <p:sp>
        <p:nvSpPr>
          <p:cNvPr id="10" name="Title 1">
            <a:extLst>
              <a:ext uri="{FF2B5EF4-FFF2-40B4-BE49-F238E27FC236}">
                <a16:creationId xmlns:a16="http://schemas.microsoft.com/office/drawing/2014/main" id="{AE90AE2A-268E-8642-BAE4-91ED199F0339}"/>
              </a:ext>
            </a:extLst>
          </p:cNvPr>
          <p:cNvSpPr>
            <a:spLocks noGrp="1"/>
          </p:cNvSpPr>
          <p:nvPr>
            <p:ph type="title"/>
          </p:nvPr>
        </p:nvSpPr>
        <p:spPr>
          <a:xfrm>
            <a:off x="838199" y="681038"/>
            <a:ext cx="10515600" cy="695375"/>
          </a:xfrm>
          <a:prstGeom prst="rect">
            <a:avLst/>
          </a:prstGeom>
        </p:spPr>
        <p:txBody>
          <a:bodyPr/>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3939264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9EC988B-6470-D247-B4D5-A57CF22BF7D7}"/>
              </a:ext>
            </a:extLst>
          </p:cNvPr>
          <p:cNvSpPr/>
          <p:nvPr userDrawn="1"/>
        </p:nvSpPr>
        <p:spPr>
          <a:xfrm>
            <a:off x="838200" y="1687776"/>
            <a:ext cx="5112257" cy="2133600"/>
          </a:xfrm>
          <a:prstGeom prst="rect">
            <a:avLst/>
          </a:prstGeom>
          <a:noFill/>
          <a:ln w="349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B74E0D-1658-DE4D-A7E9-53D49F8F376A}"/>
              </a:ext>
            </a:extLst>
          </p:cNvPr>
          <p:cNvSpPr/>
          <p:nvPr userDrawn="1"/>
        </p:nvSpPr>
        <p:spPr>
          <a:xfrm>
            <a:off x="6241542" y="1687776"/>
            <a:ext cx="5112257" cy="2133600"/>
          </a:xfrm>
          <a:prstGeom prst="rect">
            <a:avLst/>
          </a:prstGeom>
          <a:noFill/>
          <a:ln w="349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03E2C34-446B-2A49-8867-428ECEDA0D01}"/>
              </a:ext>
            </a:extLst>
          </p:cNvPr>
          <p:cNvSpPr/>
          <p:nvPr userDrawn="1"/>
        </p:nvSpPr>
        <p:spPr>
          <a:xfrm>
            <a:off x="838200" y="4085273"/>
            <a:ext cx="5112257" cy="2133600"/>
          </a:xfrm>
          <a:prstGeom prst="rect">
            <a:avLst/>
          </a:prstGeom>
          <a:noFill/>
          <a:ln w="349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3D768CA-36D1-7F4C-99E8-563E5BAFEBFB}"/>
              </a:ext>
            </a:extLst>
          </p:cNvPr>
          <p:cNvSpPr/>
          <p:nvPr userDrawn="1"/>
        </p:nvSpPr>
        <p:spPr>
          <a:xfrm>
            <a:off x="6241542" y="4085273"/>
            <a:ext cx="5112257" cy="2133600"/>
          </a:xfrm>
          <a:prstGeom prst="rect">
            <a:avLst/>
          </a:prstGeom>
          <a:noFill/>
          <a:ln w="349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C98FB592-77E2-2D40-930B-8F7FE2032FBC}"/>
              </a:ext>
            </a:extLst>
          </p:cNvPr>
          <p:cNvSpPr>
            <a:spLocks noGrp="1"/>
          </p:cNvSpPr>
          <p:nvPr>
            <p:ph type="title"/>
          </p:nvPr>
        </p:nvSpPr>
        <p:spPr>
          <a:xfrm>
            <a:off x="838199" y="681038"/>
            <a:ext cx="10515600" cy="695375"/>
          </a:xfrm>
          <a:prstGeom prst="rect">
            <a:avLst/>
          </a:prstGeom>
        </p:spPr>
        <p:txBody>
          <a:bodyPr/>
          <a:lstStyle>
            <a:lvl1pPr>
              <a:defRPr>
                <a:solidFill>
                  <a:schemeClr val="accent4"/>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786F1DA5-44F6-1248-8CE8-A8F8E0B39E8A}"/>
              </a:ext>
            </a:extLst>
          </p:cNvPr>
          <p:cNvSpPr>
            <a:spLocks noGrp="1"/>
          </p:cNvSpPr>
          <p:nvPr>
            <p:ph type="body" sz="quarter" idx="21"/>
          </p:nvPr>
        </p:nvSpPr>
        <p:spPr>
          <a:xfrm>
            <a:off x="1003610" y="4225176"/>
            <a:ext cx="4839629" cy="1841088"/>
          </a:xfrm>
        </p:spPr>
        <p:txBody>
          <a:bodyPr/>
          <a:lstStyle>
            <a:lvl1pPr marL="0" indent="0">
              <a:buNone/>
              <a:defRPr b="1" i="0">
                <a:solidFill>
                  <a:schemeClr val="accent4"/>
                </a:solidFill>
                <a:latin typeface="Source Sans Pro" panose="020B0503030403020204" pitchFamily="34" charset="0"/>
                <a:ea typeface="Source Sans Pro" panose="020B0503030403020204" pitchFamily="34" charset="0"/>
              </a:defRPr>
            </a:lvl1pPr>
            <a:lvl2pPr marL="0" indent="0">
              <a:buNone/>
              <a:defRPr sz="2000"/>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p:txBody>
      </p:sp>
      <p:sp>
        <p:nvSpPr>
          <p:cNvPr id="21" name="Text Placeholder 19">
            <a:extLst>
              <a:ext uri="{FF2B5EF4-FFF2-40B4-BE49-F238E27FC236}">
                <a16:creationId xmlns:a16="http://schemas.microsoft.com/office/drawing/2014/main" id="{6BA9E8FE-0295-604B-BCCD-DBD920C493DB}"/>
              </a:ext>
            </a:extLst>
          </p:cNvPr>
          <p:cNvSpPr>
            <a:spLocks noGrp="1"/>
          </p:cNvSpPr>
          <p:nvPr>
            <p:ph type="body" sz="quarter" idx="22"/>
          </p:nvPr>
        </p:nvSpPr>
        <p:spPr>
          <a:xfrm>
            <a:off x="1003610" y="1810299"/>
            <a:ext cx="4839629" cy="1841088"/>
          </a:xfrm>
        </p:spPr>
        <p:txBody>
          <a:bodyPr/>
          <a:lstStyle>
            <a:lvl1pPr marL="0" indent="0">
              <a:buNone/>
              <a:defRPr b="1" i="0">
                <a:solidFill>
                  <a:schemeClr val="accent4"/>
                </a:solidFill>
                <a:latin typeface="Source Sans Pro" panose="020B0503030403020204" pitchFamily="34" charset="0"/>
                <a:ea typeface="Source Sans Pro" panose="020B0503030403020204" pitchFamily="34" charset="0"/>
              </a:defRPr>
            </a:lvl1pPr>
            <a:lvl2pPr marL="0" indent="0">
              <a:buNone/>
              <a:defRPr sz="2000"/>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p:txBody>
      </p:sp>
      <p:sp>
        <p:nvSpPr>
          <p:cNvPr id="22" name="Text Placeholder 19">
            <a:extLst>
              <a:ext uri="{FF2B5EF4-FFF2-40B4-BE49-F238E27FC236}">
                <a16:creationId xmlns:a16="http://schemas.microsoft.com/office/drawing/2014/main" id="{24727B97-8C80-A34D-8422-037DB58AFC0E}"/>
              </a:ext>
            </a:extLst>
          </p:cNvPr>
          <p:cNvSpPr>
            <a:spLocks noGrp="1"/>
          </p:cNvSpPr>
          <p:nvPr>
            <p:ph type="body" sz="quarter" idx="23"/>
          </p:nvPr>
        </p:nvSpPr>
        <p:spPr>
          <a:xfrm>
            <a:off x="6377855" y="1834032"/>
            <a:ext cx="4839629" cy="1841088"/>
          </a:xfrm>
        </p:spPr>
        <p:txBody>
          <a:bodyPr/>
          <a:lstStyle>
            <a:lvl1pPr marL="0" indent="0">
              <a:buNone/>
              <a:defRPr b="1" i="0">
                <a:solidFill>
                  <a:schemeClr val="accent4"/>
                </a:solidFill>
                <a:latin typeface="Source Sans Pro" panose="020B0503030403020204" pitchFamily="34" charset="0"/>
                <a:ea typeface="Source Sans Pro" panose="020B0503030403020204" pitchFamily="34" charset="0"/>
              </a:defRPr>
            </a:lvl1pPr>
            <a:lvl2pPr marL="0" indent="0">
              <a:buNone/>
              <a:defRPr sz="2000"/>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p:txBody>
      </p:sp>
      <p:sp>
        <p:nvSpPr>
          <p:cNvPr id="23" name="Text Placeholder 19">
            <a:extLst>
              <a:ext uri="{FF2B5EF4-FFF2-40B4-BE49-F238E27FC236}">
                <a16:creationId xmlns:a16="http://schemas.microsoft.com/office/drawing/2014/main" id="{3589A02F-E898-7F48-9CC7-4E68598D7C54}"/>
              </a:ext>
            </a:extLst>
          </p:cNvPr>
          <p:cNvSpPr>
            <a:spLocks noGrp="1"/>
          </p:cNvSpPr>
          <p:nvPr>
            <p:ph type="body" sz="quarter" idx="24"/>
          </p:nvPr>
        </p:nvSpPr>
        <p:spPr>
          <a:xfrm>
            <a:off x="6377855" y="4249680"/>
            <a:ext cx="4839629" cy="1841088"/>
          </a:xfrm>
        </p:spPr>
        <p:txBody>
          <a:bodyPr/>
          <a:lstStyle>
            <a:lvl1pPr marL="0" indent="0">
              <a:buNone/>
              <a:defRPr b="1" i="0">
                <a:solidFill>
                  <a:schemeClr val="accent4"/>
                </a:solidFill>
                <a:latin typeface="Source Sans Pro" panose="020B0503030403020204" pitchFamily="34" charset="0"/>
                <a:ea typeface="Source Sans Pro" panose="020B0503030403020204" pitchFamily="34" charset="0"/>
              </a:defRPr>
            </a:lvl1pPr>
            <a:lvl2pPr marL="0" indent="0">
              <a:buNone/>
              <a:defRPr sz="2000"/>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p:txBody>
      </p:sp>
      <p:sp>
        <p:nvSpPr>
          <p:cNvPr id="6" name="Date Placeholder 5"/>
          <p:cNvSpPr>
            <a:spLocks noGrp="1"/>
          </p:cNvSpPr>
          <p:nvPr>
            <p:ph type="dt" sz="half" idx="25"/>
          </p:nvPr>
        </p:nvSpPr>
        <p:spPr/>
        <p:txBody>
          <a:bodyPr/>
          <a:lstStyle/>
          <a:p>
            <a:endParaRPr lang="en-US"/>
          </a:p>
        </p:txBody>
      </p:sp>
      <p:sp>
        <p:nvSpPr>
          <p:cNvPr id="7" name="Footer Placeholder 6"/>
          <p:cNvSpPr>
            <a:spLocks noGrp="1"/>
          </p:cNvSpPr>
          <p:nvPr>
            <p:ph type="ftr" sz="quarter" idx="26"/>
          </p:nvPr>
        </p:nvSpPr>
        <p:spPr/>
        <p:txBody>
          <a:bodyPr/>
          <a:lstStyle/>
          <a:p>
            <a:endParaRPr lang="en-US" dirty="0"/>
          </a:p>
        </p:txBody>
      </p:sp>
      <p:sp>
        <p:nvSpPr>
          <p:cNvPr id="9" name="Slide Number Placeholder 8"/>
          <p:cNvSpPr>
            <a:spLocks noGrp="1"/>
          </p:cNvSpPr>
          <p:nvPr>
            <p:ph type="sldNum" sz="quarter" idx="27"/>
          </p:nvPr>
        </p:nvSpPr>
        <p:spPr/>
        <p:txBody>
          <a:bodyPr/>
          <a:lstStyle/>
          <a:p>
            <a:fld id="{1267BF92-073C-4ECE-B084-A7F2B13135E2}" type="slidenum">
              <a:rPr lang="en-US" smtClean="0"/>
              <a:pPr/>
              <a:t>‹#›</a:t>
            </a:fld>
            <a:endParaRPr lang="en-US" dirty="0"/>
          </a:p>
        </p:txBody>
      </p:sp>
    </p:spTree>
    <p:extLst>
      <p:ext uri="{BB962C8B-B14F-4D97-AF65-F5344CB8AC3E}">
        <p14:creationId xmlns:p14="http://schemas.microsoft.com/office/powerpoint/2010/main" val="3568690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5" name="Content Placeholder 6">
            <a:extLst>
              <a:ext uri="{FF2B5EF4-FFF2-40B4-BE49-F238E27FC236}">
                <a16:creationId xmlns:a16="http://schemas.microsoft.com/office/drawing/2014/main" id="{C5B48D20-DD2C-D54C-A433-4C95F37CB96B}"/>
              </a:ext>
            </a:extLst>
          </p:cNvPr>
          <p:cNvSpPr>
            <a:spLocks noGrp="1"/>
          </p:cNvSpPr>
          <p:nvPr>
            <p:ph sz="quarter" idx="13"/>
          </p:nvPr>
        </p:nvSpPr>
        <p:spPr>
          <a:xfrm>
            <a:off x="838199" y="4121819"/>
            <a:ext cx="3175000" cy="2052735"/>
          </a:xfrm>
        </p:spPr>
        <p:txBody>
          <a:bodyPr numCol="1">
            <a:normAutofit/>
          </a:bodyPr>
          <a:lstStyle>
            <a:lvl1pPr marL="0" indent="0" algn="ctr">
              <a:buFont typeface="Arial" panose="020B0604020202020204" pitchFamily="34" charset="0"/>
              <a:buNone/>
              <a:defRPr sz="2000" b="0" i="0">
                <a:solidFill>
                  <a:schemeClr val="bg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6" name="Text Placeholder 16">
            <a:extLst>
              <a:ext uri="{FF2B5EF4-FFF2-40B4-BE49-F238E27FC236}">
                <a16:creationId xmlns:a16="http://schemas.microsoft.com/office/drawing/2014/main" id="{AF5D9ACD-1B2E-9A4F-A6BC-033923CE21C3}"/>
              </a:ext>
            </a:extLst>
          </p:cNvPr>
          <p:cNvSpPr>
            <a:spLocks noGrp="1"/>
          </p:cNvSpPr>
          <p:nvPr>
            <p:ph type="body" sz="quarter" idx="14" hasCustomPrompt="1"/>
          </p:nvPr>
        </p:nvSpPr>
        <p:spPr>
          <a:xfrm>
            <a:off x="838199" y="3368222"/>
            <a:ext cx="3175000" cy="573905"/>
          </a:xfrm>
          <a:noFill/>
        </p:spPr>
        <p:txBody>
          <a:bodyPr anchor="b"/>
          <a:lstStyle>
            <a:lvl1pPr marL="0" indent="0" algn="ctr">
              <a:buNone/>
              <a:defRPr b="1" i="0">
                <a:solidFill>
                  <a:schemeClr val="bg1"/>
                </a:solidFill>
                <a:latin typeface="Source Sans Pro" panose="020B0503030403020204" pitchFamily="34" charset="0"/>
                <a:ea typeface="Source Sans Pro" panose="020B0503030403020204" pitchFamily="34" charset="0"/>
              </a:defRPr>
            </a:lvl1pPr>
          </a:lstStyle>
          <a:p>
            <a:pPr lvl="0"/>
            <a:r>
              <a:rPr lang="en-US" dirty="0"/>
              <a:t>Image title</a:t>
            </a:r>
          </a:p>
        </p:txBody>
      </p:sp>
      <p:sp>
        <p:nvSpPr>
          <p:cNvPr id="7" name="Picture Placeholder 4">
            <a:extLst>
              <a:ext uri="{FF2B5EF4-FFF2-40B4-BE49-F238E27FC236}">
                <a16:creationId xmlns:a16="http://schemas.microsoft.com/office/drawing/2014/main" id="{C6343D27-A5B7-9246-B3C1-C57F72DF6B93}"/>
              </a:ext>
            </a:extLst>
          </p:cNvPr>
          <p:cNvSpPr>
            <a:spLocks noGrp="1"/>
          </p:cNvSpPr>
          <p:nvPr>
            <p:ph type="pic" sz="quarter" idx="15"/>
          </p:nvPr>
        </p:nvSpPr>
        <p:spPr>
          <a:xfrm>
            <a:off x="838199" y="812800"/>
            <a:ext cx="3175000" cy="2464373"/>
          </a:xfrm>
        </p:spPr>
        <p:txBody>
          <a:bodyPr/>
          <a:lstStyle/>
          <a:p>
            <a:r>
              <a:rPr lang="en-US"/>
              <a:t>Click icon to add picture</a:t>
            </a:r>
          </a:p>
        </p:txBody>
      </p:sp>
      <p:sp>
        <p:nvSpPr>
          <p:cNvPr id="8" name="Content Placeholder 6">
            <a:extLst>
              <a:ext uri="{FF2B5EF4-FFF2-40B4-BE49-F238E27FC236}">
                <a16:creationId xmlns:a16="http://schemas.microsoft.com/office/drawing/2014/main" id="{2D7C692D-7550-3B48-9274-11229A7DE0BC}"/>
              </a:ext>
            </a:extLst>
          </p:cNvPr>
          <p:cNvSpPr>
            <a:spLocks noGrp="1"/>
          </p:cNvSpPr>
          <p:nvPr>
            <p:ph sz="quarter" idx="16"/>
          </p:nvPr>
        </p:nvSpPr>
        <p:spPr>
          <a:xfrm>
            <a:off x="4508500" y="4131685"/>
            <a:ext cx="3175000" cy="2052736"/>
          </a:xfrm>
        </p:spPr>
        <p:txBody>
          <a:bodyPr numCol="1">
            <a:normAutofit/>
          </a:bodyPr>
          <a:lstStyle>
            <a:lvl1pPr marL="0" indent="0" algn="ctr">
              <a:buFont typeface="Arial" panose="020B0604020202020204" pitchFamily="34" charset="0"/>
              <a:buNone/>
              <a:defRPr sz="2000" b="0" i="0">
                <a:solidFill>
                  <a:schemeClr val="bg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9" name="Content Placeholder 6">
            <a:extLst>
              <a:ext uri="{FF2B5EF4-FFF2-40B4-BE49-F238E27FC236}">
                <a16:creationId xmlns:a16="http://schemas.microsoft.com/office/drawing/2014/main" id="{1FD820EE-664D-A140-80A4-63B6700BAE4F}"/>
              </a:ext>
            </a:extLst>
          </p:cNvPr>
          <p:cNvSpPr>
            <a:spLocks noGrp="1"/>
          </p:cNvSpPr>
          <p:nvPr>
            <p:ph sz="quarter" idx="17"/>
          </p:nvPr>
        </p:nvSpPr>
        <p:spPr>
          <a:xfrm>
            <a:off x="8178799" y="4121819"/>
            <a:ext cx="3175000" cy="2052736"/>
          </a:xfrm>
        </p:spPr>
        <p:txBody>
          <a:bodyPr numCol="1">
            <a:normAutofit/>
          </a:bodyPr>
          <a:lstStyle>
            <a:lvl1pPr marL="0" indent="0" algn="ctr">
              <a:buFont typeface="Arial" panose="020B0604020202020204" pitchFamily="34" charset="0"/>
              <a:buNone/>
              <a:defRPr sz="2000" b="0" i="0">
                <a:solidFill>
                  <a:schemeClr val="bg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10" name="Text Placeholder 16">
            <a:extLst>
              <a:ext uri="{FF2B5EF4-FFF2-40B4-BE49-F238E27FC236}">
                <a16:creationId xmlns:a16="http://schemas.microsoft.com/office/drawing/2014/main" id="{ADAC136C-316A-DA4A-A30C-762FB0DA75DB}"/>
              </a:ext>
            </a:extLst>
          </p:cNvPr>
          <p:cNvSpPr>
            <a:spLocks noGrp="1"/>
          </p:cNvSpPr>
          <p:nvPr>
            <p:ph type="body" sz="quarter" idx="18" hasCustomPrompt="1"/>
          </p:nvPr>
        </p:nvSpPr>
        <p:spPr>
          <a:xfrm>
            <a:off x="4508500" y="3378088"/>
            <a:ext cx="3175000" cy="573905"/>
          </a:xfrm>
          <a:noFill/>
        </p:spPr>
        <p:txBody>
          <a:bodyPr anchor="b"/>
          <a:lstStyle>
            <a:lvl1pPr marL="0" indent="0" algn="ctr">
              <a:buNone/>
              <a:defRPr b="1" i="0">
                <a:solidFill>
                  <a:schemeClr val="bg1"/>
                </a:solidFill>
                <a:latin typeface="Source Sans Pro" panose="020B0503030403020204" pitchFamily="34" charset="0"/>
                <a:ea typeface="Source Sans Pro" panose="020B0503030403020204" pitchFamily="34" charset="0"/>
              </a:defRPr>
            </a:lvl1pPr>
          </a:lstStyle>
          <a:p>
            <a:pPr lvl="0"/>
            <a:r>
              <a:rPr lang="en-US" dirty="0"/>
              <a:t>Image title</a:t>
            </a:r>
          </a:p>
        </p:txBody>
      </p:sp>
      <p:sp>
        <p:nvSpPr>
          <p:cNvPr id="11" name="Picture Placeholder 4">
            <a:extLst>
              <a:ext uri="{FF2B5EF4-FFF2-40B4-BE49-F238E27FC236}">
                <a16:creationId xmlns:a16="http://schemas.microsoft.com/office/drawing/2014/main" id="{E8D0F40D-CB9E-1843-A730-057166D81D53}"/>
              </a:ext>
            </a:extLst>
          </p:cNvPr>
          <p:cNvSpPr>
            <a:spLocks noGrp="1"/>
          </p:cNvSpPr>
          <p:nvPr>
            <p:ph type="pic" sz="quarter" idx="19"/>
          </p:nvPr>
        </p:nvSpPr>
        <p:spPr>
          <a:xfrm>
            <a:off x="4508500" y="822666"/>
            <a:ext cx="3175000" cy="2464373"/>
          </a:xfrm>
        </p:spPr>
        <p:txBody>
          <a:bodyPr/>
          <a:lstStyle/>
          <a:p>
            <a:r>
              <a:rPr lang="en-US"/>
              <a:t>Click icon to add picture</a:t>
            </a:r>
          </a:p>
        </p:txBody>
      </p:sp>
      <p:sp>
        <p:nvSpPr>
          <p:cNvPr id="12" name="Text Placeholder 16">
            <a:extLst>
              <a:ext uri="{FF2B5EF4-FFF2-40B4-BE49-F238E27FC236}">
                <a16:creationId xmlns:a16="http://schemas.microsoft.com/office/drawing/2014/main" id="{9087E294-959F-8743-9BAA-CE14410F1F21}"/>
              </a:ext>
            </a:extLst>
          </p:cNvPr>
          <p:cNvSpPr>
            <a:spLocks noGrp="1"/>
          </p:cNvSpPr>
          <p:nvPr>
            <p:ph type="body" sz="quarter" idx="20" hasCustomPrompt="1"/>
          </p:nvPr>
        </p:nvSpPr>
        <p:spPr>
          <a:xfrm>
            <a:off x="8178799" y="3368222"/>
            <a:ext cx="3175000" cy="573905"/>
          </a:xfrm>
          <a:noFill/>
        </p:spPr>
        <p:txBody>
          <a:bodyPr anchor="b"/>
          <a:lstStyle>
            <a:lvl1pPr marL="0" indent="0" algn="ctr">
              <a:buNone/>
              <a:defRPr b="1" i="0">
                <a:solidFill>
                  <a:schemeClr val="bg1"/>
                </a:solidFill>
                <a:latin typeface="Source Sans Pro" panose="020B0503030403020204" pitchFamily="34" charset="0"/>
                <a:ea typeface="Source Sans Pro" panose="020B0503030403020204" pitchFamily="34" charset="0"/>
              </a:defRPr>
            </a:lvl1pPr>
          </a:lstStyle>
          <a:p>
            <a:pPr lvl="0"/>
            <a:r>
              <a:rPr lang="en-US" dirty="0"/>
              <a:t>Image title</a:t>
            </a:r>
          </a:p>
        </p:txBody>
      </p:sp>
      <p:sp>
        <p:nvSpPr>
          <p:cNvPr id="13" name="Picture Placeholder 4">
            <a:extLst>
              <a:ext uri="{FF2B5EF4-FFF2-40B4-BE49-F238E27FC236}">
                <a16:creationId xmlns:a16="http://schemas.microsoft.com/office/drawing/2014/main" id="{5855E86E-EC22-4241-8F46-CA7738493BB5}"/>
              </a:ext>
            </a:extLst>
          </p:cNvPr>
          <p:cNvSpPr>
            <a:spLocks noGrp="1"/>
          </p:cNvSpPr>
          <p:nvPr>
            <p:ph type="pic" sz="quarter" idx="21"/>
          </p:nvPr>
        </p:nvSpPr>
        <p:spPr>
          <a:xfrm>
            <a:off x="8178799" y="812800"/>
            <a:ext cx="3175000" cy="2464373"/>
          </a:xfrm>
        </p:spPr>
        <p:txBody>
          <a:bodyPr/>
          <a:lstStyle/>
          <a:p>
            <a:r>
              <a:rPr lang="en-US"/>
              <a:t>Click icon to add picture</a:t>
            </a:r>
          </a:p>
        </p:txBody>
      </p:sp>
      <p:sp>
        <p:nvSpPr>
          <p:cNvPr id="15" name="Date Placeholder 14"/>
          <p:cNvSpPr>
            <a:spLocks noGrp="1"/>
          </p:cNvSpPr>
          <p:nvPr>
            <p:ph type="dt" sz="half" idx="22"/>
          </p:nvPr>
        </p:nvSpPr>
        <p:spPr/>
        <p:txBody>
          <a:bodyPr/>
          <a:lstStyle/>
          <a:p>
            <a:endParaRPr lang="en-US"/>
          </a:p>
        </p:txBody>
      </p:sp>
      <p:sp>
        <p:nvSpPr>
          <p:cNvPr id="16" name="Footer Placeholder 15"/>
          <p:cNvSpPr>
            <a:spLocks noGrp="1"/>
          </p:cNvSpPr>
          <p:nvPr>
            <p:ph type="ftr" sz="quarter" idx="23"/>
          </p:nvPr>
        </p:nvSpPr>
        <p:spPr>
          <a:solidFill>
            <a:schemeClr val="bg1"/>
          </a:solidFill>
          <a:ln>
            <a:solidFill>
              <a:schemeClr val="tx1"/>
            </a:solidFill>
          </a:ln>
        </p:spPr>
        <p:txBody>
          <a:bodyPr/>
          <a:lstStyle/>
          <a:p>
            <a:endParaRPr lang="en-US" dirty="0"/>
          </a:p>
        </p:txBody>
      </p:sp>
      <p:sp>
        <p:nvSpPr>
          <p:cNvPr id="17" name="Slide Number Placeholder 16"/>
          <p:cNvSpPr>
            <a:spLocks noGrp="1"/>
          </p:cNvSpPr>
          <p:nvPr>
            <p:ph type="sldNum" sz="quarter" idx="24"/>
          </p:nvPr>
        </p:nvSpPr>
        <p:spPr/>
        <p:txBody>
          <a:bodyPr/>
          <a:lstStyle/>
          <a:p>
            <a:fld id="{1267BF92-073C-4ECE-B084-A7F2B13135E2}" type="slidenum">
              <a:rPr lang="en-US" smtClean="0"/>
              <a:pPr/>
              <a:t>‹#›</a:t>
            </a:fld>
            <a:endParaRPr lang="en-US" dirty="0"/>
          </a:p>
        </p:txBody>
      </p:sp>
    </p:spTree>
    <p:extLst>
      <p:ext uri="{BB962C8B-B14F-4D97-AF65-F5344CB8AC3E}">
        <p14:creationId xmlns:p14="http://schemas.microsoft.com/office/powerpoint/2010/main" val="693830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1267BF92-073C-4ECE-B084-A7F2B13135E2}" type="slidenum">
              <a:rPr lang="en-US" smtClean="0"/>
              <a:t>‹#›</a:t>
            </a:fld>
            <a:endParaRPr lang="en-US"/>
          </a:p>
        </p:txBody>
      </p:sp>
      <p:sp>
        <p:nvSpPr>
          <p:cNvPr id="8" name="Title 1">
            <a:extLst>
              <a:ext uri="{FF2B5EF4-FFF2-40B4-BE49-F238E27FC236}">
                <a16:creationId xmlns:a16="http://schemas.microsoft.com/office/drawing/2014/main" id="{F36EEFDC-0485-E041-BFC2-C2C0F7699926}"/>
              </a:ext>
            </a:extLst>
          </p:cNvPr>
          <p:cNvSpPr>
            <a:spLocks noGrp="1"/>
          </p:cNvSpPr>
          <p:nvPr>
            <p:ph type="title"/>
          </p:nvPr>
        </p:nvSpPr>
        <p:spPr>
          <a:xfrm>
            <a:off x="838199" y="681038"/>
            <a:ext cx="10515600" cy="695375"/>
          </a:xfrm>
          <a:prstGeom prst="rect">
            <a:avLst/>
          </a:prstGeom>
        </p:spPr>
        <p:txBody>
          <a:bodyPr/>
          <a:lstStyle>
            <a:lvl1pPr>
              <a:defRPr>
                <a:solidFill>
                  <a:schemeClr val="accent4"/>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4E860304-383D-664A-A622-EE46F54D4056}"/>
              </a:ext>
            </a:extLst>
          </p:cNvPr>
          <p:cNvSpPr>
            <a:spLocks noGrp="1"/>
          </p:cNvSpPr>
          <p:nvPr>
            <p:ph sz="quarter" idx="13"/>
          </p:nvPr>
        </p:nvSpPr>
        <p:spPr>
          <a:xfrm>
            <a:off x="838199" y="2336800"/>
            <a:ext cx="10515600" cy="3840160"/>
          </a:xfrm>
        </p:spPr>
        <p:txBody>
          <a:bodyPr numCol="2"/>
          <a:lstStyle>
            <a:lvl1pPr marL="0" indent="0">
              <a:buFont typeface="Arial" panose="020B0604020202020204" pitchFamily="34" charset="0"/>
              <a:buNone/>
              <a:defRPr b="0" i="0">
                <a:solidFill>
                  <a:schemeClr val="tx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10" name="Text Placeholder 16">
            <a:extLst>
              <a:ext uri="{FF2B5EF4-FFF2-40B4-BE49-F238E27FC236}">
                <a16:creationId xmlns:a16="http://schemas.microsoft.com/office/drawing/2014/main" id="{DCB42B82-3F8F-4448-9A06-9589D073824F}"/>
              </a:ext>
            </a:extLst>
          </p:cNvPr>
          <p:cNvSpPr>
            <a:spLocks noGrp="1"/>
          </p:cNvSpPr>
          <p:nvPr>
            <p:ph type="body" sz="quarter" idx="14" hasCustomPrompt="1"/>
          </p:nvPr>
        </p:nvSpPr>
        <p:spPr>
          <a:xfrm>
            <a:off x="838199" y="1412105"/>
            <a:ext cx="10515600" cy="749300"/>
          </a:xfrm>
          <a:noFill/>
        </p:spPr>
        <p:txBody>
          <a:bodyPr/>
          <a:lstStyle>
            <a:lvl1pPr marL="0" indent="0">
              <a:buNone/>
              <a:defRPr b="1" i="0">
                <a:solidFill>
                  <a:schemeClr val="tx1"/>
                </a:solidFill>
                <a:latin typeface="Source Sans Pro" panose="020B0503030403020204" pitchFamily="34" charset="0"/>
                <a:ea typeface="Source Sans Pro" panose="020B0503030403020204" pitchFamily="34" charset="0"/>
              </a:defRPr>
            </a:lvl1pPr>
          </a:lstStyle>
          <a:p>
            <a:pPr lvl="0"/>
            <a:r>
              <a:rPr lang="en-US" dirty="0"/>
              <a:t>Sub heading</a:t>
            </a:r>
          </a:p>
        </p:txBody>
      </p:sp>
      <p:sp>
        <p:nvSpPr>
          <p:cNvPr id="2" name="Footer Placeholder 1"/>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54748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36EEFDC-0485-E041-BFC2-C2C0F7699926}"/>
              </a:ext>
            </a:extLst>
          </p:cNvPr>
          <p:cNvSpPr>
            <a:spLocks noGrp="1"/>
          </p:cNvSpPr>
          <p:nvPr>
            <p:ph type="title"/>
          </p:nvPr>
        </p:nvSpPr>
        <p:spPr>
          <a:xfrm>
            <a:off x="838199" y="681038"/>
            <a:ext cx="8479055" cy="695375"/>
          </a:xfrm>
          <a:prstGeom prst="rect">
            <a:avLst/>
          </a:prstGeom>
        </p:spPr>
        <p:txBody>
          <a:bodyPr/>
          <a:lstStyle>
            <a:lvl1pPr>
              <a:defRPr>
                <a:solidFill>
                  <a:schemeClr val="bg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4E860304-383D-664A-A622-EE46F54D4056}"/>
              </a:ext>
            </a:extLst>
          </p:cNvPr>
          <p:cNvSpPr>
            <a:spLocks noGrp="1"/>
          </p:cNvSpPr>
          <p:nvPr>
            <p:ph sz="quarter" idx="13"/>
          </p:nvPr>
        </p:nvSpPr>
        <p:spPr>
          <a:xfrm>
            <a:off x="838199" y="2336800"/>
            <a:ext cx="10515600" cy="3840160"/>
          </a:xfrm>
        </p:spPr>
        <p:txBody>
          <a:bodyPr numCol="2"/>
          <a:lstStyle>
            <a:lvl1pPr marL="0" indent="0">
              <a:buFont typeface="Arial" panose="020B0604020202020204" pitchFamily="34" charset="0"/>
              <a:buNone/>
              <a:defRPr b="0" i="0">
                <a:solidFill>
                  <a:schemeClr val="bg1"/>
                </a:solidFill>
                <a:latin typeface="Source Sans Pro" panose="020B0503030403020204" pitchFamily="34" charset="0"/>
                <a:ea typeface="Source Sans Pro" panose="020B0503030403020204" pitchFamily="34" charset="0"/>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en-US"/>
              <a:t>Edit Master text styles</a:t>
            </a:r>
          </a:p>
          <a:p>
            <a:pPr lvl="1"/>
            <a:r>
              <a:rPr lang="en-US"/>
              <a:t>Second level</a:t>
            </a:r>
          </a:p>
        </p:txBody>
      </p:sp>
      <p:sp>
        <p:nvSpPr>
          <p:cNvPr id="10" name="Text Placeholder 16">
            <a:extLst>
              <a:ext uri="{FF2B5EF4-FFF2-40B4-BE49-F238E27FC236}">
                <a16:creationId xmlns:a16="http://schemas.microsoft.com/office/drawing/2014/main" id="{DCB42B82-3F8F-4448-9A06-9589D073824F}"/>
              </a:ext>
            </a:extLst>
          </p:cNvPr>
          <p:cNvSpPr>
            <a:spLocks noGrp="1"/>
          </p:cNvSpPr>
          <p:nvPr>
            <p:ph type="body" sz="quarter" idx="14" hasCustomPrompt="1"/>
          </p:nvPr>
        </p:nvSpPr>
        <p:spPr>
          <a:xfrm>
            <a:off x="838199" y="1412105"/>
            <a:ext cx="10515600" cy="749300"/>
          </a:xfrm>
          <a:noFill/>
        </p:spPr>
        <p:txBody>
          <a:bodyPr/>
          <a:lstStyle>
            <a:lvl1pPr marL="0" indent="0">
              <a:buNone/>
              <a:defRPr b="1" i="0">
                <a:solidFill>
                  <a:schemeClr val="bg1"/>
                </a:solidFill>
                <a:latin typeface="Source Sans Pro" panose="020B0503030403020204" pitchFamily="34" charset="0"/>
                <a:ea typeface="Source Sans Pro" panose="020B0503030403020204" pitchFamily="34" charset="0"/>
              </a:defRPr>
            </a:lvl1pPr>
          </a:lstStyle>
          <a:p>
            <a:pPr lvl="0"/>
            <a:r>
              <a:rPr lang="en-US" dirty="0"/>
              <a:t>Sub heading</a:t>
            </a:r>
          </a:p>
        </p:txBody>
      </p:sp>
      <p:sp>
        <p:nvSpPr>
          <p:cNvPr id="3" name="Date Placeholder 2"/>
          <p:cNvSpPr>
            <a:spLocks noGrp="1"/>
          </p:cNvSpPr>
          <p:nvPr>
            <p:ph type="dt" sz="half" idx="15"/>
          </p:nvPr>
        </p:nvSpPr>
        <p:spPr/>
        <p:txBody>
          <a:bodyPr/>
          <a:lstStyle/>
          <a:p>
            <a:endParaRPr lang="en-US"/>
          </a:p>
        </p:txBody>
      </p:sp>
      <p:sp>
        <p:nvSpPr>
          <p:cNvPr id="4" name="Footer Placeholder 3"/>
          <p:cNvSpPr>
            <a:spLocks noGrp="1"/>
          </p:cNvSpPr>
          <p:nvPr>
            <p:ph type="ftr" sz="quarter" idx="16"/>
          </p:nvPr>
        </p:nvSpPr>
        <p:spPr>
          <a:solidFill>
            <a:schemeClr val="bg1"/>
          </a:solidFill>
        </p:spPr>
        <p:txBody>
          <a:bodyPr/>
          <a:lstStyle/>
          <a:p>
            <a:endParaRPr lang="en-US" dirty="0"/>
          </a:p>
        </p:txBody>
      </p:sp>
      <p:sp>
        <p:nvSpPr>
          <p:cNvPr id="11" name="Slide Number Placeholder 10"/>
          <p:cNvSpPr>
            <a:spLocks noGrp="1"/>
          </p:cNvSpPr>
          <p:nvPr>
            <p:ph type="sldNum" sz="quarter" idx="17"/>
          </p:nvPr>
        </p:nvSpPr>
        <p:spPr/>
        <p:txBody>
          <a:bodyPr/>
          <a:lstStyle/>
          <a:p>
            <a:fld id="{1267BF92-073C-4ECE-B084-A7F2B13135E2}" type="slidenum">
              <a:rPr lang="en-US" smtClean="0"/>
              <a:pPr/>
              <a:t>‹#›</a:t>
            </a:fld>
            <a:endParaRPr lang="en-US" dirty="0"/>
          </a:p>
        </p:txBody>
      </p:sp>
    </p:spTree>
    <p:extLst>
      <p:ext uri="{BB962C8B-B14F-4D97-AF65-F5344CB8AC3E}">
        <p14:creationId xmlns:p14="http://schemas.microsoft.com/office/powerpoint/2010/main" val="1487158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99" y="681038"/>
            <a:ext cx="8479055" cy="695375"/>
          </a:xfrm>
          <a:prstGeom prst="rect">
            <a:avLst/>
          </a:prstGeom>
        </p:spPr>
        <p:txBody>
          <a:bodyPr vert="horz" lIns="91440" tIns="45720" rIns="91440" bIns="45720" rtlCol="0" anchor="b" anchorCtr="0">
            <a:normAutofit/>
          </a:bodyPr>
          <a:lstStyle/>
          <a:p>
            <a:r>
              <a:rPr lang="en-US" dirty="0"/>
              <a:t>Sub-section Title</a:t>
            </a:r>
          </a:p>
        </p:txBody>
      </p:sp>
      <p:sp>
        <p:nvSpPr>
          <p:cNvPr id="3" name="Text Placeholder 2"/>
          <p:cNvSpPr>
            <a:spLocks noGrp="1"/>
          </p:cNvSpPr>
          <p:nvPr>
            <p:ph type="body" idx="1"/>
          </p:nvPr>
        </p:nvSpPr>
        <p:spPr>
          <a:xfrm>
            <a:off x="838199" y="1540043"/>
            <a:ext cx="10515599" cy="4636920"/>
          </a:xfrm>
          <a:prstGeom prst="rect">
            <a:avLst/>
          </a:prstGeom>
        </p:spPr>
        <p:txBody>
          <a:bodyPr vert="horz" lIns="91440" tIns="45720" rIns="91440" bIns="45720" numCol="2" rtlCol="0">
            <a:normAutofit/>
          </a:bodyPr>
          <a:lstStyle/>
          <a:p>
            <a:pPr lvl="0"/>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solidFill>
                <a:latin typeface="Source Sans Pro" panose="020B0503030403020204" pitchFamily="34" charset="0"/>
                <a:ea typeface="Source Sans Pro" panose="020B0503030403020204" pitchFamily="34" charset="0"/>
              </a:defRPr>
            </a:lvl1pPr>
          </a:lstStyle>
          <a:p>
            <a:endParaRPr lang="en-US"/>
          </a:p>
        </p:txBody>
      </p:sp>
      <p:sp>
        <p:nvSpPr>
          <p:cNvPr id="6" name="Footer Placeholder 4"/>
          <p:cNvSpPr>
            <a:spLocks noGrp="1"/>
          </p:cNvSpPr>
          <p:nvPr>
            <p:ph type="ftr" sz="quarter" idx="3"/>
          </p:nvPr>
        </p:nvSpPr>
        <p:spPr>
          <a:xfrm>
            <a:off x="9631404" y="6354247"/>
            <a:ext cx="1722395" cy="369332"/>
          </a:xfrm>
          <a:prstGeom prst="rect">
            <a:avLst/>
          </a:prstGeom>
          <a:ln w="12700">
            <a:solidFill>
              <a:schemeClr val="tx1"/>
            </a:solidFill>
          </a:ln>
        </p:spPr>
        <p:txBody>
          <a:bodyPr vert="horz" wrap="none" lIns="182880" tIns="91440" rIns="548640" bIns="91440" rtlCol="0" anchor="ctr">
            <a:spAutoFit/>
          </a:bodyPr>
          <a:lstStyle>
            <a:lvl1pPr algn="r">
              <a:defRPr sz="1200">
                <a:solidFill>
                  <a:schemeClr val="tx1"/>
                </a:solidFill>
              </a:defRPr>
            </a:lvl1pPr>
          </a:lstStyle>
          <a:p>
            <a:endParaRPr lang="en-US" dirty="0"/>
          </a:p>
        </p:txBody>
      </p:sp>
      <p:sp>
        <p:nvSpPr>
          <p:cNvPr id="7" name="Slide Number Placeholder 5"/>
          <p:cNvSpPr>
            <a:spLocks noGrp="1"/>
          </p:cNvSpPr>
          <p:nvPr>
            <p:ph type="sldNum" sz="quarter" idx="4"/>
          </p:nvPr>
        </p:nvSpPr>
        <p:spPr>
          <a:xfrm>
            <a:off x="10956470" y="6356350"/>
            <a:ext cx="397329" cy="365125"/>
          </a:xfrm>
          <a:prstGeom prst="rect">
            <a:avLst/>
          </a:prstGeom>
        </p:spPr>
        <p:txBody>
          <a:bodyPr vert="horz" lIns="91440" tIns="45720" rIns="91440" bIns="45720" rtlCol="0" anchor="ctr"/>
          <a:lstStyle>
            <a:lvl1pPr algn="l">
              <a:defRPr sz="1200">
                <a:solidFill>
                  <a:schemeClr val="tx1"/>
                </a:solidFill>
              </a:defRPr>
            </a:lvl1pPr>
          </a:lstStyle>
          <a:p>
            <a:fld id="{1267BF92-073C-4ECE-B084-A7F2B13135E2}" type="slidenum">
              <a:rPr lang="en-US" smtClean="0"/>
              <a:pPr/>
              <a:t>‹#›</a:t>
            </a:fld>
            <a:endParaRPr lang="en-US" dirty="0"/>
          </a:p>
        </p:txBody>
      </p:sp>
    </p:spTree>
    <p:extLst>
      <p:ext uri="{BB962C8B-B14F-4D97-AF65-F5344CB8AC3E}">
        <p14:creationId xmlns:p14="http://schemas.microsoft.com/office/powerpoint/2010/main" val="24398147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hf hdr="0" ftr="0" dt="0"/>
  <p:txStyles>
    <p:titleStyle>
      <a:lvl1pPr algn="l" defTabSz="914400" rtl="0" eaLnBrk="1" latinLnBrk="0" hangingPunct="1">
        <a:lnSpc>
          <a:spcPct val="90000"/>
        </a:lnSpc>
        <a:spcBef>
          <a:spcPct val="0"/>
        </a:spcBef>
        <a:buNone/>
        <a:defRPr sz="3600" kern="1200" baseline="0">
          <a:solidFill>
            <a:schemeClr val="tx1"/>
          </a:solidFill>
          <a:latin typeface="Merriweather"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0" i="0" kern="1200" baseline="0">
          <a:solidFill>
            <a:schemeClr val="tx1"/>
          </a:solidFill>
          <a:latin typeface="Source Sans Pro" panose="020B0503030403020204" pitchFamily="34" charset="0"/>
          <a:ea typeface="Source Sans Pro" panose="020B050303040302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30.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30.jpeg"/><Relationship Id="rId4" Type="http://schemas.openxmlformats.org/officeDocument/2006/relationships/tags" Target="../tags/tag12.xml"/><Relationship Id="rId9"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jpeg"/><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hyperlink" Target="mailto:Curtiss@CDWG.com" TargetMode="External"/><Relationship Id="rId2" Type="http://schemas.openxmlformats.org/officeDocument/2006/relationships/image" Target="../media/image33.jpg"/><Relationship Id="rId1" Type="http://schemas.openxmlformats.org/officeDocument/2006/relationships/slideLayout" Target="../slideLayouts/slideLayout3.xml"/><Relationship Id="rId5" Type="http://schemas.openxmlformats.org/officeDocument/2006/relationships/hyperlink" Target="mailto:AmyPass@CDW.com" TargetMode="External"/><Relationship Id="rId4" Type="http://schemas.openxmlformats.org/officeDocument/2006/relationships/image" Target="../media/image34.jpg"/></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36.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png"/><Relationship Id="rId7"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6.xml"/><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9.png"/><Relationship Id="rId7" Type="http://schemas.openxmlformats.org/officeDocument/2006/relationships/image" Target="../media/image52.jp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51.jp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8.jpeg"/><Relationship Id="rId9" Type="http://schemas.openxmlformats.org/officeDocument/2006/relationships/image" Target="../media/image54.png"/></Relationships>
</file>

<file path=ppt/slides/_rels/slide3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53.jpg"/><Relationship Id="rId7" Type="http://schemas.openxmlformats.org/officeDocument/2006/relationships/image" Target="../media/image55.png"/><Relationship Id="rId12"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52.jpg"/><Relationship Id="rId10"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51.jpg"/></Relationships>
</file>

<file path=ppt/slides/_rels/slide3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58.png"/><Relationship Id="rId7" Type="http://schemas.openxmlformats.org/officeDocument/2006/relationships/image" Target="../media/image51.jp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55.png"/><Relationship Id="rId5" Type="http://schemas.openxmlformats.org/officeDocument/2006/relationships/image" Target="../media/image52.jpg"/><Relationship Id="rId10" Type="http://schemas.openxmlformats.org/officeDocument/2006/relationships/image" Target="../media/image56.png"/><Relationship Id="rId4" Type="http://schemas.openxmlformats.org/officeDocument/2006/relationships/image" Target="../media/image59.jpg"/><Relationship Id="rId9" Type="http://schemas.openxmlformats.org/officeDocument/2006/relationships/image" Target="../media/image5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9.xml"/><Relationship Id="rId1" Type="http://schemas.openxmlformats.org/officeDocument/2006/relationships/slideLayout" Target="../slideLayouts/slideLayout22.xml"/><Relationship Id="rId4" Type="http://schemas.openxmlformats.org/officeDocument/2006/relationships/image" Target="../media/image64.jpg"/></Relationships>
</file>

<file path=ppt/slides/_rels/slide4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2.xml"/><Relationship Id="rId1" Type="http://schemas.openxmlformats.org/officeDocument/2006/relationships/slideLayout" Target="../slideLayouts/slideLayout22.xml"/><Relationship Id="rId5" Type="http://schemas.openxmlformats.org/officeDocument/2006/relationships/image" Target="../media/image67.png"/><Relationship Id="rId4" Type="http://schemas.openxmlformats.org/officeDocument/2006/relationships/hyperlink" Target="https://creativecommons.org/licenses/by-sa/4.0/" TargetMode="External"/></Relationships>
</file>

<file path=ppt/slides/_rels/slide44.xml.rels><?xml version="1.0" encoding="UTF-8" standalone="yes"?>
<Relationships xmlns="http://schemas.openxmlformats.org/package/2006/relationships"><Relationship Id="rId2" Type="http://schemas.openxmlformats.org/officeDocument/2006/relationships/hyperlink" Target="https://cfefund.org/projects/" TargetMode="Externa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4.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15.xml"/><Relationship Id="rId5" Type="http://schemas.openxmlformats.org/officeDocument/2006/relationships/image" Target="../media/image77.jpeg"/><Relationship Id="rId4" Type="http://schemas.openxmlformats.org/officeDocument/2006/relationships/image" Target="../media/image76.png"/></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15.xml"/><Relationship Id="rId5" Type="http://schemas.openxmlformats.org/officeDocument/2006/relationships/image" Target="../media/image70.pn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image" Target="../media/image80.png"/></Relationships>
</file>

<file path=ppt/slides/_rels/slide53.xml.rels><?xml version="1.0" encoding="UTF-8" standalone="yes"?>
<Relationships xmlns="http://schemas.openxmlformats.org/package/2006/relationships"><Relationship Id="rId3" Type="http://schemas.openxmlformats.org/officeDocument/2006/relationships/hyperlink" Target="https://www.consumerfinance.gov/coronavirus/" TargetMode="External"/><Relationship Id="rId2" Type="http://schemas.openxmlformats.org/officeDocument/2006/relationships/notesSlide" Target="../notesSlides/notesSlide29.xml"/><Relationship Id="rId1" Type="http://schemas.openxmlformats.org/officeDocument/2006/relationships/slideLayout" Target="../slideLayouts/slideLayout23.xml"/><Relationship Id="rId4" Type="http://schemas.openxmlformats.org/officeDocument/2006/relationships/image" Target="../media/image81.png"/></Relationships>
</file>

<file path=ppt/slides/_rels/slide5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www.consumerfinance.gov/your-money-your-goals/" TargetMode="Externa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image" Target="../media/image84.png"/><Relationship Id="rId11" Type="http://schemas.openxmlformats.org/officeDocument/2006/relationships/image" Target="../media/image89.jpe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s>
</file>

<file path=ppt/slides/_rels/slide5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22.xml"/><Relationship Id="rId4" Type="http://schemas.openxmlformats.org/officeDocument/2006/relationships/hyperlink" Target="https://www.consumerfinance.gov/consumer-tools/educator-tools/your-money-your-goals/videos/"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www.consumerfinance.gov/complaint/" TargetMode="External"/><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openxmlformats.org/officeDocument/2006/relationships/image" Target="../media/image92.JPG"/></Relationships>
</file>

<file path=ppt/slides/_rels/slide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22.xml"/><Relationship Id="rId4" Type="http://schemas.openxmlformats.org/officeDocument/2006/relationships/hyperlink" Target="https://www.consumerfinance.gov/ask-cfpb/"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go.usa.gov/xdTgT" TargetMode="External"/><Relationship Id="rId2" Type="http://schemas.openxmlformats.org/officeDocument/2006/relationships/notesSlide" Target="../notesSlides/notesSlide34.xml"/><Relationship Id="rId1" Type="http://schemas.openxmlformats.org/officeDocument/2006/relationships/slideLayout" Target="../slideLayouts/slideLayout25.xml"/><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www.inclusionjunction.org/"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hyperlink" Target="http://www.inclusionjunction.org/" TargetMode="External"/><Relationship Id="rId2" Type="http://schemas.openxmlformats.org/officeDocument/2006/relationships/hyperlink" Target="https://www.digitalequity.us/events/fdic-webinars-2022/" TargetMode="Externa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422031"/>
            <a:ext cx="12191999" cy="3622431"/>
          </a:xfrm>
        </p:spPr>
        <p:txBody>
          <a:bodyPr>
            <a:normAutofit/>
          </a:bodyPr>
          <a:lstStyle/>
          <a:p>
            <a:r>
              <a:rPr lang="en-US" sz="4900" b="1" dirty="0">
                <a:effectLst/>
                <a:latin typeface="+mn-lt"/>
              </a:rPr>
              <a:t>Connecting States’ </a:t>
            </a:r>
            <a:r>
              <a:rPr lang="en-US" sz="4900" b="1" dirty="0">
                <a:latin typeface="+mn-lt"/>
              </a:rPr>
              <a:t>Financial, Economic and </a:t>
            </a:r>
            <a:r>
              <a:rPr lang="en-US" sz="4900" b="1" dirty="0">
                <a:effectLst/>
                <a:latin typeface="+mn-lt"/>
              </a:rPr>
              <a:t>Digital Inclusion Initiatives</a:t>
            </a:r>
            <a:br>
              <a:rPr lang="en-US" sz="2400" b="0" dirty="0">
                <a:effectLst/>
              </a:rPr>
            </a:br>
            <a:r>
              <a:rPr lang="en-US" sz="3100" b="1" i="1" dirty="0">
                <a:latin typeface="+mn-lt"/>
              </a:rPr>
              <a:t>(webinar series)</a:t>
            </a:r>
            <a:br>
              <a:rPr lang="en-US" sz="6000" b="1" dirty="0"/>
            </a:br>
            <a:r>
              <a:rPr lang="en-US" dirty="0"/>
              <a:t> </a:t>
            </a:r>
            <a:br>
              <a:rPr lang="en-US" dirty="0"/>
            </a:br>
            <a:r>
              <a:rPr lang="en-US" sz="3100" b="1" dirty="0"/>
              <a:t>Webinar # 2  </a:t>
            </a:r>
            <a:br>
              <a:rPr lang="en-US" sz="3100" b="1" dirty="0"/>
            </a:br>
            <a:r>
              <a:rPr lang="en-US" sz="4000" b="1" dirty="0">
                <a:latin typeface="Calibri" panose="020F0502020204030204" pitchFamily="34" charset="0"/>
                <a:ea typeface="Calibri" panose="020F0502020204030204" pitchFamily="34" charset="0"/>
                <a:cs typeface="Times New Roman" panose="02020603050405020304" pitchFamily="18" charset="0"/>
              </a:rPr>
              <a:t>Systemic Inclusion Allies and Resources</a:t>
            </a:r>
            <a:endParaRPr lang="en-US" sz="4000" dirty="0"/>
          </a:p>
        </p:txBody>
      </p:sp>
      <p:sp>
        <p:nvSpPr>
          <p:cNvPr id="3" name="Subtitle 2"/>
          <p:cNvSpPr>
            <a:spLocks noGrp="1"/>
          </p:cNvSpPr>
          <p:nvPr>
            <p:ph type="subTitle" idx="1"/>
          </p:nvPr>
        </p:nvSpPr>
        <p:spPr/>
        <p:txBody>
          <a:bodyPr/>
          <a:lstStyle/>
          <a:p>
            <a:r>
              <a:rPr lang="en-US" dirty="0"/>
              <a:t>Monday, October 17, 2022</a:t>
            </a:r>
          </a:p>
          <a:p>
            <a:r>
              <a:rPr lang="en-US" dirty="0"/>
              <a:t>10:00AM (ET) to 11:00AM (ET)</a:t>
            </a:r>
          </a:p>
        </p:txBody>
      </p:sp>
    </p:spTree>
    <p:extLst>
      <p:ext uri="{BB962C8B-B14F-4D97-AF65-F5344CB8AC3E}">
        <p14:creationId xmlns:p14="http://schemas.microsoft.com/office/powerpoint/2010/main" val="2281093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E6AE-E0E9-8E17-A9D0-EE396430867D}"/>
              </a:ext>
            </a:extLst>
          </p:cNvPr>
          <p:cNvSpPr>
            <a:spLocks noGrp="1"/>
          </p:cNvSpPr>
          <p:nvPr>
            <p:ph type="title"/>
          </p:nvPr>
        </p:nvSpPr>
        <p:spPr/>
        <p:txBody>
          <a:bodyPr>
            <a:normAutofit fontScale="90000"/>
          </a:bodyPr>
          <a:lstStyle/>
          <a:p>
            <a:pPr algn="ctr"/>
            <a:r>
              <a:rPr lang="en-US" dirty="0"/>
              <a:t>Digital Equity Supports for Financial Inclusion</a:t>
            </a:r>
          </a:p>
        </p:txBody>
      </p:sp>
      <p:sp>
        <p:nvSpPr>
          <p:cNvPr id="4" name="Slide Number Placeholder 3">
            <a:extLst>
              <a:ext uri="{FF2B5EF4-FFF2-40B4-BE49-F238E27FC236}">
                <a16:creationId xmlns:a16="http://schemas.microsoft.com/office/drawing/2014/main" id="{D6B045F3-93AC-8929-2B66-3B2F9972F52E}"/>
              </a:ext>
            </a:extLst>
          </p:cNvPr>
          <p:cNvSpPr>
            <a:spLocks noGrp="1"/>
          </p:cNvSpPr>
          <p:nvPr>
            <p:ph type="sldNum" sz="quarter" idx="12"/>
          </p:nvPr>
        </p:nvSpPr>
        <p:spPr/>
        <p:txBody>
          <a:bodyPr/>
          <a:lstStyle/>
          <a:p>
            <a:fld id="{1267BF92-073C-4ECE-B084-A7F2B13135E2}" type="slidenum">
              <a:rPr lang="en-US" smtClean="0"/>
              <a:t>10</a:t>
            </a:fld>
            <a:endParaRPr lang="en-US"/>
          </a:p>
        </p:txBody>
      </p:sp>
      <p:pic>
        <p:nvPicPr>
          <p:cNvPr id="7" name="Content Placeholder 6" descr="Diagram, text&#10;&#10;Description automatically generated">
            <a:extLst>
              <a:ext uri="{FF2B5EF4-FFF2-40B4-BE49-F238E27FC236}">
                <a16:creationId xmlns:a16="http://schemas.microsoft.com/office/drawing/2014/main" id="{1FD81A07-F68C-913E-5CC7-33C6FF8F02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31304" y="1539875"/>
            <a:ext cx="5929391" cy="4637088"/>
          </a:xfrm>
        </p:spPr>
      </p:pic>
    </p:spTree>
    <p:extLst>
      <p:ext uri="{BB962C8B-B14F-4D97-AF65-F5344CB8AC3E}">
        <p14:creationId xmlns:p14="http://schemas.microsoft.com/office/powerpoint/2010/main" val="1741047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5227D-B0BF-F31D-E492-3C5386902F29}"/>
              </a:ext>
            </a:extLst>
          </p:cNvPr>
          <p:cNvSpPr>
            <a:spLocks noGrp="1"/>
          </p:cNvSpPr>
          <p:nvPr>
            <p:ph type="title"/>
          </p:nvPr>
        </p:nvSpPr>
        <p:spPr/>
        <p:txBody>
          <a:bodyPr>
            <a:normAutofit fontScale="90000"/>
          </a:bodyPr>
          <a:lstStyle/>
          <a:p>
            <a:pPr algn="ctr"/>
            <a:r>
              <a:rPr lang="en-US" dirty="0"/>
              <a:t>Digital Equity Supports for Economic Inclusion</a:t>
            </a:r>
          </a:p>
        </p:txBody>
      </p:sp>
      <p:sp>
        <p:nvSpPr>
          <p:cNvPr id="4" name="Slide Number Placeholder 3">
            <a:extLst>
              <a:ext uri="{FF2B5EF4-FFF2-40B4-BE49-F238E27FC236}">
                <a16:creationId xmlns:a16="http://schemas.microsoft.com/office/drawing/2014/main" id="{017C819D-549B-A927-59C1-9D097B5B4878}"/>
              </a:ext>
            </a:extLst>
          </p:cNvPr>
          <p:cNvSpPr>
            <a:spLocks noGrp="1"/>
          </p:cNvSpPr>
          <p:nvPr>
            <p:ph type="sldNum" sz="quarter" idx="12"/>
          </p:nvPr>
        </p:nvSpPr>
        <p:spPr/>
        <p:txBody>
          <a:bodyPr/>
          <a:lstStyle/>
          <a:p>
            <a:fld id="{1267BF92-073C-4ECE-B084-A7F2B13135E2}" type="slidenum">
              <a:rPr lang="en-US" smtClean="0"/>
              <a:t>11</a:t>
            </a:fld>
            <a:endParaRPr lang="en-US"/>
          </a:p>
        </p:txBody>
      </p:sp>
      <p:pic>
        <p:nvPicPr>
          <p:cNvPr id="10" name="Content Placeholder 9" descr="Text&#10;&#10;Description automatically generated">
            <a:extLst>
              <a:ext uri="{FF2B5EF4-FFF2-40B4-BE49-F238E27FC236}">
                <a16:creationId xmlns:a16="http://schemas.microsoft.com/office/drawing/2014/main" id="{C37F03A1-2831-3D2C-19D0-B3A101B11FE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95928" y="1319542"/>
            <a:ext cx="7551506" cy="5471676"/>
          </a:xfrm>
        </p:spPr>
      </p:pic>
    </p:spTree>
    <p:extLst>
      <p:ext uri="{BB962C8B-B14F-4D97-AF65-F5344CB8AC3E}">
        <p14:creationId xmlns:p14="http://schemas.microsoft.com/office/powerpoint/2010/main" val="1543790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4C2A1-2651-D0AF-D6E8-88D0EF2D8AD5}"/>
              </a:ext>
            </a:extLst>
          </p:cNvPr>
          <p:cNvSpPr>
            <a:spLocks noGrp="1"/>
          </p:cNvSpPr>
          <p:nvPr>
            <p:ph type="title"/>
          </p:nvPr>
        </p:nvSpPr>
        <p:spPr/>
        <p:txBody>
          <a:bodyPr>
            <a:normAutofit fontScale="90000"/>
          </a:bodyPr>
          <a:lstStyle/>
          <a:p>
            <a:pPr algn="ctr"/>
            <a:r>
              <a:rPr lang="en-US" dirty="0"/>
              <a:t>Digital Equity Supports for Educational Inclusion</a:t>
            </a:r>
          </a:p>
        </p:txBody>
      </p:sp>
      <p:sp>
        <p:nvSpPr>
          <p:cNvPr id="4" name="Slide Number Placeholder 3">
            <a:extLst>
              <a:ext uri="{FF2B5EF4-FFF2-40B4-BE49-F238E27FC236}">
                <a16:creationId xmlns:a16="http://schemas.microsoft.com/office/drawing/2014/main" id="{C3B4805C-EB29-079E-9CD8-E571C3BB4F66}"/>
              </a:ext>
            </a:extLst>
          </p:cNvPr>
          <p:cNvSpPr>
            <a:spLocks noGrp="1"/>
          </p:cNvSpPr>
          <p:nvPr>
            <p:ph type="sldNum" sz="quarter" idx="12"/>
          </p:nvPr>
        </p:nvSpPr>
        <p:spPr/>
        <p:txBody>
          <a:bodyPr/>
          <a:lstStyle/>
          <a:p>
            <a:fld id="{1267BF92-073C-4ECE-B084-A7F2B13135E2}" type="slidenum">
              <a:rPr lang="en-US" smtClean="0"/>
              <a:t>12</a:t>
            </a:fld>
            <a:endParaRPr lang="en-US"/>
          </a:p>
        </p:txBody>
      </p:sp>
      <p:pic>
        <p:nvPicPr>
          <p:cNvPr id="7" name="Content Placeholder 6" descr="Text&#10;&#10;Description automatically generated">
            <a:extLst>
              <a:ext uri="{FF2B5EF4-FFF2-40B4-BE49-F238E27FC236}">
                <a16:creationId xmlns:a16="http://schemas.microsoft.com/office/drawing/2014/main" id="{C2F38F45-A336-2A2B-EAFE-6A99931CF92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77677" y="1539875"/>
            <a:ext cx="6036645" cy="4637088"/>
          </a:xfrm>
        </p:spPr>
      </p:pic>
    </p:spTree>
    <p:extLst>
      <p:ext uri="{BB962C8B-B14F-4D97-AF65-F5344CB8AC3E}">
        <p14:creationId xmlns:p14="http://schemas.microsoft.com/office/powerpoint/2010/main" val="27260106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7404C-2350-19EE-9154-C23A7713DEE8}"/>
              </a:ext>
            </a:extLst>
          </p:cNvPr>
          <p:cNvSpPr>
            <a:spLocks noGrp="1"/>
          </p:cNvSpPr>
          <p:nvPr>
            <p:ph type="title"/>
          </p:nvPr>
        </p:nvSpPr>
        <p:spPr/>
        <p:txBody>
          <a:bodyPr>
            <a:normAutofit fontScale="90000"/>
          </a:bodyPr>
          <a:lstStyle/>
          <a:p>
            <a:pPr algn="ctr"/>
            <a:r>
              <a:rPr lang="en-US" dirty="0"/>
              <a:t>FI, EI &amp; </a:t>
            </a:r>
            <a:r>
              <a:rPr lang="en-US" dirty="0" err="1"/>
              <a:t>EdI</a:t>
            </a:r>
            <a:r>
              <a:rPr lang="en-US" dirty="0"/>
              <a:t> Resources for DE Impact on Poverty</a:t>
            </a:r>
          </a:p>
        </p:txBody>
      </p:sp>
      <p:sp>
        <p:nvSpPr>
          <p:cNvPr id="4" name="Slide Number Placeholder 3">
            <a:extLst>
              <a:ext uri="{FF2B5EF4-FFF2-40B4-BE49-F238E27FC236}">
                <a16:creationId xmlns:a16="http://schemas.microsoft.com/office/drawing/2014/main" id="{1EC6F3AC-E55A-7B74-9CD9-8534E6DD2ACC}"/>
              </a:ext>
            </a:extLst>
          </p:cNvPr>
          <p:cNvSpPr>
            <a:spLocks noGrp="1"/>
          </p:cNvSpPr>
          <p:nvPr>
            <p:ph type="sldNum" sz="quarter" idx="12"/>
          </p:nvPr>
        </p:nvSpPr>
        <p:spPr/>
        <p:txBody>
          <a:bodyPr/>
          <a:lstStyle/>
          <a:p>
            <a:fld id="{1267BF92-073C-4ECE-B084-A7F2B13135E2}" type="slidenum">
              <a:rPr lang="en-US" smtClean="0"/>
              <a:t>13</a:t>
            </a:fld>
            <a:endParaRPr lang="en-US"/>
          </a:p>
        </p:txBody>
      </p:sp>
      <p:pic>
        <p:nvPicPr>
          <p:cNvPr id="18" name="Content Placeholder 17" descr="Diagram&#10;&#10;Description automatically generated">
            <a:extLst>
              <a:ext uri="{FF2B5EF4-FFF2-40B4-BE49-F238E27FC236}">
                <a16:creationId xmlns:a16="http://schemas.microsoft.com/office/drawing/2014/main" id="{09FE1977-3158-06D1-1C06-25D51584F9D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2737" y="1343963"/>
            <a:ext cx="11304253" cy="4700945"/>
          </a:xfrm>
        </p:spPr>
      </p:pic>
    </p:spTree>
    <p:extLst>
      <p:ext uri="{BB962C8B-B14F-4D97-AF65-F5344CB8AC3E}">
        <p14:creationId xmlns:p14="http://schemas.microsoft.com/office/powerpoint/2010/main" val="3662730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4788673"/>
            <a:ext cx="7540442" cy="838694"/>
          </a:xfrm>
        </p:spPr>
        <p:txBody>
          <a:bodyPr>
            <a:normAutofit fontScale="90000"/>
          </a:bodyPr>
          <a:lstStyle/>
          <a:p>
            <a:pPr algn="ctr"/>
            <a:r>
              <a:rPr lang="en-US" sz="3200" dirty="0"/>
              <a:t>Angela Thi Bennett, Director of Digital Equity, NTIA</a:t>
            </a:r>
            <a:br>
              <a:rPr lang="en-US" sz="3200" dirty="0"/>
            </a:br>
            <a:br>
              <a:rPr lang="en-US" sz="3200" dirty="0"/>
            </a:b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14</a:t>
            </a:fld>
            <a:endParaRPr lang="en-US"/>
          </a:p>
        </p:txBody>
      </p:sp>
    </p:spTree>
    <p:extLst>
      <p:ext uri="{BB962C8B-B14F-4D97-AF65-F5344CB8AC3E}">
        <p14:creationId xmlns:p14="http://schemas.microsoft.com/office/powerpoint/2010/main" val="2795843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484DDDE-1A50-4819-AE57-4160804B6859}"/>
              </a:ext>
            </a:extLst>
          </p:cNvPr>
          <p:cNvSpPr>
            <a:spLocks noGrp="1"/>
          </p:cNvSpPr>
          <p:nvPr>
            <p:ph type="ctrTitle"/>
          </p:nvPr>
        </p:nvSpPr>
        <p:spPr>
          <a:xfrm>
            <a:off x="1097280" y="1363533"/>
            <a:ext cx="10058400" cy="2578399"/>
          </a:xfrm>
        </p:spPr>
        <p:txBody>
          <a:bodyPr vert="horz">
            <a:noAutofit/>
          </a:bodyPr>
          <a:lstStyle/>
          <a:p>
            <a:r>
              <a:rPr lang="en-US" sz="5400"/>
              <a:t>Digital equity act Programs</a:t>
            </a:r>
          </a:p>
        </p:txBody>
      </p:sp>
      <p:sp>
        <p:nvSpPr>
          <p:cNvPr id="9" name="Subtitle 8">
            <a:extLst>
              <a:ext uri="{FF2B5EF4-FFF2-40B4-BE49-F238E27FC236}">
                <a16:creationId xmlns:a16="http://schemas.microsoft.com/office/drawing/2014/main" id="{D684182F-9E32-46EB-8446-2893A0D17C70}"/>
              </a:ext>
            </a:extLst>
          </p:cNvPr>
          <p:cNvSpPr>
            <a:spLocks noGrp="1"/>
          </p:cNvSpPr>
          <p:nvPr>
            <p:ph type="subTitle" idx="1"/>
          </p:nvPr>
        </p:nvSpPr>
        <p:spPr>
          <a:xfrm>
            <a:off x="1100051" y="4261973"/>
            <a:ext cx="10058400" cy="702188"/>
          </a:xfrm>
        </p:spPr>
        <p:txBody>
          <a:bodyPr>
            <a:noAutofit/>
          </a:bodyPr>
          <a:lstStyle/>
          <a:p>
            <a:r>
              <a:rPr lang="en-US" sz="1800"/>
              <a:t>Funded by the Bipartisan Infrastructure Law </a:t>
            </a:r>
          </a:p>
          <a:p>
            <a:r>
              <a:rPr lang="en-US" sz="1800"/>
              <a:t>Administered by the Department of Commerce's National Telecommunications and Information Administration</a:t>
            </a:r>
          </a:p>
        </p:txBody>
      </p:sp>
      <p:sp>
        <p:nvSpPr>
          <p:cNvPr id="10" name="Text Placeholder 9">
            <a:extLst>
              <a:ext uri="{FF2B5EF4-FFF2-40B4-BE49-F238E27FC236}">
                <a16:creationId xmlns:a16="http://schemas.microsoft.com/office/drawing/2014/main" id="{4B184E2F-121B-4E54-BE75-B81B418A49AE}"/>
              </a:ext>
            </a:extLst>
          </p:cNvPr>
          <p:cNvSpPr>
            <a:spLocks noGrp="1"/>
          </p:cNvSpPr>
          <p:nvPr>
            <p:ph type="body" sz="quarter" idx="13"/>
          </p:nvPr>
        </p:nvSpPr>
        <p:spPr/>
        <p:txBody>
          <a:bodyPr/>
          <a:lstStyle/>
          <a:p>
            <a:r>
              <a:rPr lang="en-US" sz="1800"/>
              <a:t>May 2022</a:t>
            </a:r>
          </a:p>
        </p:txBody>
      </p:sp>
      <p:pic>
        <p:nvPicPr>
          <p:cNvPr id="5" name="Picture 4" descr="A blue sign with white text&#10;&#10;Description automatically generated with low confidence">
            <a:extLst>
              <a:ext uri="{FF2B5EF4-FFF2-40B4-BE49-F238E27FC236}">
                <a16:creationId xmlns:a16="http://schemas.microsoft.com/office/drawing/2014/main" id="{5BAE2239-715B-4864-8CA3-980C2BCDE2E4}"/>
              </a:ext>
            </a:extLst>
          </p:cNvPr>
          <p:cNvPicPr>
            <a:picLocks noChangeAspect="1"/>
          </p:cNvPicPr>
          <p:nvPr/>
        </p:nvPicPr>
        <p:blipFill>
          <a:blip r:embed="rId3"/>
          <a:stretch>
            <a:fillRect/>
          </a:stretch>
        </p:blipFill>
        <p:spPr>
          <a:xfrm>
            <a:off x="1097280" y="5500765"/>
            <a:ext cx="1234954" cy="617477"/>
          </a:xfrm>
          <a:prstGeom prst="rect">
            <a:avLst/>
          </a:prstGeom>
        </p:spPr>
      </p:pic>
    </p:spTree>
    <p:extLst>
      <p:ext uri="{BB962C8B-B14F-4D97-AF65-F5344CB8AC3E}">
        <p14:creationId xmlns:p14="http://schemas.microsoft.com/office/powerpoint/2010/main" val="1245979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D52712-DD77-4990-B680-14C6764385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1D52712-DD77-4990-B680-14C676438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8" name="Straight Connector 27">
            <a:extLst>
              <a:ext uri="{FF2B5EF4-FFF2-40B4-BE49-F238E27FC236}">
                <a16:creationId xmlns:a16="http://schemas.microsoft.com/office/drawing/2014/main" id="{10926514-8B98-48CE-99BA-21B36F106796}"/>
              </a:ext>
            </a:extLst>
          </p:cNvPr>
          <p:cNvCxnSpPr/>
          <p:nvPr/>
        </p:nvCxnSpPr>
        <p:spPr>
          <a:xfrm>
            <a:off x="7236271"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50BBB11-EB08-4A10-98D3-CA632159D084}"/>
              </a:ext>
            </a:extLst>
          </p:cNvPr>
          <p:cNvSpPr txBox="1"/>
          <p:nvPr/>
        </p:nvSpPr>
        <p:spPr>
          <a:xfrm>
            <a:off x="331930" y="3061688"/>
            <a:ext cx="2011680" cy="30777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42.45B</a:t>
            </a:r>
          </a:p>
        </p:txBody>
      </p:sp>
      <p:sp>
        <p:nvSpPr>
          <p:cNvPr id="19" name="Rectangle 18">
            <a:extLst>
              <a:ext uri="{FF2B5EF4-FFF2-40B4-BE49-F238E27FC236}">
                <a16:creationId xmlns:a16="http://schemas.microsoft.com/office/drawing/2014/main" id="{B15B56F3-76DC-44D3-A199-BCE7E6918BC8}"/>
              </a:ext>
            </a:extLst>
          </p:cNvPr>
          <p:cNvSpPr/>
          <p:nvPr/>
        </p:nvSpPr>
        <p:spPr>
          <a:xfrm>
            <a:off x="280995" y="3492974"/>
            <a:ext cx="2113549" cy="3108543"/>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Broadband Equity, Access &amp; Deployment Program </a:t>
            </a:r>
          </a:p>
          <a:p>
            <a:pPr algn="ctr"/>
            <a:r>
              <a:rPr lang="en-US" sz="1400" b="1" i="1" dirty="0">
                <a:solidFill>
                  <a:schemeClr val="accent4"/>
                </a:solidFill>
                <a:latin typeface="Arial" panose="020B0604020202020204" pitchFamily="34" charset="0"/>
                <a:cs typeface="Arial" panose="020B0604020202020204" pitchFamily="34" charset="0"/>
              </a:rPr>
              <a:t> </a:t>
            </a:r>
          </a:p>
          <a:p>
            <a:pPr algn="ctr"/>
            <a:r>
              <a:rPr lang="en-US" sz="1400" dirty="0">
                <a:solidFill>
                  <a:schemeClr val="bg2">
                    <a:lumMod val="25000"/>
                  </a:schemeClr>
                </a:solidFill>
                <a:latin typeface="+mj-lt"/>
                <a:cs typeface="Arial" panose="020B0604020202020204" pitchFamily="34" charset="0"/>
              </a:rPr>
              <a:t>A program to get all Americans online by funding partnerships between states or territories, communities, and stakeholders to build infrastructure where we need it to and increase adoption of high-speed Internet.</a:t>
            </a:r>
          </a:p>
        </p:txBody>
      </p:sp>
      <p:cxnSp>
        <p:nvCxnSpPr>
          <p:cNvPr id="23" name="Straight Connector 22">
            <a:extLst>
              <a:ext uri="{FF2B5EF4-FFF2-40B4-BE49-F238E27FC236}">
                <a16:creationId xmlns:a16="http://schemas.microsoft.com/office/drawing/2014/main" id="{090EE34E-29E1-4663-A219-8E270F33200F}"/>
              </a:ext>
            </a:extLst>
          </p:cNvPr>
          <p:cNvCxnSpPr>
            <a:cxnSpLocks/>
          </p:cNvCxnSpPr>
          <p:nvPr/>
        </p:nvCxnSpPr>
        <p:spPr>
          <a:xfrm>
            <a:off x="331930" y="2916804"/>
            <a:ext cx="201168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5B71623-F605-4865-B506-ADE23F3694F3}"/>
              </a:ext>
            </a:extLst>
          </p:cNvPr>
          <p:cNvSpPr txBox="1"/>
          <p:nvPr/>
        </p:nvSpPr>
        <p:spPr>
          <a:xfrm>
            <a:off x="331930" y="2389150"/>
            <a:ext cx="2011680" cy="307777"/>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BEAD</a:t>
            </a:r>
          </a:p>
        </p:txBody>
      </p:sp>
      <p:sp>
        <p:nvSpPr>
          <p:cNvPr id="17" name="TextBox 16">
            <a:extLst>
              <a:ext uri="{FF2B5EF4-FFF2-40B4-BE49-F238E27FC236}">
                <a16:creationId xmlns:a16="http://schemas.microsoft.com/office/drawing/2014/main" id="{AAFA354E-41D7-4A1C-BE96-BC040F959521}"/>
              </a:ext>
            </a:extLst>
          </p:cNvPr>
          <p:cNvSpPr txBox="1"/>
          <p:nvPr/>
        </p:nvSpPr>
        <p:spPr>
          <a:xfrm>
            <a:off x="2663856" y="3047943"/>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2.75B</a:t>
            </a:r>
          </a:p>
        </p:txBody>
      </p:sp>
      <p:sp>
        <p:nvSpPr>
          <p:cNvPr id="21" name="Rectangle 20">
            <a:extLst>
              <a:ext uri="{FF2B5EF4-FFF2-40B4-BE49-F238E27FC236}">
                <a16:creationId xmlns:a16="http://schemas.microsoft.com/office/drawing/2014/main" id="{9188152E-EAB9-4762-8E64-C00169A762FE}"/>
              </a:ext>
            </a:extLst>
          </p:cNvPr>
          <p:cNvSpPr/>
          <p:nvPr/>
        </p:nvSpPr>
        <p:spPr>
          <a:xfrm>
            <a:off x="2567202" y="3492974"/>
            <a:ext cx="2113549" cy="2893100"/>
          </a:xfrm>
          <a:prstGeom prst="rect">
            <a:avLst/>
          </a:prstGeom>
          <a:noFill/>
          <a:extLst>
            <a:ext uri="{909E8E84-426E-40DD-AFC4-6F175D3DCCD1}">
              <a14:hiddenFill xmlns:a14="http://schemas.microsoft.com/office/drawing/2010/main">
                <a:solidFill>
                  <a:srgbClr val="245795"/>
                </a:solidFill>
              </a14:hiddenFill>
            </a:ext>
          </a:extLst>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Digital Equity Act</a:t>
            </a:r>
          </a:p>
          <a:p>
            <a:pPr algn="ctr"/>
            <a:endParaRPr lang="en-US" sz="1400" dirty="0">
              <a:solidFill>
                <a:schemeClr val="bg2">
                  <a:lumMod val="25000"/>
                </a:schemeClr>
              </a:solidFill>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chemeClr val="bg2">
                    <a:lumMod val="25000"/>
                  </a:schemeClr>
                </a:solidFill>
                <a:latin typeface="+mj-lt"/>
                <a:cs typeface="Arial" panose="020B0604020202020204" pitchFamily="34" charset="0"/>
              </a:rPr>
              <a:t>Three programs that provide funding to promote digital inclusion and advance equity for all. They aim to ensure that all communities can access and use affordable, reliable high-speed Internet to meet their needs and improve their lives. </a:t>
            </a:r>
          </a:p>
        </p:txBody>
      </p:sp>
      <p:cxnSp>
        <p:nvCxnSpPr>
          <p:cNvPr id="26" name="Straight Connector 25">
            <a:extLst>
              <a:ext uri="{FF2B5EF4-FFF2-40B4-BE49-F238E27FC236}">
                <a16:creationId xmlns:a16="http://schemas.microsoft.com/office/drawing/2014/main" id="{86BB0E32-B382-49FF-B007-D0FE8701765B}"/>
              </a:ext>
            </a:extLst>
          </p:cNvPr>
          <p:cNvCxnSpPr/>
          <p:nvPr/>
        </p:nvCxnSpPr>
        <p:spPr>
          <a:xfrm>
            <a:off x="2663856"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667E73F-2877-44DD-A3C9-A9815F0C0410}"/>
              </a:ext>
            </a:extLst>
          </p:cNvPr>
          <p:cNvSpPr txBox="1"/>
          <p:nvPr/>
        </p:nvSpPr>
        <p:spPr>
          <a:xfrm>
            <a:off x="2663856" y="2235262"/>
            <a:ext cx="1920240" cy="615553"/>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DIGITAL </a:t>
            </a:r>
            <a:br>
              <a:rPr lang="en-US" sz="2000" dirty="0">
                <a:solidFill>
                  <a:srgbClr val="164484"/>
                </a:solidFill>
                <a:latin typeface="Arial" panose="020B0604020202020204" pitchFamily="34" charset="0"/>
                <a:cs typeface="Arial" panose="020B0604020202020204" pitchFamily="34" charset="0"/>
              </a:rPr>
            </a:br>
            <a:r>
              <a:rPr lang="en-US" sz="2000" dirty="0">
                <a:solidFill>
                  <a:srgbClr val="164484"/>
                </a:solidFill>
                <a:latin typeface="Arial" panose="020B0604020202020204" pitchFamily="34" charset="0"/>
                <a:cs typeface="Arial" panose="020B0604020202020204" pitchFamily="34" charset="0"/>
              </a:rPr>
              <a:t>EQUITY</a:t>
            </a:r>
          </a:p>
        </p:txBody>
      </p:sp>
      <p:sp>
        <p:nvSpPr>
          <p:cNvPr id="11" name="Rectangle 10">
            <a:extLst>
              <a:ext uri="{FF2B5EF4-FFF2-40B4-BE49-F238E27FC236}">
                <a16:creationId xmlns:a16="http://schemas.microsoft.com/office/drawing/2014/main" id="{49F1AD04-DD86-423C-A9FE-EA91981F79AD}"/>
              </a:ext>
            </a:extLst>
          </p:cNvPr>
          <p:cNvSpPr/>
          <p:nvPr/>
        </p:nvSpPr>
        <p:spPr>
          <a:xfrm>
            <a:off x="4771653" y="3492974"/>
            <a:ext cx="2277063" cy="1600438"/>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Tribal Connectivity Technical Amendments </a:t>
            </a:r>
          </a:p>
          <a:p>
            <a:pPr algn="ctr"/>
            <a:endParaRPr lang="en-US" sz="1400" dirty="0">
              <a:solidFill>
                <a:schemeClr val="bg2">
                  <a:lumMod val="25000"/>
                </a:schemeClr>
              </a:solidFill>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chemeClr val="bg2">
                    <a:lumMod val="25000"/>
                  </a:schemeClr>
                </a:solidFill>
                <a:latin typeface="+mj-lt"/>
                <a:ea typeface="Times New Roman" panose="02020603050405020304" pitchFamily="18" charset="0"/>
                <a:cs typeface="Arial" panose="020B0604020202020204" pitchFamily="34" charset="0"/>
              </a:rPr>
              <a:t>A program to help tribal communities expand high-speed Internet access and adoption on tribal lands.</a:t>
            </a:r>
          </a:p>
        </p:txBody>
      </p:sp>
      <p:sp>
        <p:nvSpPr>
          <p:cNvPr id="16" name="TextBox 15">
            <a:extLst>
              <a:ext uri="{FF2B5EF4-FFF2-40B4-BE49-F238E27FC236}">
                <a16:creationId xmlns:a16="http://schemas.microsoft.com/office/drawing/2014/main" id="{E5B62CB8-7DF0-462B-A99F-3E2F156606AC}"/>
              </a:ext>
            </a:extLst>
          </p:cNvPr>
          <p:cNvSpPr txBox="1"/>
          <p:nvPr/>
        </p:nvSpPr>
        <p:spPr>
          <a:xfrm>
            <a:off x="4950064" y="3020451"/>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2.00B</a:t>
            </a:r>
          </a:p>
        </p:txBody>
      </p:sp>
      <p:cxnSp>
        <p:nvCxnSpPr>
          <p:cNvPr id="27" name="Straight Connector 26">
            <a:extLst>
              <a:ext uri="{FF2B5EF4-FFF2-40B4-BE49-F238E27FC236}">
                <a16:creationId xmlns:a16="http://schemas.microsoft.com/office/drawing/2014/main" id="{0A0E6880-2691-4C54-9536-B36D7D3275B4}"/>
              </a:ext>
            </a:extLst>
          </p:cNvPr>
          <p:cNvCxnSpPr/>
          <p:nvPr/>
        </p:nvCxnSpPr>
        <p:spPr>
          <a:xfrm>
            <a:off x="4950064"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E0A8696-759D-4810-851A-EBD6BC6ECD2A}"/>
              </a:ext>
            </a:extLst>
          </p:cNvPr>
          <p:cNvSpPr txBox="1"/>
          <p:nvPr/>
        </p:nvSpPr>
        <p:spPr>
          <a:xfrm>
            <a:off x="4950064" y="2389150"/>
            <a:ext cx="1920240" cy="307777"/>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TRIBAL</a:t>
            </a:r>
          </a:p>
        </p:txBody>
      </p:sp>
      <p:sp>
        <p:nvSpPr>
          <p:cNvPr id="18" name="TextBox 17">
            <a:extLst>
              <a:ext uri="{FF2B5EF4-FFF2-40B4-BE49-F238E27FC236}">
                <a16:creationId xmlns:a16="http://schemas.microsoft.com/office/drawing/2014/main" id="{DC6019DD-243C-4490-93E7-8B5D8384C267}"/>
              </a:ext>
            </a:extLst>
          </p:cNvPr>
          <p:cNvSpPr txBox="1"/>
          <p:nvPr/>
        </p:nvSpPr>
        <p:spPr>
          <a:xfrm>
            <a:off x="7236271" y="3034197"/>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1.00B</a:t>
            </a:r>
          </a:p>
        </p:txBody>
      </p:sp>
      <p:sp>
        <p:nvSpPr>
          <p:cNvPr id="22" name="Rectangle 21">
            <a:extLst>
              <a:ext uri="{FF2B5EF4-FFF2-40B4-BE49-F238E27FC236}">
                <a16:creationId xmlns:a16="http://schemas.microsoft.com/office/drawing/2014/main" id="{F36CA775-9D65-45B9-A75A-91A812A90791}"/>
              </a:ext>
            </a:extLst>
          </p:cNvPr>
          <p:cNvSpPr/>
          <p:nvPr/>
        </p:nvSpPr>
        <p:spPr>
          <a:xfrm>
            <a:off x="7139616" y="3492974"/>
            <a:ext cx="2113549" cy="2246769"/>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Enabling Middle Mile Broadband Infrastructure</a:t>
            </a:r>
          </a:p>
          <a:p>
            <a:pPr algn="ctr"/>
            <a:endParaRPr lang="en-US" sz="1400" dirty="0">
              <a:solidFill>
                <a:schemeClr val="bg2">
                  <a:lumMod val="25000"/>
                </a:schemeClr>
              </a:solidFill>
              <a:latin typeface="Arial" panose="020B0604020202020204" pitchFamily="34" charset="0"/>
              <a:cs typeface="Arial" panose="020B0604020202020204" pitchFamily="34" charset="0"/>
            </a:endParaRPr>
          </a:p>
          <a:p>
            <a:pPr algn="ctr"/>
            <a:r>
              <a:rPr lang="en-US" sz="1400" dirty="0">
                <a:solidFill>
                  <a:schemeClr val="bg2">
                    <a:lumMod val="25000"/>
                  </a:schemeClr>
                </a:solidFill>
                <a:latin typeface="+mj-lt"/>
                <a:cs typeface="Arial" panose="020B0604020202020204" pitchFamily="34" charset="0"/>
              </a:rPr>
              <a:t>A program to expand middle mile infrastructure, to reduce the cost of connecting unserved and underserved areas.</a:t>
            </a:r>
          </a:p>
        </p:txBody>
      </p:sp>
      <p:sp>
        <p:nvSpPr>
          <p:cNvPr id="32" name="TextBox 31">
            <a:extLst>
              <a:ext uri="{FF2B5EF4-FFF2-40B4-BE49-F238E27FC236}">
                <a16:creationId xmlns:a16="http://schemas.microsoft.com/office/drawing/2014/main" id="{CB0E4889-4650-4B95-B0C2-434935FDBAE4}"/>
              </a:ext>
            </a:extLst>
          </p:cNvPr>
          <p:cNvSpPr txBox="1"/>
          <p:nvPr/>
        </p:nvSpPr>
        <p:spPr>
          <a:xfrm>
            <a:off x="7236271" y="2235262"/>
            <a:ext cx="1920240" cy="615553"/>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MIDDLE </a:t>
            </a:r>
            <a:br>
              <a:rPr lang="en-US" sz="2000" dirty="0">
                <a:solidFill>
                  <a:srgbClr val="164484"/>
                </a:solidFill>
                <a:latin typeface="Arial" panose="020B0604020202020204" pitchFamily="34" charset="0"/>
                <a:cs typeface="Arial" panose="020B0604020202020204" pitchFamily="34" charset="0"/>
              </a:rPr>
            </a:br>
            <a:r>
              <a:rPr lang="en-US" sz="2000" dirty="0">
                <a:solidFill>
                  <a:srgbClr val="164484"/>
                </a:solidFill>
                <a:latin typeface="Arial" panose="020B0604020202020204" pitchFamily="34" charset="0"/>
                <a:cs typeface="Arial" panose="020B0604020202020204" pitchFamily="34" charset="0"/>
              </a:rPr>
              <a:t>MILE</a:t>
            </a:r>
          </a:p>
        </p:txBody>
      </p:sp>
      <p:sp>
        <p:nvSpPr>
          <p:cNvPr id="33" name="Rectangle 32">
            <a:extLst>
              <a:ext uri="{FF2B5EF4-FFF2-40B4-BE49-F238E27FC236}">
                <a16:creationId xmlns:a16="http://schemas.microsoft.com/office/drawing/2014/main" id="{16379468-60BB-42E5-AA9D-D2EA1BFDFAC6}"/>
              </a:ext>
            </a:extLst>
          </p:cNvPr>
          <p:cNvSpPr/>
          <p:nvPr/>
        </p:nvSpPr>
        <p:spPr bwMode="gray">
          <a:xfrm>
            <a:off x="458717" y="1551196"/>
            <a:ext cx="8718176" cy="499619"/>
          </a:xfrm>
          <a:prstGeom prst="rect">
            <a:avLst/>
          </a:prstGeom>
          <a:solidFill>
            <a:srgbClr val="164484"/>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0A316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r>
              <a:rPr lang="en-US" b="1" dirty="0">
                <a:solidFill>
                  <a:schemeClr val="bg1"/>
                </a:solidFill>
                <a:latin typeface="Arial" panose="020B0604020202020204" pitchFamily="34" charset="0"/>
                <a:cs typeface="Arial" panose="020B0604020202020204" pitchFamily="34" charset="0"/>
              </a:rPr>
              <a:t>NTIA will administer ~$48B of funding from the Bipartisan Infrastructure Law</a:t>
            </a:r>
          </a:p>
        </p:txBody>
      </p:sp>
      <p:sp>
        <p:nvSpPr>
          <p:cNvPr id="14" name="Title 13">
            <a:extLst>
              <a:ext uri="{FF2B5EF4-FFF2-40B4-BE49-F238E27FC236}">
                <a16:creationId xmlns:a16="http://schemas.microsoft.com/office/drawing/2014/main" id="{0AACD6DD-6FA1-46D9-92D2-11E3A1356377}"/>
              </a:ext>
            </a:extLst>
          </p:cNvPr>
          <p:cNvSpPr>
            <a:spLocks noGrp="1"/>
          </p:cNvSpPr>
          <p:nvPr>
            <p:ph type="title"/>
          </p:nvPr>
        </p:nvSpPr>
        <p:spPr>
          <a:xfrm>
            <a:off x="400050" y="387882"/>
            <a:ext cx="10115549" cy="566735"/>
          </a:xfrm>
          <a:prstGeom prst="rect">
            <a:avLst/>
          </a:prstGeom>
        </p:spPr>
        <p:txBody>
          <a:bodyPr vert="horz">
            <a:noAutofit/>
          </a:bodyPr>
          <a:lstStyle/>
          <a:p>
            <a:pPr>
              <a:buSzPts val="3000"/>
            </a:pPr>
            <a:r>
              <a:rPr lang="en-US" sz="2700" cap="none" dirty="0">
                <a:solidFill>
                  <a:srgbClr val="164484"/>
                </a:solidFill>
              </a:rPr>
              <a:t>NTIA will administer ~$48B through four programs that drive high-speed Internet access, affordability, and adoption</a:t>
            </a:r>
          </a:p>
        </p:txBody>
      </p:sp>
      <p:sp>
        <p:nvSpPr>
          <p:cNvPr id="45" name="Rectangle 44">
            <a:extLst>
              <a:ext uri="{FF2B5EF4-FFF2-40B4-BE49-F238E27FC236}">
                <a16:creationId xmlns:a16="http://schemas.microsoft.com/office/drawing/2014/main" id="{81817683-5890-4E8E-A329-61C3CE05C0B8}"/>
              </a:ext>
            </a:extLst>
          </p:cNvPr>
          <p:cNvSpPr/>
          <p:nvPr/>
        </p:nvSpPr>
        <p:spPr bwMode="gray">
          <a:xfrm>
            <a:off x="9408214" y="1551196"/>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FCC to administer $14.2B</a:t>
            </a:r>
            <a:endParaRPr lang="en-US" sz="1400" dirty="0">
              <a:solidFill>
                <a:schemeClr val="bg1"/>
              </a:solidFill>
            </a:endParaRPr>
          </a:p>
        </p:txBody>
      </p:sp>
      <p:sp>
        <p:nvSpPr>
          <p:cNvPr id="51" name="Rectangle 50">
            <a:extLst>
              <a:ext uri="{FF2B5EF4-FFF2-40B4-BE49-F238E27FC236}">
                <a16:creationId xmlns:a16="http://schemas.microsoft.com/office/drawing/2014/main" id="{DDFDE61A-D324-4CFD-B4FB-CA38F7ACC73A}"/>
              </a:ext>
            </a:extLst>
          </p:cNvPr>
          <p:cNvSpPr/>
          <p:nvPr/>
        </p:nvSpPr>
        <p:spPr>
          <a:xfrm>
            <a:off x="9408214" y="2050815"/>
            <a:ext cx="2584705" cy="738664"/>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rPr>
              <a:t>For Affordable Connectivity Program, which replaced the EBB program</a:t>
            </a:r>
          </a:p>
        </p:txBody>
      </p:sp>
      <p:sp>
        <p:nvSpPr>
          <p:cNvPr id="48" name="Rectangle 47">
            <a:extLst>
              <a:ext uri="{FF2B5EF4-FFF2-40B4-BE49-F238E27FC236}">
                <a16:creationId xmlns:a16="http://schemas.microsoft.com/office/drawing/2014/main" id="{441359F4-9687-4EE4-99D8-F7BA943B1925}"/>
              </a:ext>
            </a:extLst>
          </p:cNvPr>
          <p:cNvSpPr/>
          <p:nvPr/>
        </p:nvSpPr>
        <p:spPr bwMode="gray">
          <a:xfrm>
            <a:off x="9408214" y="3121029"/>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algn="ctr">
              <a:lnSpc>
                <a:spcPct val="106000"/>
              </a:lnSpc>
              <a:buFont typeface="Wingdings 2" pitchFamily="18" charset="2"/>
              <a:buNone/>
            </a:pPr>
            <a:r>
              <a:rPr lang="en-US" sz="1400" b="1" dirty="0">
                <a:solidFill>
                  <a:schemeClr val="bg1"/>
                </a:solidFill>
              </a:rPr>
              <a:t>USDA to administer $2.0B</a:t>
            </a:r>
            <a:endParaRPr lang="en-US" sz="1400" dirty="0">
              <a:solidFill>
                <a:schemeClr val="bg1"/>
              </a:solidFill>
            </a:endParaRPr>
          </a:p>
        </p:txBody>
      </p:sp>
      <p:sp>
        <p:nvSpPr>
          <p:cNvPr id="52" name="Rectangle 51">
            <a:extLst>
              <a:ext uri="{FF2B5EF4-FFF2-40B4-BE49-F238E27FC236}">
                <a16:creationId xmlns:a16="http://schemas.microsoft.com/office/drawing/2014/main" id="{C0DA0FFA-9DCC-4723-A326-6A36D9C3966D}"/>
              </a:ext>
            </a:extLst>
          </p:cNvPr>
          <p:cNvSpPr/>
          <p:nvPr/>
        </p:nvSpPr>
        <p:spPr>
          <a:xfrm>
            <a:off x="9408214" y="3620648"/>
            <a:ext cx="2584705" cy="307777"/>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rPr>
              <a:t>Via the Rural Utilities Service</a:t>
            </a:r>
          </a:p>
        </p:txBody>
      </p:sp>
      <p:sp>
        <p:nvSpPr>
          <p:cNvPr id="53" name="Rectangle 52">
            <a:extLst>
              <a:ext uri="{FF2B5EF4-FFF2-40B4-BE49-F238E27FC236}">
                <a16:creationId xmlns:a16="http://schemas.microsoft.com/office/drawing/2014/main" id="{935CE39D-266C-4BCD-AC07-6B7D4CAF4105}"/>
              </a:ext>
            </a:extLst>
          </p:cNvPr>
          <p:cNvSpPr/>
          <p:nvPr/>
        </p:nvSpPr>
        <p:spPr bwMode="gray">
          <a:xfrm>
            <a:off x="9408215" y="4259975"/>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algn="ctr">
              <a:lnSpc>
                <a:spcPct val="106000"/>
              </a:lnSpc>
              <a:buFont typeface="Wingdings 2" pitchFamily="18" charset="2"/>
              <a:buNone/>
            </a:pPr>
            <a:r>
              <a:rPr lang="en-US" sz="1400" b="1" dirty="0">
                <a:solidFill>
                  <a:schemeClr val="bg1"/>
                </a:solidFill>
              </a:rPr>
              <a:t>Private Activity Bonds $0.6B</a:t>
            </a:r>
            <a:endParaRPr lang="en-US" sz="1400" dirty="0">
              <a:solidFill>
                <a:schemeClr val="bg1"/>
              </a:solidFill>
            </a:endParaRPr>
          </a:p>
        </p:txBody>
      </p:sp>
      <p:sp>
        <p:nvSpPr>
          <p:cNvPr id="56" name="Rectangle 55">
            <a:extLst>
              <a:ext uri="{FF2B5EF4-FFF2-40B4-BE49-F238E27FC236}">
                <a16:creationId xmlns:a16="http://schemas.microsoft.com/office/drawing/2014/main" id="{41D6F565-DF0A-4B2F-A04D-D9E50C5ED4A3}"/>
              </a:ext>
            </a:extLst>
          </p:cNvPr>
          <p:cNvSpPr/>
          <p:nvPr/>
        </p:nvSpPr>
        <p:spPr>
          <a:xfrm>
            <a:off x="9408215" y="4759594"/>
            <a:ext cx="2584705" cy="954107"/>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ea typeface="Calibri" panose="020F0502020204030204" pitchFamily="34" charset="0"/>
              </a:rPr>
              <a:t>Authorizes State and local governments to use private activity bonds for rural broadband</a:t>
            </a:r>
          </a:p>
        </p:txBody>
      </p:sp>
      <p:pic>
        <p:nvPicPr>
          <p:cNvPr id="34" name="Picture 33" descr="A blue sign with white text&#10;&#10;Description automatically generated with low confidence">
            <a:extLst>
              <a:ext uri="{FF2B5EF4-FFF2-40B4-BE49-F238E27FC236}">
                <a16:creationId xmlns:a16="http://schemas.microsoft.com/office/drawing/2014/main" id="{E56BF91C-54AF-4F14-B5DA-99010F4BF84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7755049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rmAutofit fontScale="90000"/>
          </a:bodyPr>
          <a:lstStyle/>
          <a:p>
            <a:pPr defTabSz="1219170">
              <a:buSzPts val="3000"/>
              <a:defRPr/>
            </a:pPr>
            <a:r>
              <a:rPr lang="en-US" cap="none" dirty="0">
                <a:solidFill>
                  <a:srgbClr val="164484"/>
                </a:solidFill>
                <a:latin typeface="Arial" panose="020B0604020202020204" pitchFamily="34" charset="0"/>
                <a:ea typeface="+mn-ea"/>
                <a:cs typeface="Arial" panose="020B0604020202020204" pitchFamily="34" charset="0"/>
              </a:rPr>
              <a:t>Digital Equity Act created three programs to promote digital equity and inclusion</a:t>
            </a:r>
          </a:p>
        </p:txBody>
      </p:sp>
      <p:sp>
        <p:nvSpPr>
          <p:cNvPr id="3" name="Rectangle 2">
            <a:extLst>
              <a:ext uri="{FF2B5EF4-FFF2-40B4-BE49-F238E27FC236}">
                <a16:creationId xmlns:a16="http://schemas.microsoft.com/office/drawing/2014/main" id="{E578736E-8DF2-4F0A-B399-C6B2682F61CF}"/>
              </a:ext>
            </a:extLst>
          </p:cNvPr>
          <p:cNvSpPr/>
          <p:nvPr/>
        </p:nvSpPr>
        <p:spPr>
          <a:xfrm>
            <a:off x="499821" y="1349277"/>
            <a:ext cx="3178338" cy="1039216"/>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799D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2.75B</a:t>
            </a:r>
          </a:p>
        </p:txBody>
      </p:sp>
      <p:sp>
        <p:nvSpPr>
          <p:cNvPr id="40" name="Rectangle 39">
            <a:extLst>
              <a:ext uri="{FF2B5EF4-FFF2-40B4-BE49-F238E27FC236}">
                <a16:creationId xmlns:a16="http://schemas.microsoft.com/office/drawing/2014/main" id="{BD815139-9206-48B1-B267-4EE21160DCE4}"/>
              </a:ext>
            </a:extLst>
          </p:cNvPr>
          <p:cNvSpPr/>
          <p:nvPr/>
        </p:nvSpPr>
        <p:spPr>
          <a:xfrm>
            <a:off x="3888533" y="1349277"/>
            <a:ext cx="7973430" cy="3244516"/>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spcAft>
                <a:spcPts val="600"/>
              </a:spcAft>
              <a:buClr>
                <a:srgbClr val="5799D5"/>
              </a:buClr>
              <a:buSzPct val="100000"/>
            </a:pPr>
            <a:r>
              <a:rPr lang="en-US" sz="1600" b="1" dirty="0">
                <a:solidFill>
                  <a:srgbClr val="164484"/>
                </a:solidFill>
                <a:latin typeface="Arial" panose="020B0604020202020204" pitchFamily="34" charset="0"/>
                <a:cs typeface="Arial" panose="020B0604020202020204" pitchFamily="34" charset="0"/>
              </a:rPr>
              <a:t>The Digital Equity Act created three programs:</a:t>
            </a:r>
          </a:p>
          <a:p>
            <a:pPr marL="0" lvl="1">
              <a:spcAft>
                <a:spcPts val="600"/>
              </a:spcAft>
              <a:buClr>
                <a:srgbClr val="5799D5"/>
              </a:buClr>
              <a:buSzPct val="100000"/>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0" lvl="1">
              <a:spcAft>
                <a:spcPts val="600"/>
              </a:spcAft>
              <a:buClr>
                <a:srgbClr val="5799D5"/>
              </a:buClr>
              <a:buSzPct val="100000"/>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r>
              <a:rPr lang="en-US" sz="1600" b="1" dirty="0">
                <a:solidFill>
                  <a:srgbClr val="164484"/>
                </a:solidFill>
                <a:latin typeface="Arial" panose="020B0604020202020204" pitchFamily="34" charset="0"/>
                <a:ea typeface="Calibri" panose="020F0502020204030204" pitchFamily="34" charset="0"/>
                <a:cs typeface="Arial" panose="020B0604020202020204" pitchFamily="34" charset="0"/>
              </a:rPr>
              <a:t>Example eligible uses of funds across three programs include:</a:t>
            </a:r>
          </a:p>
          <a:p>
            <a:pPr marL="288925" lvl="1" indent="-287338">
              <a:spcAft>
                <a:spcPts val="600"/>
              </a:spcAft>
              <a:buClr>
                <a:srgbClr val="575454"/>
              </a:buClr>
              <a:buSzPct val="100000"/>
              <a:buFont typeface="Trebuchet MS" panose="020B0603020202020204" pitchFamily="34" charset="0"/>
              <a:buChar char="•"/>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01E22DE-45EC-4349-BC08-917CC67602C2}"/>
              </a:ext>
            </a:extLst>
          </p:cNvPr>
          <p:cNvSpPr/>
          <p:nvPr/>
        </p:nvSpPr>
        <p:spPr>
          <a:xfrm>
            <a:off x="499821" y="2474775"/>
            <a:ext cx="3178338" cy="2119018"/>
          </a:xfrm>
          <a:prstGeom prst="rect">
            <a:avLst/>
          </a:prstGeom>
          <a:solidFill>
            <a:srgbClr val="16448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buClr>
                <a:schemeClr val="bg1"/>
              </a:buClr>
              <a:buSzPct val="100000"/>
            </a:pPr>
            <a:r>
              <a:rPr lang="en-US" sz="1600" dirty="0">
                <a:solidFill>
                  <a:schemeClr val="bg1"/>
                </a:solidFill>
              </a:rPr>
              <a:t>Three programs that provide funding to promote digital inclusion and advance equity for all. They aim to ensure that all communities can access and use affordable, reliable high-speed Internet to meet their needs and improve their lives.</a:t>
            </a:r>
          </a:p>
        </p:txBody>
      </p:sp>
      <p:sp>
        <p:nvSpPr>
          <p:cNvPr id="26" name="TextBox 25">
            <a:extLst>
              <a:ext uri="{FF2B5EF4-FFF2-40B4-BE49-F238E27FC236}">
                <a16:creationId xmlns:a16="http://schemas.microsoft.com/office/drawing/2014/main" id="{FF440760-1102-4776-B097-69EFBFF5A736}"/>
              </a:ext>
            </a:extLst>
          </p:cNvPr>
          <p:cNvSpPr txBox="1"/>
          <p:nvPr/>
        </p:nvSpPr>
        <p:spPr>
          <a:xfrm>
            <a:off x="6096000" y="1187694"/>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PROGRAMS HIGHLIGHTS</a:t>
            </a:r>
          </a:p>
        </p:txBody>
      </p:sp>
      <p:graphicFrame>
        <p:nvGraphicFramePr>
          <p:cNvPr id="13" name="Table 13">
            <a:extLst>
              <a:ext uri="{FF2B5EF4-FFF2-40B4-BE49-F238E27FC236}">
                <a16:creationId xmlns:a16="http://schemas.microsoft.com/office/drawing/2014/main" id="{E7D0058B-3A29-4E7D-985B-1560C4A1AE30}"/>
              </a:ext>
            </a:extLst>
          </p:cNvPr>
          <p:cNvGraphicFramePr>
            <a:graphicFrameLocks noGrp="1"/>
          </p:cNvGraphicFramePr>
          <p:nvPr/>
        </p:nvGraphicFramePr>
        <p:xfrm>
          <a:off x="3971849" y="3101366"/>
          <a:ext cx="7890114" cy="1496239"/>
        </p:xfrm>
        <a:graphic>
          <a:graphicData uri="http://schemas.openxmlformats.org/drawingml/2006/table">
            <a:tbl>
              <a:tblPr firstRow="1" bandRow="1">
                <a:tableStyleId>{2D5ABB26-0587-4C30-8999-92F81FD0307C}</a:tableStyleId>
              </a:tblPr>
              <a:tblGrid>
                <a:gridCol w="2630038">
                  <a:extLst>
                    <a:ext uri="{9D8B030D-6E8A-4147-A177-3AD203B41FA5}">
                      <a16:colId xmlns:a16="http://schemas.microsoft.com/office/drawing/2014/main" val="2049931648"/>
                    </a:ext>
                  </a:extLst>
                </a:gridCol>
                <a:gridCol w="2630038">
                  <a:extLst>
                    <a:ext uri="{9D8B030D-6E8A-4147-A177-3AD203B41FA5}">
                      <a16:colId xmlns:a16="http://schemas.microsoft.com/office/drawing/2014/main" val="1043574612"/>
                    </a:ext>
                  </a:extLst>
                </a:gridCol>
                <a:gridCol w="2630038">
                  <a:extLst>
                    <a:ext uri="{9D8B030D-6E8A-4147-A177-3AD203B41FA5}">
                      <a16:colId xmlns:a16="http://schemas.microsoft.com/office/drawing/2014/main" val="1981860895"/>
                    </a:ext>
                  </a:extLst>
                </a:gridCol>
              </a:tblGrid>
              <a:tr h="702261">
                <a:tc>
                  <a:txBody>
                    <a:bodyPr/>
                    <a:lstStyle/>
                    <a:p>
                      <a:r>
                        <a:rPr lang="en-US" sz="1400" dirty="0">
                          <a:solidFill>
                            <a:srgbClr val="000000"/>
                          </a:solidFill>
                        </a:rPr>
                        <a:t>Developing digital equity plans; states must develop a plan to be eligible for state capacity grants</a:t>
                      </a:r>
                    </a:p>
                  </a:txBody>
                  <a:tcPr marL="365760"/>
                </a:tc>
                <a:tc>
                  <a:txBody>
                    <a:bodyPr/>
                    <a:lstStyle/>
                    <a:p>
                      <a:r>
                        <a:rPr lang="en-US" sz="1400" dirty="0">
                          <a:solidFill>
                            <a:srgbClr val="000000"/>
                          </a:solidFill>
                        </a:rPr>
                        <a:t>Making awards to other entities to help make digital equity plans</a:t>
                      </a:r>
                    </a:p>
                  </a:txBody>
                  <a:tcPr marL="365760"/>
                </a:tc>
                <a:tc>
                  <a:txBody>
                    <a:bodyPr/>
                    <a:lstStyle/>
                    <a:p>
                      <a:r>
                        <a:rPr lang="en-US" sz="1400" dirty="0">
                          <a:solidFill>
                            <a:srgbClr val="000000"/>
                          </a:solidFill>
                        </a:rPr>
                        <a:t>Improving accessibility and inclusivity of public resources</a:t>
                      </a:r>
                    </a:p>
                  </a:txBody>
                  <a:tcPr marL="365760"/>
                </a:tc>
                <a:extLst>
                  <a:ext uri="{0D108BD9-81ED-4DB2-BD59-A6C34878D82A}">
                    <a16:rowId xmlns:a16="http://schemas.microsoft.com/office/drawing/2014/main" val="2740803269"/>
                  </a:ext>
                </a:extLst>
              </a:tr>
              <a:tr h="551359">
                <a:tc>
                  <a:txBody>
                    <a:bodyPr/>
                    <a:lstStyle/>
                    <a:p>
                      <a:r>
                        <a:rPr lang="en-US" sz="1400" dirty="0">
                          <a:solidFill>
                            <a:srgbClr val="000000"/>
                          </a:solidFill>
                        </a:rPr>
                        <a:t>Implementing digital equity plans and related activities</a:t>
                      </a:r>
                    </a:p>
                  </a:txBody>
                  <a:tcPr marL="365760"/>
                </a:tc>
                <a:tc>
                  <a:txBody>
                    <a:bodyPr/>
                    <a:lstStyle/>
                    <a:p>
                      <a:r>
                        <a:rPr lang="en-US" sz="1400" dirty="0">
                          <a:solidFill>
                            <a:srgbClr val="000000"/>
                          </a:solidFill>
                        </a:rPr>
                        <a:t>Providing digital literacy and digital skills education</a:t>
                      </a:r>
                    </a:p>
                  </a:txBody>
                  <a:tcPr marL="365760"/>
                </a:tc>
                <a:tc>
                  <a:txBody>
                    <a:bodyPr/>
                    <a:lstStyle/>
                    <a:p>
                      <a:r>
                        <a:rPr lang="en-US" sz="1400" dirty="0">
                          <a:solidFill>
                            <a:srgbClr val="000000"/>
                          </a:solidFill>
                        </a:rPr>
                        <a:t>Facilitating the adoption of high-speed Internet</a:t>
                      </a:r>
                    </a:p>
                  </a:txBody>
                  <a:tcPr marL="365760"/>
                </a:tc>
                <a:extLst>
                  <a:ext uri="{0D108BD9-81ED-4DB2-BD59-A6C34878D82A}">
                    <a16:rowId xmlns:a16="http://schemas.microsoft.com/office/drawing/2014/main" val="3338416117"/>
                  </a:ext>
                </a:extLst>
              </a:tr>
            </a:tbl>
          </a:graphicData>
        </a:graphic>
      </p:graphicFrame>
      <p:graphicFrame>
        <p:nvGraphicFramePr>
          <p:cNvPr id="5" name="Table 5">
            <a:extLst>
              <a:ext uri="{FF2B5EF4-FFF2-40B4-BE49-F238E27FC236}">
                <a16:creationId xmlns:a16="http://schemas.microsoft.com/office/drawing/2014/main" id="{0F70EE98-9454-4A31-9189-C4BBEB3CCFE5}"/>
              </a:ext>
            </a:extLst>
          </p:cNvPr>
          <p:cNvGraphicFramePr>
            <a:graphicFrameLocks noGrp="1"/>
          </p:cNvGraphicFramePr>
          <p:nvPr/>
        </p:nvGraphicFramePr>
        <p:xfrm>
          <a:off x="4139382" y="1786166"/>
          <a:ext cx="7555047" cy="944880"/>
        </p:xfrm>
        <a:graphic>
          <a:graphicData uri="http://schemas.openxmlformats.org/drawingml/2006/table">
            <a:tbl>
              <a:tblPr firstRow="1" bandRow="1">
                <a:tableStyleId>{5C22544A-7EE6-4342-B048-85BDC9FD1C3A}</a:tableStyleId>
              </a:tblPr>
              <a:tblGrid>
                <a:gridCol w="2448454">
                  <a:extLst>
                    <a:ext uri="{9D8B030D-6E8A-4147-A177-3AD203B41FA5}">
                      <a16:colId xmlns:a16="http://schemas.microsoft.com/office/drawing/2014/main" val="3390315683"/>
                    </a:ext>
                  </a:extLst>
                </a:gridCol>
                <a:gridCol w="2763982">
                  <a:extLst>
                    <a:ext uri="{9D8B030D-6E8A-4147-A177-3AD203B41FA5}">
                      <a16:colId xmlns:a16="http://schemas.microsoft.com/office/drawing/2014/main" val="2538125830"/>
                    </a:ext>
                  </a:extLst>
                </a:gridCol>
                <a:gridCol w="2342611">
                  <a:extLst>
                    <a:ext uri="{9D8B030D-6E8A-4147-A177-3AD203B41FA5}">
                      <a16:colId xmlns:a16="http://schemas.microsoft.com/office/drawing/2014/main" val="3207541592"/>
                    </a:ext>
                  </a:extLst>
                </a:gridCol>
              </a:tblGrid>
              <a:tr h="882724">
                <a:tc>
                  <a:txBody>
                    <a:bodyPr/>
                    <a:lstStyle/>
                    <a:p>
                      <a:pPr algn="l"/>
                      <a:r>
                        <a:rPr lang="en-US" sz="1400" b="0" kern="1200" dirty="0">
                          <a:solidFill>
                            <a:srgbClr val="164484"/>
                          </a:solidFill>
                          <a:latin typeface="+mn-lt"/>
                          <a:ea typeface="+mn-ea"/>
                          <a:cs typeface="+mn-cs"/>
                        </a:rPr>
                        <a:t>State Planning</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60M </a:t>
                      </a:r>
                      <a:r>
                        <a:rPr lang="en-US" sz="1400" b="0" kern="1200" dirty="0">
                          <a:solidFill>
                            <a:srgbClr val="000000"/>
                          </a:solidFill>
                          <a:latin typeface="+mn-lt"/>
                          <a:ea typeface="+mn-ea"/>
                          <a:cs typeface="+mn-cs"/>
                        </a:rPr>
                        <a:t>formula funding program to develop digital equity plans</a:t>
                      </a:r>
                    </a:p>
                  </a:txBody>
                  <a:tcPr>
                    <a:noFill/>
                  </a:tcPr>
                </a:tc>
                <a:tc>
                  <a:txBody>
                    <a:bodyPr/>
                    <a:lstStyle/>
                    <a:p>
                      <a:pPr algn="l"/>
                      <a:r>
                        <a:rPr lang="en-US" sz="1400" b="0" kern="1200" dirty="0">
                          <a:solidFill>
                            <a:srgbClr val="164484"/>
                          </a:solidFill>
                          <a:latin typeface="+mn-lt"/>
                          <a:ea typeface="+mn-ea"/>
                          <a:cs typeface="+mn-cs"/>
                        </a:rPr>
                        <a:t>State Capacity</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a:t>
                      </a:r>
                      <a:r>
                        <a:rPr lang="en-US" sz="1400" b="0" kern="1200" dirty="0">
                          <a:solidFill>
                            <a:srgbClr val="000000"/>
                          </a:solidFill>
                          <a:latin typeface="+mn-lt"/>
                          <a:ea typeface="+mn-ea"/>
                          <a:cs typeface="+mn-cs"/>
                        </a:rPr>
                        <a:t>1.44B formula funding program to implement plans &amp; promote </a:t>
                      </a:r>
                      <a:r>
                        <a:rPr lang="en-US" sz="1400" b="0" dirty="0">
                          <a:solidFill>
                            <a:srgbClr val="000000"/>
                          </a:solidFill>
                        </a:rPr>
                        <a:t>digital inclusion</a:t>
                      </a:r>
                    </a:p>
                  </a:txBody>
                  <a:tcPr>
                    <a:noFill/>
                  </a:tcPr>
                </a:tc>
                <a:tc>
                  <a:txBody>
                    <a:bodyPr/>
                    <a:lstStyle/>
                    <a:p>
                      <a:pPr algn="l"/>
                      <a:r>
                        <a:rPr lang="en-US" sz="1400" b="0" dirty="0">
                          <a:solidFill>
                            <a:srgbClr val="164484"/>
                          </a:solidFill>
                        </a:rPr>
                        <a:t>Competitive</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1.25B to implement digital equity and inclusion activities</a:t>
                      </a:r>
                    </a:p>
                  </a:txBody>
                  <a:tcPr>
                    <a:noFill/>
                  </a:tcPr>
                </a:tc>
                <a:extLst>
                  <a:ext uri="{0D108BD9-81ED-4DB2-BD59-A6C34878D82A}">
                    <a16:rowId xmlns:a16="http://schemas.microsoft.com/office/drawing/2014/main" val="1741706719"/>
                  </a:ext>
                </a:extLst>
              </a:tr>
            </a:tbl>
          </a:graphicData>
        </a:graphic>
      </p:graphicFrame>
      <p:sp>
        <p:nvSpPr>
          <p:cNvPr id="123" name="Rectangle 122">
            <a:extLst>
              <a:ext uri="{FF2B5EF4-FFF2-40B4-BE49-F238E27FC236}">
                <a16:creationId xmlns:a16="http://schemas.microsoft.com/office/drawing/2014/main" id="{3DA501D5-3E21-4C0C-A34A-942A410BDF6F}"/>
              </a:ext>
            </a:extLst>
          </p:cNvPr>
          <p:cNvSpPr/>
          <p:nvPr/>
        </p:nvSpPr>
        <p:spPr>
          <a:xfrm>
            <a:off x="531133" y="4796651"/>
            <a:ext cx="11330829" cy="1750990"/>
          </a:xfrm>
          <a:prstGeom prst="rect">
            <a:avLst/>
          </a:prstGeom>
          <a:solidFill>
            <a:schemeClr val="bg1"/>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356BA900-9DA4-4C8C-B39E-4F763FA4E1D4}"/>
              </a:ext>
            </a:extLst>
          </p:cNvPr>
          <p:cNvSpPr txBox="1"/>
          <p:nvPr/>
        </p:nvSpPr>
        <p:spPr>
          <a:xfrm>
            <a:off x="4396189" y="4636968"/>
            <a:ext cx="3399624" cy="323165"/>
          </a:xfrm>
          <a:prstGeom prst="rect">
            <a:avLst/>
          </a:prstGeom>
          <a:solidFill>
            <a:srgbClr val="FFFFFF"/>
          </a:solidFill>
        </p:spPr>
        <p:txBody>
          <a:bodyPr vert="horz" wrap="square" lIns="0" tIns="0" rIns="0" bIns="0" rtlCol="0">
            <a:spAutoFit/>
          </a:bodyPr>
          <a:lstStyle/>
          <a:p>
            <a:pPr algn="ctr">
              <a:spcBef>
                <a:spcPts val="200"/>
              </a:spcBef>
              <a:buSzPct val="100000"/>
            </a:pPr>
            <a:r>
              <a:rPr lang="en-US" sz="2100" b="1" dirty="0">
                <a:solidFill>
                  <a:srgbClr val="164484"/>
                </a:solidFill>
                <a:latin typeface="Arial" panose="020B0604020202020204" pitchFamily="34" charset="0"/>
                <a:cs typeface="Arial" panose="020B0604020202020204" pitchFamily="34" charset="0"/>
              </a:rPr>
              <a:t>ESTIMATED TIMELINE</a:t>
            </a:r>
          </a:p>
        </p:txBody>
      </p:sp>
      <p:grpSp>
        <p:nvGrpSpPr>
          <p:cNvPr id="62" name="Group 61">
            <a:extLst>
              <a:ext uri="{FF2B5EF4-FFF2-40B4-BE49-F238E27FC236}">
                <a16:creationId xmlns:a16="http://schemas.microsoft.com/office/drawing/2014/main" id="{2067FD6B-4654-4D19-AF7A-847CC183D26A}"/>
              </a:ext>
            </a:extLst>
          </p:cNvPr>
          <p:cNvGrpSpPr/>
          <p:nvPr/>
        </p:nvGrpSpPr>
        <p:grpSpPr>
          <a:xfrm>
            <a:off x="4087961" y="3173936"/>
            <a:ext cx="164393" cy="160470"/>
            <a:chOff x="4329243" y="5690404"/>
            <a:chExt cx="306910" cy="306911"/>
          </a:xfrm>
        </p:grpSpPr>
        <p:sp>
          <p:nvSpPr>
            <p:cNvPr id="63" name="Oval 14">
              <a:extLst>
                <a:ext uri="{FF2B5EF4-FFF2-40B4-BE49-F238E27FC236}">
                  <a16:creationId xmlns:a16="http://schemas.microsoft.com/office/drawing/2014/main" id="{A20C0299-CF05-4A6D-B59B-F9B1D67C8CF9}"/>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15">
              <a:extLst>
                <a:ext uri="{FF2B5EF4-FFF2-40B4-BE49-F238E27FC236}">
                  <a16:creationId xmlns:a16="http://schemas.microsoft.com/office/drawing/2014/main" id="{63566938-B7C9-4A0E-BC18-10CB46019BBA}"/>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7" name="Group 76">
            <a:extLst>
              <a:ext uri="{FF2B5EF4-FFF2-40B4-BE49-F238E27FC236}">
                <a16:creationId xmlns:a16="http://schemas.microsoft.com/office/drawing/2014/main" id="{F8B8F822-5145-44EF-B81F-A61ADCEE4AD7}"/>
              </a:ext>
            </a:extLst>
          </p:cNvPr>
          <p:cNvGrpSpPr/>
          <p:nvPr/>
        </p:nvGrpSpPr>
        <p:grpSpPr>
          <a:xfrm>
            <a:off x="4087961" y="4118816"/>
            <a:ext cx="164393" cy="160470"/>
            <a:chOff x="4329243" y="5690404"/>
            <a:chExt cx="306910" cy="306911"/>
          </a:xfrm>
        </p:grpSpPr>
        <p:sp>
          <p:nvSpPr>
            <p:cNvPr id="78" name="Oval 14">
              <a:extLst>
                <a:ext uri="{FF2B5EF4-FFF2-40B4-BE49-F238E27FC236}">
                  <a16:creationId xmlns:a16="http://schemas.microsoft.com/office/drawing/2014/main" id="{0D6F3CB7-BAB4-4EB9-B285-64B872A65F15}"/>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15">
              <a:extLst>
                <a:ext uri="{FF2B5EF4-FFF2-40B4-BE49-F238E27FC236}">
                  <a16:creationId xmlns:a16="http://schemas.microsoft.com/office/drawing/2014/main" id="{6F0B6A35-5B05-46A2-8911-3ED6AC24FD7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0" name="Group 79">
            <a:extLst>
              <a:ext uri="{FF2B5EF4-FFF2-40B4-BE49-F238E27FC236}">
                <a16:creationId xmlns:a16="http://schemas.microsoft.com/office/drawing/2014/main" id="{BBE04991-7777-4EE2-B4A1-7F355CE394AF}"/>
              </a:ext>
            </a:extLst>
          </p:cNvPr>
          <p:cNvGrpSpPr/>
          <p:nvPr/>
        </p:nvGrpSpPr>
        <p:grpSpPr>
          <a:xfrm>
            <a:off x="6717999" y="3173936"/>
            <a:ext cx="164393" cy="160470"/>
            <a:chOff x="4329243" y="5690404"/>
            <a:chExt cx="306910" cy="306911"/>
          </a:xfrm>
        </p:grpSpPr>
        <p:sp>
          <p:nvSpPr>
            <p:cNvPr id="81" name="Oval 14">
              <a:extLst>
                <a:ext uri="{FF2B5EF4-FFF2-40B4-BE49-F238E27FC236}">
                  <a16:creationId xmlns:a16="http://schemas.microsoft.com/office/drawing/2014/main" id="{2A88850A-6059-43A2-BDAA-6CA969FC23C9}"/>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15">
              <a:extLst>
                <a:ext uri="{FF2B5EF4-FFF2-40B4-BE49-F238E27FC236}">
                  <a16:creationId xmlns:a16="http://schemas.microsoft.com/office/drawing/2014/main" id="{7CCD2ABF-B303-4C2A-A067-658AE123BA5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2F31DB67-022D-4607-B121-2667E8547024}"/>
              </a:ext>
            </a:extLst>
          </p:cNvPr>
          <p:cNvGrpSpPr/>
          <p:nvPr/>
        </p:nvGrpSpPr>
        <p:grpSpPr>
          <a:xfrm>
            <a:off x="6717999" y="4118816"/>
            <a:ext cx="164393" cy="160470"/>
            <a:chOff x="4329243" y="5690404"/>
            <a:chExt cx="306910" cy="306911"/>
          </a:xfrm>
        </p:grpSpPr>
        <p:sp>
          <p:nvSpPr>
            <p:cNvPr id="87" name="Oval 14">
              <a:extLst>
                <a:ext uri="{FF2B5EF4-FFF2-40B4-BE49-F238E27FC236}">
                  <a16:creationId xmlns:a16="http://schemas.microsoft.com/office/drawing/2014/main" id="{FB0DA79E-E0DD-4E7E-86D8-26AB13834AE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15">
              <a:extLst>
                <a:ext uri="{FF2B5EF4-FFF2-40B4-BE49-F238E27FC236}">
                  <a16:creationId xmlns:a16="http://schemas.microsoft.com/office/drawing/2014/main" id="{5FF8BFA4-671B-4676-9BC8-70492CBC5053}"/>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2" name="Group 91">
            <a:extLst>
              <a:ext uri="{FF2B5EF4-FFF2-40B4-BE49-F238E27FC236}">
                <a16:creationId xmlns:a16="http://schemas.microsoft.com/office/drawing/2014/main" id="{CAAB41A4-C2F9-4CCD-A74B-75FCFDB36F8B}"/>
              </a:ext>
            </a:extLst>
          </p:cNvPr>
          <p:cNvGrpSpPr/>
          <p:nvPr/>
        </p:nvGrpSpPr>
        <p:grpSpPr>
          <a:xfrm>
            <a:off x="9348037" y="3173936"/>
            <a:ext cx="164393" cy="160470"/>
            <a:chOff x="4329243" y="5690404"/>
            <a:chExt cx="306910" cy="306911"/>
          </a:xfrm>
        </p:grpSpPr>
        <p:sp>
          <p:nvSpPr>
            <p:cNvPr id="104" name="Oval 14">
              <a:extLst>
                <a:ext uri="{FF2B5EF4-FFF2-40B4-BE49-F238E27FC236}">
                  <a16:creationId xmlns:a16="http://schemas.microsoft.com/office/drawing/2014/main" id="{3505A290-8217-483A-A9EC-E47B28DD893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15">
              <a:extLst>
                <a:ext uri="{FF2B5EF4-FFF2-40B4-BE49-F238E27FC236}">
                  <a16:creationId xmlns:a16="http://schemas.microsoft.com/office/drawing/2014/main" id="{34D022D9-EA1D-4E1E-A613-D0188487F8BC}"/>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6" name="Group 105">
            <a:extLst>
              <a:ext uri="{FF2B5EF4-FFF2-40B4-BE49-F238E27FC236}">
                <a16:creationId xmlns:a16="http://schemas.microsoft.com/office/drawing/2014/main" id="{BB9F7632-2738-4BC9-9046-2D58570A5FB4}"/>
              </a:ext>
            </a:extLst>
          </p:cNvPr>
          <p:cNvGrpSpPr/>
          <p:nvPr/>
        </p:nvGrpSpPr>
        <p:grpSpPr>
          <a:xfrm>
            <a:off x="9348037" y="4118816"/>
            <a:ext cx="164393" cy="160470"/>
            <a:chOff x="4329243" y="5690404"/>
            <a:chExt cx="306910" cy="306911"/>
          </a:xfrm>
        </p:grpSpPr>
        <p:sp>
          <p:nvSpPr>
            <p:cNvPr id="107" name="Oval 14">
              <a:extLst>
                <a:ext uri="{FF2B5EF4-FFF2-40B4-BE49-F238E27FC236}">
                  <a16:creationId xmlns:a16="http://schemas.microsoft.com/office/drawing/2014/main" id="{91D32599-7294-45D1-A2EE-8504005AFAE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15">
              <a:extLst>
                <a:ext uri="{FF2B5EF4-FFF2-40B4-BE49-F238E27FC236}">
                  <a16:creationId xmlns:a16="http://schemas.microsoft.com/office/drawing/2014/main" id="{610DA39F-65A3-4EA6-BC88-67E0A284D4B2}"/>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cxnSp>
        <p:nvCxnSpPr>
          <p:cNvPr id="111" name="Straight Arrow Connector 110">
            <a:extLst>
              <a:ext uri="{FF2B5EF4-FFF2-40B4-BE49-F238E27FC236}">
                <a16:creationId xmlns:a16="http://schemas.microsoft.com/office/drawing/2014/main" id="{C73A91EB-E030-4AC6-881B-65FED727D7D5}"/>
              </a:ext>
            </a:extLst>
          </p:cNvPr>
          <p:cNvCxnSpPr>
            <a:cxnSpLocks/>
          </p:cNvCxnSpPr>
          <p:nvPr/>
        </p:nvCxnSpPr>
        <p:spPr>
          <a:xfrm>
            <a:off x="831666" y="5612928"/>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EC20318-9760-4EDA-9567-090F9D7591D5}"/>
              </a:ext>
            </a:extLst>
          </p:cNvPr>
          <p:cNvSpPr/>
          <p:nvPr/>
        </p:nvSpPr>
        <p:spPr>
          <a:xfrm>
            <a:off x="71810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3" name="Oval 112">
            <a:extLst>
              <a:ext uri="{FF2B5EF4-FFF2-40B4-BE49-F238E27FC236}">
                <a16:creationId xmlns:a16="http://schemas.microsoft.com/office/drawing/2014/main" id="{A196236E-E8FE-42D5-8165-43CBECF974BA}"/>
              </a:ext>
            </a:extLst>
          </p:cNvPr>
          <p:cNvSpPr/>
          <p:nvPr/>
        </p:nvSpPr>
        <p:spPr>
          <a:xfrm>
            <a:off x="3288362"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5" name="Oval 114">
            <a:extLst>
              <a:ext uri="{FF2B5EF4-FFF2-40B4-BE49-F238E27FC236}">
                <a16:creationId xmlns:a16="http://schemas.microsoft.com/office/drawing/2014/main" id="{AE1873D3-D469-4510-B2B1-FB571176B20C}"/>
              </a:ext>
            </a:extLst>
          </p:cNvPr>
          <p:cNvSpPr/>
          <p:nvPr/>
        </p:nvSpPr>
        <p:spPr>
          <a:xfrm>
            <a:off x="1099912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6" name="Oval 115">
            <a:extLst>
              <a:ext uri="{FF2B5EF4-FFF2-40B4-BE49-F238E27FC236}">
                <a16:creationId xmlns:a16="http://schemas.microsoft.com/office/drawing/2014/main" id="{62267B20-6B38-4D25-AFA8-B302948EE67D}"/>
              </a:ext>
            </a:extLst>
          </p:cNvPr>
          <p:cNvSpPr/>
          <p:nvPr/>
        </p:nvSpPr>
        <p:spPr>
          <a:xfrm>
            <a:off x="585861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7" name="TextBox 116">
            <a:extLst>
              <a:ext uri="{FF2B5EF4-FFF2-40B4-BE49-F238E27FC236}">
                <a16:creationId xmlns:a16="http://schemas.microsoft.com/office/drawing/2014/main" id="{9B67768D-3121-4F0B-92B8-43534D99B940}"/>
              </a:ext>
            </a:extLst>
          </p:cNvPr>
          <p:cNvSpPr txBox="1"/>
          <p:nvPr/>
        </p:nvSpPr>
        <p:spPr>
          <a:xfrm>
            <a:off x="335042"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118" name="TextBox 117">
            <a:extLst>
              <a:ext uri="{FF2B5EF4-FFF2-40B4-BE49-F238E27FC236}">
                <a16:creationId xmlns:a16="http://schemas.microsoft.com/office/drawing/2014/main" id="{26787D4C-67BB-41F6-9449-C4BC49CE0A65}"/>
              </a:ext>
            </a:extLst>
          </p:cNvPr>
          <p:cNvSpPr txBox="1"/>
          <p:nvPr/>
        </p:nvSpPr>
        <p:spPr>
          <a:xfrm>
            <a:off x="2905297"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122" name="TextBox 121">
            <a:extLst>
              <a:ext uri="{FF2B5EF4-FFF2-40B4-BE49-F238E27FC236}">
                <a16:creationId xmlns:a16="http://schemas.microsoft.com/office/drawing/2014/main" id="{CA3CE60C-FF58-4C1D-88C5-8D345AF6BF63}"/>
              </a:ext>
            </a:extLst>
          </p:cNvPr>
          <p:cNvSpPr txBox="1"/>
          <p:nvPr/>
        </p:nvSpPr>
        <p:spPr>
          <a:xfrm>
            <a:off x="5475552"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124" name="TextBox 123">
            <a:extLst>
              <a:ext uri="{FF2B5EF4-FFF2-40B4-BE49-F238E27FC236}">
                <a16:creationId xmlns:a16="http://schemas.microsoft.com/office/drawing/2014/main" id="{A784211F-0821-4708-ACC3-F59489BC51A3}"/>
              </a:ext>
            </a:extLst>
          </p:cNvPr>
          <p:cNvSpPr txBox="1"/>
          <p:nvPr/>
        </p:nvSpPr>
        <p:spPr>
          <a:xfrm>
            <a:off x="8045807"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125" name="TextBox 124">
            <a:extLst>
              <a:ext uri="{FF2B5EF4-FFF2-40B4-BE49-F238E27FC236}">
                <a16:creationId xmlns:a16="http://schemas.microsoft.com/office/drawing/2014/main" id="{5436CDA8-D873-45B2-95F8-27481E49447E}"/>
              </a:ext>
            </a:extLst>
          </p:cNvPr>
          <p:cNvSpPr txBox="1"/>
          <p:nvPr/>
        </p:nvSpPr>
        <p:spPr>
          <a:xfrm>
            <a:off x="10616060"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126" name="Oval 125">
            <a:extLst>
              <a:ext uri="{FF2B5EF4-FFF2-40B4-BE49-F238E27FC236}">
                <a16:creationId xmlns:a16="http://schemas.microsoft.com/office/drawing/2014/main" id="{869B59D6-E514-458A-A2E1-BE801F7CA2D8}"/>
              </a:ext>
            </a:extLst>
          </p:cNvPr>
          <p:cNvSpPr/>
          <p:nvPr/>
        </p:nvSpPr>
        <p:spPr>
          <a:xfrm>
            <a:off x="8428872"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67" name="Arrow: Chevron 166">
            <a:extLst>
              <a:ext uri="{FF2B5EF4-FFF2-40B4-BE49-F238E27FC236}">
                <a16:creationId xmlns:a16="http://schemas.microsoft.com/office/drawing/2014/main" id="{34EE3B87-3680-4A8E-B572-40288F4DB5FB}"/>
              </a:ext>
            </a:extLst>
          </p:cNvPr>
          <p:cNvSpPr/>
          <p:nvPr/>
        </p:nvSpPr>
        <p:spPr>
          <a:xfrm>
            <a:off x="2703087" y="5882074"/>
            <a:ext cx="2728714"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1-year state planning</a:t>
            </a:r>
          </a:p>
        </p:txBody>
      </p:sp>
      <p:sp>
        <p:nvSpPr>
          <p:cNvPr id="169" name="Arrow: Pentagon 168">
            <a:extLst>
              <a:ext uri="{FF2B5EF4-FFF2-40B4-BE49-F238E27FC236}">
                <a16:creationId xmlns:a16="http://schemas.microsoft.com/office/drawing/2014/main" id="{DD19C6D0-7458-4A59-9DD1-824E3A72242C}"/>
              </a:ext>
            </a:extLst>
          </p:cNvPr>
          <p:cNvSpPr/>
          <p:nvPr/>
        </p:nvSpPr>
        <p:spPr>
          <a:xfrm>
            <a:off x="1617634" y="5882074"/>
            <a:ext cx="1068048"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Planning app</a:t>
            </a:r>
          </a:p>
        </p:txBody>
      </p:sp>
      <p:sp>
        <p:nvSpPr>
          <p:cNvPr id="171" name="Arrow: Pentagon 170">
            <a:extLst>
              <a:ext uri="{FF2B5EF4-FFF2-40B4-BE49-F238E27FC236}">
                <a16:creationId xmlns:a16="http://schemas.microsoft.com/office/drawing/2014/main" id="{F59833C0-296F-4436-8DB5-27BD2C64B61E}"/>
              </a:ext>
            </a:extLst>
          </p:cNvPr>
          <p:cNvSpPr/>
          <p:nvPr/>
        </p:nvSpPr>
        <p:spPr>
          <a:xfrm>
            <a:off x="5909660" y="5882074"/>
            <a:ext cx="1420964"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State cap. app</a:t>
            </a:r>
          </a:p>
        </p:txBody>
      </p:sp>
      <p:sp>
        <p:nvSpPr>
          <p:cNvPr id="174" name="Arrow: Chevron 173">
            <a:extLst>
              <a:ext uri="{FF2B5EF4-FFF2-40B4-BE49-F238E27FC236}">
                <a16:creationId xmlns:a16="http://schemas.microsoft.com/office/drawing/2014/main" id="{9911BAB9-CD57-4D5A-8DA7-5E288915098F}"/>
              </a:ext>
            </a:extLst>
          </p:cNvPr>
          <p:cNvSpPr/>
          <p:nvPr/>
        </p:nvSpPr>
        <p:spPr>
          <a:xfrm>
            <a:off x="7285968" y="5882074"/>
            <a:ext cx="4308658"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5-year state capacity implementation</a:t>
            </a:r>
          </a:p>
        </p:txBody>
      </p:sp>
      <p:grpSp>
        <p:nvGrpSpPr>
          <p:cNvPr id="175" name="Group 174">
            <a:extLst>
              <a:ext uri="{FF2B5EF4-FFF2-40B4-BE49-F238E27FC236}">
                <a16:creationId xmlns:a16="http://schemas.microsoft.com/office/drawing/2014/main" id="{2E34FF7B-E4C6-40A0-9EF3-6D0E14A8B05F}"/>
              </a:ext>
            </a:extLst>
          </p:cNvPr>
          <p:cNvGrpSpPr/>
          <p:nvPr/>
        </p:nvGrpSpPr>
        <p:grpSpPr>
          <a:xfrm>
            <a:off x="7469121" y="6197703"/>
            <a:ext cx="4125505" cy="266200"/>
            <a:chOff x="5061808" y="9320422"/>
            <a:chExt cx="2307813" cy="149406"/>
          </a:xfrm>
        </p:grpSpPr>
        <p:sp>
          <p:nvSpPr>
            <p:cNvPr id="176" name="Arrow: Pentagon 175">
              <a:extLst>
                <a:ext uri="{FF2B5EF4-FFF2-40B4-BE49-F238E27FC236}">
                  <a16:creationId xmlns:a16="http://schemas.microsoft.com/office/drawing/2014/main" id="{D2F31602-A72C-40EB-8A2B-0C175CBFCCC6}"/>
                </a:ext>
              </a:extLst>
            </p:cNvPr>
            <p:cNvSpPr/>
            <p:nvPr/>
          </p:nvSpPr>
          <p:spPr>
            <a:xfrm>
              <a:off x="5061808" y="9320422"/>
              <a:ext cx="597645" cy="149406"/>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Comp. app</a:t>
              </a:r>
            </a:p>
          </p:txBody>
        </p:sp>
        <p:sp>
          <p:nvSpPr>
            <p:cNvPr id="177" name="Arrow: Chevron 176">
              <a:extLst>
                <a:ext uri="{FF2B5EF4-FFF2-40B4-BE49-F238E27FC236}">
                  <a16:creationId xmlns:a16="http://schemas.microsoft.com/office/drawing/2014/main" id="{C24F4E6B-3C94-4E99-AF71-A8CE1DA9D246}"/>
                </a:ext>
              </a:extLst>
            </p:cNvPr>
            <p:cNvSpPr/>
            <p:nvPr/>
          </p:nvSpPr>
          <p:spPr>
            <a:xfrm>
              <a:off x="5659453" y="9320422"/>
              <a:ext cx="1710168" cy="149406"/>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4-year competitive implement.</a:t>
              </a:r>
            </a:p>
          </p:txBody>
        </p:sp>
      </p:grpSp>
      <p:sp>
        <p:nvSpPr>
          <p:cNvPr id="178" name="TextBox 177">
            <a:extLst>
              <a:ext uri="{FF2B5EF4-FFF2-40B4-BE49-F238E27FC236}">
                <a16:creationId xmlns:a16="http://schemas.microsoft.com/office/drawing/2014/main" id="{756EA521-D58A-4726-BAE6-BF1B83D11A7F}"/>
              </a:ext>
            </a:extLst>
          </p:cNvPr>
          <p:cNvSpPr txBox="1"/>
          <p:nvPr/>
        </p:nvSpPr>
        <p:spPr>
          <a:xfrm>
            <a:off x="1325442" y="5144655"/>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a:solidFill>
                  <a:srgbClr val="000000"/>
                </a:solidFill>
                <a:latin typeface="+mj-lt"/>
                <a:cs typeface="Arial" panose="020B0604020202020204" pitchFamily="34" charset="0"/>
              </a:rPr>
              <a:t>NOFO live 5/13</a:t>
            </a:r>
          </a:p>
        </p:txBody>
      </p:sp>
      <p:cxnSp>
        <p:nvCxnSpPr>
          <p:cNvPr id="179" name="Straight Connector 178">
            <a:extLst>
              <a:ext uri="{FF2B5EF4-FFF2-40B4-BE49-F238E27FC236}">
                <a16:creationId xmlns:a16="http://schemas.microsoft.com/office/drawing/2014/main" id="{608829DD-584B-470B-9A6F-845DD50C085A}"/>
              </a:ext>
            </a:extLst>
          </p:cNvPr>
          <p:cNvCxnSpPr>
            <a:cxnSpLocks/>
          </p:cNvCxnSpPr>
          <p:nvPr/>
        </p:nvCxnSpPr>
        <p:spPr>
          <a:xfrm>
            <a:off x="1632874" y="5612928"/>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451885F-1798-4664-805E-6802DD2FC2E6}"/>
              </a:ext>
            </a:extLst>
          </p:cNvPr>
          <p:cNvSpPr txBox="1"/>
          <p:nvPr/>
        </p:nvSpPr>
        <p:spPr>
          <a:xfrm>
            <a:off x="2214768" y="5329321"/>
            <a:ext cx="635182"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a:solidFill>
                  <a:srgbClr val="000000"/>
                </a:solidFill>
                <a:latin typeface="+mj-lt"/>
                <a:cs typeface="Arial" panose="020B0604020202020204" pitchFamily="34" charset="0"/>
              </a:rPr>
              <a:t>Due 7/12</a:t>
            </a:r>
          </a:p>
        </p:txBody>
      </p:sp>
      <p:cxnSp>
        <p:nvCxnSpPr>
          <p:cNvPr id="181" name="Straight Connector 180">
            <a:extLst>
              <a:ext uri="{FF2B5EF4-FFF2-40B4-BE49-F238E27FC236}">
                <a16:creationId xmlns:a16="http://schemas.microsoft.com/office/drawing/2014/main" id="{2F67E389-621C-403F-AB24-E626FFEAA7D3}"/>
              </a:ext>
            </a:extLst>
          </p:cNvPr>
          <p:cNvCxnSpPr>
            <a:cxnSpLocks/>
          </p:cNvCxnSpPr>
          <p:nvPr/>
        </p:nvCxnSpPr>
        <p:spPr>
          <a:xfrm>
            <a:off x="2522200" y="5612928"/>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3336BE10-19BA-4665-8C36-DD5228B700C9}"/>
              </a:ext>
            </a:extLst>
          </p:cNvPr>
          <p:cNvCxnSpPr>
            <a:cxnSpLocks/>
          </p:cNvCxnSpPr>
          <p:nvPr/>
        </p:nvCxnSpPr>
        <p:spPr>
          <a:xfrm>
            <a:off x="7329265" y="5612928"/>
            <a:ext cx="0" cy="26914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EBED1C4-EE45-4C5D-8895-068EB6A58592}"/>
              </a:ext>
            </a:extLst>
          </p:cNvPr>
          <p:cNvCxnSpPr>
            <a:cxnSpLocks/>
          </p:cNvCxnSpPr>
          <p:nvPr/>
        </p:nvCxnSpPr>
        <p:spPr>
          <a:xfrm>
            <a:off x="7469121" y="5612928"/>
            <a:ext cx="0" cy="61926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1BDB5E00-1BB0-4464-AC48-2C5AAB23241F}"/>
              </a:ext>
            </a:extLst>
          </p:cNvPr>
          <p:cNvSpPr txBox="1"/>
          <p:nvPr/>
        </p:nvSpPr>
        <p:spPr>
          <a:xfrm>
            <a:off x="8248651" y="4702206"/>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sp>
        <p:nvSpPr>
          <p:cNvPr id="59" name="TextBox 58">
            <a:extLst>
              <a:ext uri="{FF2B5EF4-FFF2-40B4-BE49-F238E27FC236}">
                <a16:creationId xmlns:a16="http://schemas.microsoft.com/office/drawing/2014/main" id="{4E5F3EA0-3A3A-474C-8CB7-AF0F59C13E7C}"/>
              </a:ext>
            </a:extLst>
          </p:cNvPr>
          <p:cNvSpPr txBox="1"/>
          <p:nvPr/>
        </p:nvSpPr>
        <p:spPr>
          <a:xfrm>
            <a:off x="6561573" y="4931748"/>
            <a:ext cx="1868994" cy="63248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nchor="b">
            <a:spAutoFit/>
          </a:bodyPr>
          <a:lstStyle/>
          <a:p>
            <a:pPr>
              <a:spcAft>
                <a:spcPts val="1000"/>
              </a:spcAft>
            </a:pPr>
            <a:r>
              <a:rPr lang="en-US" sz="1200" dirty="0">
                <a:solidFill>
                  <a:srgbClr val="000000"/>
                </a:solidFill>
                <a:latin typeface="+mj-lt"/>
                <a:cs typeface="Arial" panose="020B0604020202020204" pitchFamily="34" charset="0"/>
              </a:rPr>
              <a:t>Competitive Program launches within 1 month of first Capacity awards</a:t>
            </a:r>
          </a:p>
        </p:txBody>
      </p:sp>
    </p:spTree>
    <p:extLst>
      <p:ext uri="{BB962C8B-B14F-4D97-AF65-F5344CB8AC3E}">
        <p14:creationId xmlns:p14="http://schemas.microsoft.com/office/powerpoint/2010/main" val="3730352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rmAutofit fontScale="90000"/>
          </a:bodyPr>
          <a:lstStyle/>
          <a:p>
            <a:r>
              <a:rPr lang="en-US" cap="none" dirty="0">
                <a:solidFill>
                  <a:srgbClr val="164484"/>
                </a:solidFill>
              </a:rPr>
              <a:t>Planning funds will be used to develop State Digital Equity Plans, which must contain several components</a:t>
            </a:r>
          </a:p>
        </p:txBody>
      </p:sp>
      <p:sp>
        <p:nvSpPr>
          <p:cNvPr id="29" name="Rectangle 28">
            <a:extLst>
              <a:ext uri="{FF2B5EF4-FFF2-40B4-BE49-F238E27FC236}">
                <a16:creationId xmlns:a16="http://schemas.microsoft.com/office/drawing/2014/main" id="{F6EC38AE-37E5-4FF6-82CF-A1F57EFAB190}"/>
              </a:ext>
            </a:extLst>
          </p:cNvPr>
          <p:cNvSpPr/>
          <p:nvPr/>
        </p:nvSpPr>
        <p:spPr>
          <a:xfrm>
            <a:off x="1288055" y="1405756"/>
            <a:ext cx="4649279" cy="1231106"/>
          </a:xfrm>
          <a:prstGeom prst="rect">
            <a:avLst/>
          </a:prstGeom>
        </p:spPr>
        <p:txBody>
          <a:bodyPr wrap="square" lIns="0" tIns="0" rIns="0" bIns="0" anchor="ctr" anchorCtr="0">
            <a:spAutoFit/>
          </a:bodyPr>
          <a:lstStyle/>
          <a:p>
            <a:pPr>
              <a:buSzPct val="100000"/>
              <a:buFont typeface="Trebuchet MS" panose="020B0603020202020204" pitchFamily="34" charset="0"/>
              <a:buChar char="​"/>
            </a:pPr>
            <a:r>
              <a:rPr lang="en-US" sz="1600" b="1" dirty="0">
                <a:solidFill>
                  <a:srgbClr val="164484"/>
                </a:solidFill>
                <a:latin typeface="+mj-lt"/>
              </a:rPr>
              <a:t>Vision</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Stated </a:t>
            </a:r>
            <a:r>
              <a:rPr lang="en-US" sz="1600" b="1" dirty="0">
                <a:solidFill>
                  <a:srgbClr val="000000"/>
                </a:solidFill>
                <a:latin typeface="+mj-lt"/>
              </a:rPr>
              <a:t>vision</a:t>
            </a:r>
            <a:r>
              <a:rPr lang="en-US" sz="1600" dirty="0">
                <a:solidFill>
                  <a:srgbClr val="000000"/>
                </a:solidFill>
                <a:latin typeface="+mj-lt"/>
              </a:rPr>
              <a:t> for digital equity</a:t>
            </a:r>
          </a:p>
        </p:txBody>
      </p:sp>
      <p:grpSp>
        <p:nvGrpSpPr>
          <p:cNvPr id="28" name="Group 27">
            <a:extLst>
              <a:ext uri="{FF2B5EF4-FFF2-40B4-BE49-F238E27FC236}">
                <a16:creationId xmlns:a16="http://schemas.microsoft.com/office/drawing/2014/main" id="{EA2B30D5-C038-47E9-9848-DEE4F196736B}"/>
              </a:ext>
            </a:extLst>
          </p:cNvPr>
          <p:cNvGrpSpPr/>
          <p:nvPr/>
        </p:nvGrpSpPr>
        <p:grpSpPr>
          <a:xfrm>
            <a:off x="400051" y="1653375"/>
            <a:ext cx="779286" cy="735867"/>
            <a:chOff x="400051" y="1748181"/>
            <a:chExt cx="779286" cy="735867"/>
          </a:xfrm>
        </p:grpSpPr>
        <p:sp>
          <p:nvSpPr>
            <p:cNvPr id="33" name="Diamond 32">
              <a:extLst>
                <a:ext uri="{FF2B5EF4-FFF2-40B4-BE49-F238E27FC236}">
                  <a16:creationId xmlns:a16="http://schemas.microsoft.com/office/drawing/2014/main" id="{2D1F4E64-1F92-4DAB-A095-7ABC42B5C137}"/>
                </a:ext>
              </a:extLst>
            </p:cNvPr>
            <p:cNvSpPr/>
            <p:nvPr/>
          </p:nvSpPr>
          <p:spPr>
            <a:xfrm>
              <a:off x="400051" y="1748181"/>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Diamond 33">
              <a:extLst>
                <a:ext uri="{FF2B5EF4-FFF2-40B4-BE49-F238E27FC236}">
                  <a16:creationId xmlns:a16="http://schemas.microsoft.com/office/drawing/2014/main" id="{4D46F397-DBCC-405B-8739-0D6E484C1FC6}"/>
                </a:ext>
              </a:extLst>
            </p:cNvPr>
            <p:cNvSpPr/>
            <p:nvPr/>
          </p:nvSpPr>
          <p:spPr>
            <a:xfrm>
              <a:off x="443470" y="1748181"/>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6" name="Group 95">
              <a:extLst>
                <a:ext uri="{FF2B5EF4-FFF2-40B4-BE49-F238E27FC236}">
                  <a16:creationId xmlns:a16="http://schemas.microsoft.com/office/drawing/2014/main" id="{32CF91A4-A99C-4015-AEF4-8037962CA813}"/>
                </a:ext>
              </a:extLst>
            </p:cNvPr>
            <p:cNvGrpSpPr>
              <a:grpSpLocks noChangeAspect="1"/>
            </p:cNvGrpSpPr>
            <p:nvPr/>
          </p:nvGrpSpPr>
          <p:grpSpPr>
            <a:xfrm>
              <a:off x="581224" y="1904382"/>
              <a:ext cx="402676" cy="402676"/>
              <a:chOff x="5867400" y="3200400"/>
              <a:chExt cx="457200" cy="457200"/>
            </a:xfrm>
          </p:grpSpPr>
          <p:sp>
            <p:nvSpPr>
              <p:cNvPr id="97" name="AutoShape 43">
                <a:extLst>
                  <a:ext uri="{FF2B5EF4-FFF2-40B4-BE49-F238E27FC236}">
                    <a16:creationId xmlns:a16="http://schemas.microsoft.com/office/drawing/2014/main" id="{0794C5EE-9468-473C-9CD3-7CC0FD59A8E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9">
                <a:extLst>
                  <a:ext uri="{FF2B5EF4-FFF2-40B4-BE49-F238E27FC236}">
                    <a16:creationId xmlns:a16="http://schemas.microsoft.com/office/drawing/2014/main" id="{53DA62F5-5B60-4803-96BD-5A5EB000FCC5}"/>
                  </a:ext>
                </a:extLst>
              </p:cNvPr>
              <p:cNvSpPr>
                <a:spLocks noChangeArrowheads="1"/>
              </p:cNvSpPr>
              <p:nvPr/>
            </p:nvSpPr>
            <p:spPr bwMode="auto">
              <a:xfrm>
                <a:off x="5894731" y="3325813"/>
                <a:ext cx="402539" cy="207963"/>
              </a:xfrm>
              <a:custGeom>
                <a:avLst/>
                <a:gdLst>
                  <a:gd name="connsiteX0" fmla="*/ 202064 w 402539"/>
                  <a:gd name="connsiteY0" fmla="*/ 69850 h 207963"/>
                  <a:gd name="connsiteX1" fmla="*/ 236196 w 402539"/>
                  <a:gd name="connsiteY1" fmla="*/ 103982 h 207963"/>
                  <a:gd name="connsiteX2" fmla="*/ 202064 w 402539"/>
                  <a:gd name="connsiteY2" fmla="*/ 138114 h 207963"/>
                  <a:gd name="connsiteX3" fmla="*/ 167932 w 402539"/>
                  <a:gd name="connsiteY3" fmla="*/ 103982 h 207963"/>
                  <a:gd name="connsiteX4" fmla="*/ 202064 w 402539"/>
                  <a:gd name="connsiteY4" fmla="*/ 69850 h 207963"/>
                  <a:gd name="connsiteX5" fmla="*/ 201270 w 402539"/>
                  <a:gd name="connsiteY5" fmla="*/ 28575 h 207963"/>
                  <a:gd name="connsiteX6" fmla="*/ 126657 w 402539"/>
                  <a:gd name="connsiteY6" fmla="*/ 103188 h 207963"/>
                  <a:gd name="connsiteX7" fmla="*/ 201270 w 402539"/>
                  <a:gd name="connsiteY7" fmla="*/ 177801 h 207963"/>
                  <a:gd name="connsiteX8" fmla="*/ 275883 w 402539"/>
                  <a:gd name="connsiteY8" fmla="*/ 103188 h 207963"/>
                  <a:gd name="connsiteX9" fmla="*/ 201270 w 402539"/>
                  <a:gd name="connsiteY9" fmla="*/ 28575 h 207963"/>
                  <a:gd name="connsiteX10" fmla="*/ 201727 w 402539"/>
                  <a:gd name="connsiteY10" fmla="*/ 0 h 207963"/>
                  <a:gd name="connsiteX11" fmla="*/ 344821 w 402539"/>
                  <a:gd name="connsiteY11" fmla="*/ 50846 h 207963"/>
                  <a:gd name="connsiteX12" fmla="*/ 401511 w 402539"/>
                  <a:gd name="connsiteY12" fmla="*/ 101233 h 207963"/>
                  <a:gd name="connsiteX13" fmla="*/ 401511 w 402539"/>
                  <a:gd name="connsiteY13" fmla="*/ 106730 h 207963"/>
                  <a:gd name="connsiteX14" fmla="*/ 344364 w 402539"/>
                  <a:gd name="connsiteY14" fmla="*/ 157118 h 207963"/>
                  <a:gd name="connsiteX15" fmla="*/ 200813 w 402539"/>
                  <a:gd name="connsiteY15" fmla="*/ 207963 h 207963"/>
                  <a:gd name="connsiteX16" fmla="*/ 57718 w 402539"/>
                  <a:gd name="connsiteY16" fmla="*/ 157118 h 207963"/>
                  <a:gd name="connsiteX17" fmla="*/ 1029 w 402539"/>
                  <a:gd name="connsiteY17" fmla="*/ 106730 h 207963"/>
                  <a:gd name="connsiteX18" fmla="*/ 1029 w 402539"/>
                  <a:gd name="connsiteY18" fmla="*/ 101233 h 207963"/>
                  <a:gd name="connsiteX19" fmla="*/ 58175 w 402539"/>
                  <a:gd name="connsiteY19" fmla="*/ 50846 h 207963"/>
                  <a:gd name="connsiteX20" fmla="*/ 201727 w 402539"/>
                  <a:gd name="connsiteY20" fmla="*/ 0 h 20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539" h="207963">
                    <a:moveTo>
                      <a:pt x="202064" y="69850"/>
                    </a:moveTo>
                    <a:cubicBezTo>
                      <a:pt x="220915" y="69850"/>
                      <a:pt x="236196" y="85131"/>
                      <a:pt x="236196" y="103982"/>
                    </a:cubicBezTo>
                    <a:cubicBezTo>
                      <a:pt x="236196" y="122833"/>
                      <a:pt x="220915" y="138114"/>
                      <a:pt x="202064" y="138114"/>
                    </a:cubicBezTo>
                    <a:cubicBezTo>
                      <a:pt x="183213" y="138114"/>
                      <a:pt x="167932" y="122833"/>
                      <a:pt x="167932" y="103982"/>
                    </a:cubicBezTo>
                    <a:cubicBezTo>
                      <a:pt x="167932" y="85131"/>
                      <a:pt x="183213" y="69850"/>
                      <a:pt x="202064" y="69850"/>
                    </a:cubicBezTo>
                    <a:close/>
                    <a:moveTo>
                      <a:pt x="201270" y="28575"/>
                    </a:moveTo>
                    <a:cubicBezTo>
                      <a:pt x="160062" y="28575"/>
                      <a:pt x="126657" y="61980"/>
                      <a:pt x="126657" y="103188"/>
                    </a:cubicBezTo>
                    <a:cubicBezTo>
                      <a:pt x="126657" y="144396"/>
                      <a:pt x="160062" y="177801"/>
                      <a:pt x="201270" y="177801"/>
                    </a:cubicBezTo>
                    <a:cubicBezTo>
                      <a:pt x="242478" y="177801"/>
                      <a:pt x="275883" y="144396"/>
                      <a:pt x="275883" y="103188"/>
                    </a:cubicBezTo>
                    <a:cubicBezTo>
                      <a:pt x="275883" y="61980"/>
                      <a:pt x="242478" y="28575"/>
                      <a:pt x="201270" y="28575"/>
                    </a:cubicBezTo>
                    <a:close/>
                    <a:moveTo>
                      <a:pt x="201727" y="0"/>
                    </a:moveTo>
                    <a:cubicBezTo>
                      <a:pt x="261159" y="0"/>
                      <a:pt x="312362" y="27484"/>
                      <a:pt x="344821" y="50846"/>
                    </a:cubicBezTo>
                    <a:cubicBezTo>
                      <a:pt x="379567" y="75581"/>
                      <a:pt x="400596" y="100317"/>
                      <a:pt x="401511" y="101233"/>
                    </a:cubicBezTo>
                    <a:cubicBezTo>
                      <a:pt x="402882" y="102607"/>
                      <a:pt x="402882" y="105356"/>
                      <a:pt x="401511" y="106730"/>
                    </a:cubicBezTo>
                    <a:cubicBezTo>
                      <a:pt x="400596" y="107646"/>
                      <a:pt x="379567" y="132382"/>
                      <a:pt x="344364" y="157118"/>
                    </a:cubicBezTo>
                    <a:cubicBezTo>
                      <a:pt x="311448" y="180479"/>
                      <a:pt x="260245" y="207963"/>
                      <a:pt x="200813" y="207963"/>
                    </a:cubicBezTo>
                    <a:cubicBezTo>
                      <a:pt x="141380" y="207963"/>
                      <a:pt x="90177" y="180479"/>
                      <a:pt x="57718" y="157118"/>
                    </a:cubicBezTo>
                    <a:cubicBezTo>
                      <a:pt x="22973" y="132382"/>
                      <a:pt x="1943" y="107646"/>
                      <a:pt x="1029" y="106730"/>
                    </a:cubicBezTo>
                    <a:cubicBezTo>
                      <a:pt x="-343" y="105356"/>
                      <a:pt x="-343" y="102607"/>
                      <a:pt x="1029" y="101233"/>
                    </a:cubicBezTo>
                    <a:cubicBezTo>
                      <a:pt x="1943" y="100317"/>
                      <a:pt x="22973" y="75581"/>
                      <a:pt x="58175" y="50846"/>
                    </a:cubicBezTo>
                    <a:cubicBezTo>
                      <a:pt x="91091" y="27484"/>
                      <a:pt x="142295" y="0"/>
                      <a:pt x="20172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0" name="Rectangle 29">
            <a:extLst>
              <a:ext uri="{FF2B5EF4-FFF2-40B4-BE49-F238E27FC236}">
                <a16:creationId xmlns:a16="http://schemas.microsoft.com/office/drawing/2014/main" id="{E92562AB-65D6-411D-900C-8BE79F75D29F}"/>
              </a:ext>
            </a:extLst>
          </p:cNvPr>
          <p:cNvSpPr/>
          <p:nvPr/>
        </p:nvSpPr>
        <p:spPr>
          <a:xfrm>
            <a:off x="1244637" y="3031833"/>
            <a:ext cx="4649279" cy="1231106"/>
          </a:xfrm>
          <a:prstGeom prst="rect">
            <a:avLst/>
          </a:prstGeom>
        </p:spPr>
        <p:txBody>
          <a:bodyPr wrap="square" lIns="0" tIns="0" rIns="0" bIns="0" anchor="ctr" anchorCtr="0">
            <a:noAutofit/>
          </a:bodyPr>
          <a:lstStyle/>
          <a:p>
            <a:pPr>
              <a:buSzPct val="100000"/>
              <a:buFont typeface="Trebuchet MS" panose="020B0603020202020204" pitchFamily="34" charset="0"/>
              <a:buChar char="​"/>
            </a:pPr>
            <a:r>
              <a:rPr lang="en-US" sz="1600" b="1" dirty="0">
                <a:solidFill>
                  <a:srgbClr val="164484"/>
                </a:solidFill>
                <a:latin typeface="+mj-lt"/>
              </a:rPr>
              <a:t>Objectives</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Measurable objectives </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Assessment of how those objectives will </a:t>
            </a:r>
            <a:r>
              <a:rPr lang="en-US" sz="1600" b="1" dirty="0">
                <a:solidFill>
                  <a:srgbClr val="000000"/>
                </a:solidFill>
                <a:latin typeface="+mj-lt"/>
              </a:rPr>
              <a:t>impact the State's plans and outcomes</a:t>
            </a:r>
          </a:p>
        </p:txBody>
      </p:sp>
      <p:grpSp>
        <p:nvGrpSpPr>
          <p:cNvPr id="26" name="Group 25">
            <a:extLst>
              <a:ext uri="{FF2B5EF4-FFF2-40B4-BE49-F238E27FC236}">
                <a16:creationId xmlns:a16="http://schemas.microsoft.com/office/drawing/2014/main" id="{E5AD3BA8-AFF1-475A-BBDD-2E880BF6D3E6}"/>
              </a:ext>
            </a:extLst>
          </p:cNvPr>
          <p:cNvGrpSpPr/>
          <p:nvPr/>
        </p:nvGrpSpPr>
        <p:grpSpPr>
          <a:xfrm>
            <a:off x="400051" y="3279453"/>
            <a:ext cx="779286" cy="735867"/>
            <a:chOff x="400051" y="3088002"/>
            <a:chExt cx="779286" cy="735867"/>
          </a:xfrm>
        </p:grpSpPr>
        <p:sp>
          <p:nvSpPr>
            <p:cNvPr id="37" name="Diamond 36">
              <a:extLst>
                <a:ext uri="{FF2B5EF4-FFF2-40B4-BE49-F238E27FC236}">
                  <a16:creationId xmlns:a16="http://schemas.microsoft.com/office/drawing/2014/main" id="{4BD89924-C94A-4473-BD69-9F92AD434A02}"/>
                </a:ext>
              </a:extLst>
            </p:cNvPr>
            <p:cNvSpPr/>
            <p:nvPr/>
          </p:nvSpPr>
          <p:spPr>
            <a:xfrm>
              <a:off x="400051" y="3088002"/>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Diamond 37">
              <a:extLst>
                <a:ext uri="{FF2B5EF4-FFF2-40B4-BE49-F238E27FC236}">
                  <a16:creationId xmlns:a16="http://schemas.microsoft.com/office/drawing/2014/main" id="{2D321A25-92DA-4346-BBE9-4A634C1006E4}"/>
                </a:ext>
              </a:extLst>
            </p:cNvPr>
            <p:cNvSpPr/>
            <p:nvPr/>
          </p:nvSpPr>
          <p:spPr>
            <a:xfrm>
              <a:off x="443470" y="3088002"/>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3" name="Group 92">
              <a:extLst>
                <a:ext uri="{FF2B5EF4-FFF2-40B4-BE49-F238E27FC236}">
                  <a16:creationId xmlns:a16="http://schemas.microsoft.com/office/drawing/2014/main" id="{5DA0A62D-8373-4F8D-B3C7-26CBA55C8591}"/>
                </a:ext>
              </a:extLst>
            </p:cNvPr>
            <p:cNvGrpSpPr>
              <a:grpSpLocks noChangeAspect="1"/>
            </p:cNvGrpSpPr>
            <p:nvPr/>
          </p:nvGrpSpPr>
          <p:grpSpPr>
            <a:xfrm>
              <a:off x="581224" y="3238054"/>
              <a:ext cx="457200" cy="457200"/>
              <a:chOff x="5867400" y="3200400"/>
              <a:chExt cx="457200" cy="457200"/>
            </a:xfrm>
          </p:grpSpPr>
          <p:sp>
            <p:nvSpPr>
              <p:cNvPr id="94" name="AutoShape 98">
                <a:extLst>
                  <a:ext uri="{FF2B5EF4-FFF2-40B4-BE49-F238E27FC236}">
                    <a16:creationId xmlns:a16="http://schemas.microsoft.com/office/drawing/2014/main" id="{35F9F554-285A-4CD3-9807-031B870F997D}"/>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7">
                <a:extLst>
                  <a:ext uri="{FF2B5EF4-FFF2-40B4-BE49-F238E27FC236}">
                    <a16:creationId xmlns:a16="http://schemas.microsoft.com/office/drawing/2014/main" id="{21C54923-1620-4C5C-B0D9-B155008AADC8}"/>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grpSp>
      <p:sp>
        <p:nvSpPr>
          <p:cNvPr id="45" name="Rectangle 44">
            <a:extLst>
              <a:ext uri="{FF2B5EF4-FFF2-40B4-BE49-F238E27FC236}">
                <a16:creationId xmlns:a16="http://schemas.microsoft.com/office/drawing/2014/main" id="{F93C36F8-A5FC-40C2-B602-4CF1015C5838}"/>
              </a:ext>
            </a:extLst>
          </p:cNvPr>
          <p:cNvSpPr/>
          <p:nvPr/>
        </p:nvSpPr>
        <p:spPr>
          <a:xfrm>
            <a:off x="1288056" y="4657909"/>
            <a:ext cx="4649279" cy="1231106"/>
          </a:xfrm>
          <a:prstGeom prst="rect">
            <a:avLst/>
          </a:prstGeom>
        </p:spPr>
        <p:txBody>
          <a:bodyPr wrap="square" lIns="0" tIns="0" rIns="0" bIns="0" anchor="ctr" anchorCtr="0">
            <a:spAutoFit/>
          </a:bodyPr>
          <a:lstStyle/>
          <a:p>
            <a:pPr>
              <a:buSzPct val="100000"/>
              <a:buFont typeface="Trebuchet MS" panose="020B0603020202020204" pitchFamily="34" charset="0"/>
              <a:buChar char="​"/>
            </a:pPr>
            <a:r>
              <a:rPr lang="en-US" sz="1600" b="1" dirty="0">
                <a:solidFill>
                  <a:srgbClr val="164484"/>
                </a:solidFill>
                <a:latin typeface="+mj-lt"/>
              </a:rPr>
              <a:t>Barriers to Digital Equity</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Identify barriers </a:t>
            </a:r>
            <a:r>
              <a:rPr lang="en-US" sz="1600" dirty="0">
                <a:solidFill>
                  <a:srgbClr val="000000"/>
                </a:solidFill>
                <a:latin typeface="+mj-lt"/>
              </a:rPr>
              <a:t>to digital equity </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Include a </a:t>
            </a:r>
            <a:r>
              <a:rPr lang="en-US" sz="1600" b="1" dirty="0">
                <a:solidFill>
                  <a:srgbClr val="000000"/>
                </a:solidFill>
                <a:latin typeface="+mj-lt"/>
              </a:rPr>
              <a:t>digital needs assessment</a:t>
            </a:r>
          </a:p>
        </p:txBody>
      </p:sp>
      <p:grpSp>
        <p:nvGrpSpPr>
          <p:cNvPr id="41" name="Group 40">
            <a:extLst>
              <a:ext uri="{FF2B5EF4-FFF2-40B4-BE49-F238E27FC236}">
                <a16:creationId xmlns:a16="http://schemas.microsoft.com/office/drawing/2014/main" id="{B99CCBA2-A949-41EC-B146-20742BE93327}"/>
              </a:ext>
            </a:extLst>
          </p:cNvPr>
          <p:cNvGrpSpPr/>
          <p:nvPr/>
        </p:nvGrpSpPr>
        <p:grpSpPr>
          <a:xfrm>
            <a:off x="443470" y="4905528"/>
            <a:ext cx="779286" cy="735867"/>
            <a:chOff x="443470" y="4659308"/>
            <a:chExt cx="779286" cy="735867"/>
          </a:xfrm>
        </p:grpSpPr>
        <p:sp>
          <p:nvSpPr>
            <p:cNvPr id="47" name="Diamond 46">
              <a:extLst>
                <a:ext uri="{FF2B5EF4-FFF2-40B4-BE49-F238E27FC236}">
                  <a16:creationId xmlns:a16="http://schemas.microsoft.com/office/drawing/2014/main" id="{DF376D15-8819-4552-9DD5-002092364BA4}"/>
                </a:ext>
              </a:extLst>
            </p:cNvPr>
            <p:cNvSpPr/>
            <p:nvPr/>
          </p:nvSpPr>
          <p:spPr>
            <a:xfrm>
              <a:off x="443470" y="4659308"/>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Diamond 47">
              <a:extLst>
                <a:ext uri="{FF2B5EF4-FFF2-40B4-BE49-F238E27FC236}">
                  <a16:creationId xmlns:a16="http://schemas.microsoft.com/office/drawing/2014/main" id="{CC774F89-41A1-400B-822C-C11BCAC09C1F}"/>
                </a:ext>
              </a:extLst>
            </p:cNvPr>
            <p:cNvSpPr/>
            <p:nvPr/>
          </p:nvSpPr>
          <p:spPr>
            <a:xfrm>
              <a:off x="486889" y="4659308"/>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9" name="Group 98">
              <a:extLst>
                <a:ext uri="{FF2B5EF4-FFF2-40B4-BE49-F238E27FC236}">
                  <a16:creationId xmlns:a16="http://schemas.microsoft.com/office/drawing/2014/main" id="{77A0C98A-A149-4798-BA43-A719E3939A20}"/>
                </a:ext>
              </a:extLst>
            </p:cNvPr>
            <p:cNvGrpSpPr>
              <a:grpSpLocks noChangeAspect="1"/>
            </p:cNvGrpSpPr>
            <p:nvPr/>
          </p:nvGrpSpPr>
          <p:grpSpPr>
            <a:xfrm>
              <a:off x="624865" y="4821659"/>
              <a:ext cx="457200" cy="457200"/>
              <a:chOff x="7324947" y="3200401"/>
              <a:chExt cx="457200" cy="457200"/>
            </a:xfrm>
          </p:grpSpPr>
          <p:sp>
            <p:nvSpPr>
              <p:cNvPr id="100" name="AutoShape 3">
                <a:extLst>
                  <a:ext uri="{FF2B5EF4-FFF2-40B4-BE49-F238E27FC236}">
                    <a16:creationId xmlns:a16="http://schemas.microsoft.com/office/drawing/2014/main" id="{581706A1-6C1A-498B-9164-A09099CAFBDE}"/>
                  </a:ext>
                </a:extLst>
              </p:cNvPr>
              <p:cNvSpPr>
                <a:spLocks noChangeAspect="1" noChangeArrowheads="1" noTextEdit="1"/>
              </p:cNvSpPr>
              <p:nvPr/>
            </p:nvSpPr>
            <p:spPr bwMode="auto">
              <a:xfrm>
                <a:off x="7324947"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5">
                <a:extLst>
                  <a:ext uri="{FF2B5EF4-FFF2-40B4-BE49-F238E27FC236}">
                    <a16:creationId xmlns:a16="http://schemas.microsoft.com/office/drawing/2014/main" id="{E5888F2A-AA29-44DA-84B2-ECC90A4883B3}"/>
                  </a:ext>
                </a:extLst>
              </p:cNvPr>
              <p:cNvSpPr>
                <a:spLocks noEditPoints="1"/>
              </p:cNvSpPr>
              <p:nvPr/>
            </p:nvSpPr>
            <p:spPr bwMode="auto">
              <a:xfrm>
                <a:off x="7379788" y="3316240"/>
                <a:ext cx="347903" cy="226098"/>
              </a:xfrm>
              <a:custGeom>
                <a:avLst/>
                <a:gdLst>
                  <a:gd name="T0" fmla="*/ 628 w 760"/>
                  <a:gd name="T1" fmla="*/ 494 h 494"/>
                  <a:gd name="T2" fmla="*/ 684 w 760"/>
                  <a:gd name="T3" fmla="*/ 494 h 494"/>
                  <a:gd name="T4" fmla="*/ 684 w 760"/>
                  <a:gd name="T5" fmla="*/ 198 h 494"/>
                  <a:gd name="T6" fmla="*/ 628 w 760"/>
                  <a:gd name="T7" fmla="*/ 198 h 494"/>
                  <a:gd name="T8" fmla="*/ 628 w 760"/>
                  <a:gd name="T9" fmla="*/ 494 h 494"/>
                  <a:gd name="T10" fmla="*/ 72 w 760"/>
                  <a:gd name="T11" fmla="*/ 494 h 494"/>
                  <a:gd name="T12" fmla="*/ 127 w 760"/>
                  <a:gd name="T13" fmla="*/ 494 h 494"/>
                  <a:gd name="T14" fmla="*/ 127 w 760"/>
                  <a:gd name="T15" fmla="*/ 198 h 494"/>
                  <a:gd name="T16" fmla="*/ 72 w 760"/>
                  <a:gd name="T17" fmla="*/ 198 h 494"/>
                  <a:gd name="T18" fmla="*/ 72 w 760"/>
                  <a:gd name="T19" fmla="*/ 494 h 494"/>
                  <a:gd name="T20" fmla="*/ 225 w 760"/>
                  <a:gd name="T21" fmla="*/ 0 h 494"/>
                  <a:gd name="T22" fmla="*/ 103 w 760"/>
                  <a:gd name="T23" fmla="*/ 159 h 494"/>
                  <a:gd name="T24" fmla="*/ 281 w 760"/>
                  <a:gd name="T25" fmla="*/ 159 h 494"/>
                  <a:gd name="T26" fmla="*/ 403 w 760"/>
                  <a:gd name="T27" fmla="*/ 0 h 494"/>
                  <a:gd name="T28" fmla="*/ 225 w 760"/>
                  <a:gd name="T29" fmla="*/ 0 h 494"/>
                  <a:gd name="T30" fmla="*/ 10 w 760"/>
                  <a:gd name="T31" fmla="*/ 0 h 494"/>
                  <a:gd name="T32" fmla="*/ 0 w 760"/>
                  <a:gd name="T33" fmla="*/ 10 h 494"/>
                  <a:gd name="T34" fmla="*/ 0 w 760"/>
                  <a:gd name="T35" fmla="*/ 149 h 494"/>
                  <a:gd name="T36" fmla="*/ 10 w 760"/>
                  <a:gd name="T37" fmla="*/ 159 h 494"/>
                  <a:gd name="T38" fmla="*/ 33 w 760"/>
                  <a:gd name="T39" fmla="*/ 159 h 494"/>
                  <a:gd name="T40" fmla="*/ 155 w 760"/>
                  <a:gd name="T41" fmla="*/ 0 h 494"/>
                  <a:gd name="T42" fmla="*/ 10 w 760"/>
                  <a:gd name="T43" fmla="*/ 0 h 494"/>
                  <a:gd name="T44" fmla="*/ 750 w 760"/>
                  <a:gd name="T45" fmla="*/ 0 h 494"/>
                  <a:gd name="T46" fmla="*/ 721 w 760"/>
                  <a:gd name="T47" fmla="*/ 0 h 494"/>
                  <a:gd name="T48" fmla="*/ 599 w 760"/>
                  <a:gd name="T49" fmla="*/ 159 h 494"/>
                  <a:gd name="T50" fmla="*/ 750 w 760"/>
                  <a:gd name="T51" fmla="*/ 159 h 494"/>
                  <a:gd name="T52" fmla="*/ 760 w 760"/>
                  <a:gd name="T53" fmla="*/ 149 h 494"/>
                  <a:gd name="T54" fmla="*/ 760 w 760"/>
                  <a:gd name="T55" fmla="*/ 10 h 494"/>
                  <a:gd name="T56" fmla="*/ 750 w 760"/>
                  <a:gd name="T57" fmla="*/ 0 h 494"/>
                  <a:gd name="T58" fmla="*/ 473 w 760"/>
                  <a:gd name="T59" fmla="*/ 0 h 494"/>
                  <a:gd name="T60" fmla="*/ 351 w 760"/>
                  <a:gd name="T61" fmla="*/ 159 h 494"/>
                  <a:gd name="T62" fmla="*/ 529 w 760"/>
                  <a:gd name="T63" fmla="*/ 159 h 494"/>
                  <a:gd name="T64" fmla="*/ 651 w 760"/>
                  <a:gd name="T65" fmla="*/ 0 h 494"/>
                  <a:gd name="T66" fmla="*/ 473 w 760"/>
                  <a:gd name="T67" fmla="*/ 0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0" h="494">
                    <a:moveTo>
                      <a:pt x="628" y="494"/>
                    </a:moveTo>
                    <a:cubicBezTo>
                      <a:pt x="628" y="494"/>
                      <a:pt x="628" y="494"/>
                      <a:pt x="684" y="494"/>
                    </a:cubicBezTo>
                    <a:cubicBezTo>
                      <a:pt x="684" y="494"/>
                      <a:pt x="684" y="494"/>
                      <a:pt x="684" y="198"/>
                    </a:cubicBezTo>
                    <a:cubicBezTo>
                      <a:pt x="684" y="198"/>
                      <a:pt x="684" y="198"/>
                      <a:pt x="628" y="198"/>
                    </a:cubicBezTo>
                    <a:cubicBezTo>
                      <a:pt x="628" y="198"/>
                      <a:pt x="628" y="198"/>
                      <a:pt x="628" y="494"/>
                    </a:cubicBezTo>
                    <a:close/>
                    <a:moveTo>
                      <a:pt x="72" y="494"/>
                    </a:moveTo>
                    <a:cubicBezTo>
                      <a:pt x="72" y="494"/>
                      <a:pt x="72" y="494"/>
                      <a:pt x="127" y="494"/>
                    </a:cubicBezTo>
                    <a:cubicBezTo>
                      <a:pt x="127" y="494"/>
                      <a:pt x="127" y="494"/>
                      <a:pt x="127" y="198"/>
                    </a:cubicBezTo>
                    <a:cubicBezTo>
                      <a:pt x="127" y="198"/>
                      <a:pt x="127" y="198"/>
                      <a:pt x="72" y="198"/>
                    </a:cubicBezTo>
                    <a:cubicBezTo>
                      <a:pt x="72" y="198"/>
                      <a:pt x="72" y="198"/>
                      <a:pt x="72" y="494"/>
                    </a:cubicBezTo>
                    <a:close/>
                    <a:moveTo>
                      <a:pt x="225" y="0"/>
                    </a:moveTo>
                    <a:cubicBezTo>
                      <a:pt x="103" y="159"/>
                      <a:pt x="103" y="159"/>
                      <a:pt x="103" y="159"/>
                    </a:cubicBezTo>
                    <a:cubicBezTo>
                      <a:pt x="281" y="159"/>
                      <a:pt x="281" y="159"/>
                      <a:pt x="281" y="159"/>
                    </a:cubicBezTo>
                    <a:cubicBezTo>
                      <a:pt x="403" y="0"/>
                      <a:pt x="403" y="0"/>
                      <a:pt x="403" y="0"/>
                    </a:cubicBezTo>
                    <a:cubicBezTo>
                      <a:pt x="225" y="0"/>
                      <a:pt x="225" y="0"/>
                      <a:pt x="225" y="0"/>
                    </a:cubicBezTo>
                    <a:close/>
                    <a:moveTo>
                      <a:pt x="10" y="0"/>
                    </a:moveTo>
                    <a:cubicBezTo>
                      <a:pt x="4" y="0"/>
                      <a:pt x="0" y="4"/>
                      <a:pt x="0" y="10"/>
                    </a:cubicBezTo>
                    <a:cubicBezTo>
                      <a:pt x="0" y="149"/>
                      <a:pt x="0" y="149"/>
                      <a:pt x="0" y="149"/>
                    </a:cubicBezTo>
                    <a:cubicBezTo>
                      <a:pt x="0" y="154"/>
                      <a:pt x="4" y="159"/>
                      <a:pt x="10" y="159"/>
                    </a:cubicBezTo>
                    <a:cubicBezTo>
                      <a:pt x="33" y="159"/>
                      <a:pt x="33" y="159"/>
                      <a:pt x="33" y="159"/>
                    </a:cubicBezTo>
                    <a:cubicBezTo>
                      <a:pt x="155" y="0"/>
                      <a:pt x="155" y="0"/>
                      <a:pt x="155" y="0"/>
                    </a:cubicBezTo>
                    <a:cubicBezTo>
                      <a:pt x="10" y="0"/>
                      <a:pt x="10" y="0"/>
                      <a:pt x="10" y="0"/>
                    </a:cubicBezTo>
                    <a:close/>
                    <a:moveTo>
                      <a:pt x="750" y="0"/>
                    </a:moveTo>
                    <a:cubicBezTo>
                      <a:pt x="721" y="0"/>
                      <a:pt x="721" y="0"/>
                      <a:pt x="721" y="0"/>
                    </a:cubicBezTo>
                    <a:cubicBezTo>
                      <a:pt x="599" y="159"/>
                      <a:pt x="599" y="159"/>
                      <a:pt x="599" y="159"/>
                    </a:cubicBezTo>
                    <a:cubicBezTo>
                      <a:pt x="750" y="159"/>
                      <a:pt x="750" y="159"/>
                      <a:pt x="750" y="159"/>
                    </a:cubicBezTo>
                    <a:cubicBezTo>
                      <a:pt x="756" y="159"/>
                      <a:pt x="760" y="154"/>
                      <a:pt x="760" y="149"/>
                    </a:cubicBezTo>
                    <a:cubicBezTo>
                      <a:pt x="760" y="10"/>
                      <a:pt x="760" y="10"/>
                      <a:pt x="760" y="10"/>
                    </a:cubicBezTo>
                    <a:cubicBezTo>
                      <a:pt x="760" y="4"/>
                      <a:pt x="756" y="0"/>
                      <a:pt x="750" y="0"/>
                    </a:cubicBezTo>
                    <a:close/>
                    <a:moveTo>
                      <a:pt x="473" y="0"/>
                    </a:moveTo>
                    <a:cubicBezTo>
                      <a:pt x="351" y="159"/>
                      <a:pt x="351" y="159"/>
                      <a:pt x="351" y="159"/>
                    </a:cubicBezTo>
                    <a:cubicBezTo>
                      <a:pt x="529" y="159"/>
                      <a:pt x="529" y="159"/>
                      <a:pt x="529" y="159"/>
                    </a:cubicBezTo>
                    <a:cubicBezTo>
                      <a:pt x="651" y="0"/>
                      <a:pt x="651" y="0"/>
                      <a:pt x="651" y="0"/>
                    </a:cubicBezTo>
                    <a:cubicBezTo>
                      <a:pt x="473" y="0"/>
                      <a:pt x="473" y="0"/>
                      <a:pt x="4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31" name="Rectangle 30">
            <a:extLst>
              <a:ext uri="{FF2B5EF4-FFF2-40B4-BE49-F238E27FC236}">
                <a16:creationId xmlns:a16="http://schemas.microsoft.com/office/drawing/2014/main" id="{E3220684-5AF0-45BD-B913-9DF7C01DA68F}"/>
              </a:ext>
            </a:extLst>
          </p:cNvPr>
          <p:cNvSpPr/>
          <p:nvPr/>
        </p:nvSpPr>
        <p:spPr>
          <a:xfrm>
            <a:off x="7040028" y="1405756"/>
            <a:ext cx="4649279" cy="1231106"/>
          </a:xfrm>
          <a:prstGeom prst="rect">
            <a:avLst/>
          </a:prstGeom>
        </p:spPr>
        <p:txBody>
          <a:bodyPr wrap="square" lIns="0" tIns="0" rIns="0" bIns="0" anchor="ctr" anchorCtr="0">
            <a:noAutofit/>
          </a:bodyPr>
          <a:lstStyle/>
          <a:p>
            <a:pPr>
              <a:buSzPct val="100000"/>
              <a:buFont typeface="Trebuchet MS" panose="020B0603020202020204" pitchFamily="34" charset="0"/>
              <a:buChar char="​"/>
            </a:pPr>
            <a:r>
              <a:rPr lang="en-US" sz="1600" b="1" dirty="0">
                <a:solidFill>
                  <a:srgbClr val="164484"/>
                </a:solidFill>
                <a:latin typeface="+mj-lt"/>
              </a:rPr>
              <a:t>Outreach and Engagement</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Description of plan to collaborate </a:t>
            </a:r>
            <a:r>
              <a:rPr lang="en-US" sz="1600" dirty="0">
                <a:solidFill>
                  <a:srgbClr val="000000"/>
                </a:solidFill>
                <a:latin typeface="+mj-lt"/>
              </a:rPr>
              <a:t>with key stakeholders to achieve its digital equity goals</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List of organizations</a:t>
            </a:r>
            <a:r>
              <a:rPr lang="en-US" sz="1600" dirty="0">
                <a:solidFill>
                  <a:srgbClr val="000000"/>
                </a:solidFill>
                <a:latin typeface="+mj-lt"/>
              </a:rPr>
              <a:t> that collaborated on and contributed to digital equity plans</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Coordination and outreach </a:t>
            </a:r>
            <a:r>
              <a:rPr lang="en-US" sz="1600" b="1" dirty="0">
                <a:solidFill>
                  <a:srgbClr val="000000"/>
                </a:solidFill>
                <a:latin typeface="+mj-lt"/>
              </a:rPr>
              <a:t>strategy</a:t>
            </a:r>
          </a:p>
        </p:txBody>
      </p:sp>
      <p:grpSp>
        <p:nvGrpSpPr>
          <p:cNvPr id="42" name="Group 41">
            <a:extLst>
              <a:ext uri="{FF2B5EF4-FFF2-40B4-BE49-F238E27FC236}">
                <a16:creationId xmlns:a16="http://schemas.microsoft.com/office/drawing/2014/main" id="{47E1FCC5-83AF-4602-B1AC-1D243C7C7540}"/>
              </a:ext>
            </a:extLst>
          </p:cNvPr>
          <p:cNvGrpSpPr/>
          <p:nvPr/>
        </p:nvGrpSpPr>
        <p:grpSpPr>
          <a:xfrm>
            <a:off x="6164285" y="1653375"/>
            <a:ext cx="779286" cy="735867"/>
            <a:chOff x="6164285" y="1766629"/>
            <a:chExt cx="779286" cy="735867"/>
          </a:xfrm>
        </p:grpSpPr>
        <p:sp>
          <p:nvSpPr>
            <p:cNvPr id="35" name="Diamond 34">
              <a:extLst>
                <a:ext uri="{FF2B5EF4-FFF2-40B4-BE49-F238E27FC236}">
                  <a16:creationId xmlns:a16="http://schemas.microsoft.com/office/drawing/2014/main" id="{1BEEAFDA-F184-4934-89F6-350EABDFB6BE}"/>
                </a:ext>
              </a:extLst>
            </p:cNvPr>
            <p:cNvSpPr/>
            <p:nvPr/>
          </p:nvSpPr>
          <p:spPr>
            <a:xfrm>
              <a:off x="6164285" y="1766629"/>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 name="Diamond 35">
              <a:extLst>
                <a:ext uri="{FF2B5EF4-FFF2-40B4-BE49-F238E27FC236}">
                  <a16:creationId xmlns:a16="http://schemas.microsoft.com/office/drawing/2014/main" id="{A4CA7D2D-2098-4201-8859-140FBE95E0E2}"/>
                </a:ext>
              </a:extLst>
            </p:cNvPr>
            <p:cNvSpPr/>
            <p:nvPr/>
          </p:nvSpPr>
          <p:spPr>
            <a:xfrm>
              <a:off x="6207704" y="1766629"/>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5" name="Group 74">
              <a:extLst>
                <a:ext uri="{FF2B5EF4-FFF2-40B4-BE49-F238E27FC236}">
                  <a16:creationId xmlns:a16="http://schemas.microsoft.com/office/drawing/2014/main" id="{D5245D1E-5504-4215-859E-7A3A42524656}"/>
                </a:ext>
              </a:extLst>
            </p:cNvPr>
            <p:cNvGrpSpPr>
              <a:grpSpLocks noChangeAspect="1"/>
            </p:cNvGrpSpPr>
            <p:nvPr/>
          </p:nvGrpSpPr>
          <p:grpSpPr>
            <a:xfrm>
              <a:off x="6345457" y="1904382"/>
              <a:ext cx="457200" cy="457200"/>
              <a:chOff x="7324948" y="3200401"/>
              <a:chExt cx="457200" cy="457200"/>
            </a:xfrm>
          </p:grpSpPr>
          <p:sp>
            <p:nvSpPr>
              <p:cNvPr id="91" name="AutoShape 8">
                <a:extLst>
                  <a:ext uri="{FF2B5EF4-FFF2-40B4-BE49-F238E27FC236}">
                    <a16:creationId xmlns:a16="http://schemas.microsoft.com/office/drawing/2014/main" id="{3A65973C-D8FA-460B-80B9-60CCD17F44BF}"/>
                  </a:ext>
                </a:extLst>
              </p:cNvPr>
              <p:cNvSpPr>
                <a:spLocks noChangeAspect="1" noChangeArrowheads="1" noTextEdit="1"/>
              </p:cNvSpPr>
              <p:nvPr/>
            </p:nvSpPr>
            <p:spPr bwMode="auto">
              <a:xfrm>
                <a:off x="7324948"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
                <a:extLst>
                  <a:ext uri="{FF2B5EF4-FFF2-40B4-BE49-F238E27FC236}">
                    <a16:creationId xmlns:a16="http://schemas.microsoft.com/office/drawing/2014/main" id="{7FDFB16D-7782-40BA-B7AC-9588B8D88816}"/>
                  </a:ext>
                </a:extLst>
              </p:cNvPr>
              <p:cNvSpPr>
                <a:spLocks noEditPoints="1"/>
              </p:cNvSpPr>
              <p:nvPr/>
            </p:nvSpPr>
            <p:spPr bwMode="auto">
              <a:xfrm>
                <a:off x="7340534" y="3284106"/>
                <a:ext cx="436226" cy="291138"/>
              </a:xfrm>
              <a:custGeom>
                <a:avLst/>
                <a:gdLst>
                  <a:gd name="T0" fmla="*/ 435 w 953"/>
                  <a:gd name="T1" fmla="*/ 114 h 636"/>
                  <a:gd name="T2" fmla="*/ 399 w 953"/>
                  <a:gd name="T3" fmla="*/ 136 h 636"/>
                  <a:gd name="T4" fmla="*/ 346 w 953"/>
                  <a:gd name="T5" fmla="*/ 190 h 636"/>
                  <a:gd name="T6" fmla="*/ 341 w 953"/>
                  <a:gd name="T7" fmla="*/ 136 h 636"/>
                  <a:gd name="T8" fmla="*/ 282 w 953"/>
                  <a:gd name="T9" fmla="*/ 114 h 636"/>
                  <a:gd name="T10" fmla="*/ 304 w 953"/>
                  <a:gd name="T11" fmla="*/ 0 h 636"/>
                  <a:gd name="T12" fmla="*/ 435 w 953"/>
                  <a:gd name="T13" fmla="*/ 21 h 636"/>
                  <a:gd name="T14" fmla="*/ 594 w 953"/>
                  <a:gd name="T15" fmla="*/ 212 h 636"/>
                  <a:gd name="T16" fmla="*/ 599 w 953"/>
                  <a:gd name="T17" fmla="*/ 158 h 636"/>
                  <a:gd name="T18" fmla="*/ 658 w 953"/>
                  <a:gd name="T19" fmla="*/ 136 h 636"/>
                  <a:gd name="T20" fmla="*/ 636 w 953"/>
                  <a:gd name="T21" fmla="*/ 22 h 636"/>
                  <a:gd name="T22" fmla="*/ 482 w 953"/>
                  <a:gd name="T23" fmla="*/ 23 h 636"/>
                  <a:gd name="T24" fmla="*/ 467 w 953"/>
                  <a:gd name="T25" fmla="*/ 43 h 636"/>
                  <a:gd name="T26" fmla="*/ 467 w 953"/>
                  <a:gd name="T27" fmla="*/ 136 h 636"/>
                  <a:gd name="T28" fmla="*/ 540 w 953"/>
                  <a:gd name="T29" fmla="*/ 158 h 636"/>
                  <a:gd name="T30" fmla="*/ 358 w 953"/>
                  <a:gd name="T31" fmla="*/ 406 h 636"/>
                  <a:gd name="T32" fmla="*/ 338 w 953"/>
                  <a:gd name="T33" fmla="*/ 359 h 636"/>
                  <a:gd name="T34" fmla="*/ 332 w 953"/>
                  <a:gd name="T35" fmla="*/ 293 h 636"/>
                  <a:gd name="T36" fmla="*/ 358 w 953"/>
                  <a:gd name="T37" fmla="*/ 238 h 636"/>
                  <a:gd name="T38" fmla="*/ 38 w 953"/>
                  <a:gd name="T39" fmla="*/ 313 h 636"/>
                  <a:gd name="T40" fmla="*/ 93 w 953"/>
                  <a:gd name="T41" fmla="*/ 601 h 636"/>
                  <a:gd name="T42" fmla="*/ 246 w 953"/>
                  <a:gd name="T43" fmla="*/ 635 h 636"/>
                  <a:gd name="T44" fmla="*/ 255 w 953"/>
                  <a:gd name="T45" fmla="*/ 562 h 636"/>
                  <a:gd name="T46" fmla="*/ 342 w 953"/>
                  <a:gd name="T47" fmla="*/ 517 h 636"/>
                  <a:gd name="T48" fmla="*/ 340 w 953"/>
                  <a:gd name="T49" fmla="*/ 463 h 636"/>
                  <a:gd name="T50" fmla="*/ 361 w 953"/>
                  <a:gd name="T51" fmla="*/ 409 h 636"/>
                  <a:gd name="T52" fmla="*/ 880 w 953"/>
                  <a:gd name="T53" fmla="*/ 308 h 636"/>
                  <a:gd name="T54" fmla="*/ 580 w 953"/>
                  <a:gd name="T55" fmla="*/ 281 h 636"/>
                  <a:gd name="T56" fmla="*/ 572 w 953"/>
                  <a:gd name="T57" fmla="*/ 340 h 636"/>
                  <a:gd name="T58" fmla="*/ 552 w 953"/>
                  <a:gd name="T59" fmla="*/ 410 h 636"/>
                  <a:gd name="T60" fmla="*/ 575 w 953"/>
                  <a:gd name="T61" fmla="*/ 464 h 636"/>
                  <a:gd name="T62" fmla="*/ 584 w 953"/>
                  <a:gd name="T63" fmla="*/ 547 h 636"/>
                  <a:gd name="T64" fmla="*/ 664 w 953"/>
                  <a:gd name="T65" fmla="*/ 555 h 636"/>
                  <a:gd name="T66" fmla="*/ 673 w 953"/>
                  <a:gd name="T67" fmla="*/ 636 h 636"/>
                  <a:gd name="T68" fmla="*/ 787 w 953"/>
                  <a:gd name="T69" fmla="*/ 611 h 636"/>
                  <a:gd name="T70" fmla="*/ 794 w 953"/>
                  <a:gd name="T71" fmla="*/ 55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3" h="636">
                    <a:moveTo>
                      <a:pt x="435" y="21"/>
                    </a:moveTo>
                    <a:cubicBezTo>
                      <a:pt x="435" y="114"/>
                      <a:pt x="435" y="114"/>
                      <a:pt x="435" y="114"/>
                    </a:cubicBezTo>
                    <a:cubicBezTo>
                      <a:pt x="435" y="122"/>
                      <a:pt x="436" y="129"/>
                      <a:pt x="439" y="136"/>
                    </a:cubicBezTo>
                    <a:cubicBezTo>
                      <a:pt x="399" y="136"/>
                      <a:pt x="399" y="136"/>
                      <a:pt x="399" y="136"/>
                    </a:cubicBezTo>
                    <a:cubicBezTo>
                      <a:pt x="380" y="155"/>
                      <a:pt x="359" y="179"/>
                      <a:pt x="353" y="185"/>
                    </a:cubicBezTo>
                    <a:cubicBezTo>
                      <a:pt x="350" y="188"/>
                      <a:pt x="348" y="190"/>
                      <a:pt x="346" y="190"/>
                    </a:cubicBezTo>
                    <a:cubicBezTo>
                      <a:pt x="342" y="190"/>
                      <a:pt x="341" y="185"/>
                      <a:pt x="341" y="185"/>
                    </a:cubicBezTo>
                    <a:cubicBezTo>
                      <a:pt x="341" y="136"/>
                      <a:pt x="341" y="136"/>
                      <a:pt x="341" y="136"/>
                    </a:cubicBezTo>
                    <a:cubicBezTo>
                      <a:pt x="304" y="136"/>
                      <a:pt x="304" y="136"/>
                      <a:pt x="304" y="136"/>
                    </a:cubicBezTo>
                    <a:cubicBezTo>
                      <a:pt x="292" y="136"/>
                      <a:pt x="282" y="126"/>
                      <a:pt x="282" y="114"/>
                    </a:cubicBezTo>
                    <a:cubicBezTo>
                      <a:pt x="282" y="21"/>
                      <a:pt x="282" y="21"/>
                      <a:pt x="282" y="21"/>
                    </a:cubicBezTo>
                    <a:cubicBezTo>
                      <a:pt x="282" y="9"/>
                      <a:pt x="292" y="0"/>
                      <a:pt x="304" y="0"/>
                    </a:cubicBezTo>
                    <a:cubicBezTo>
                      <a:pt x="387" y="0"/>
                      <a:pt x="423" y="0"/>
                      <a:pt x="439" y="0"/>
                    </a:cubicBezTo>
                    <a:cubicBezTo>
                      <a:pt x="436" y="6"/>
                      <a:pt x="435" y="14"/>
                      <a:pt x="435" y="21"/>
                    </a:cubicBezTo>
                    <a:close/>
                    <a:moveTo>
                      <a:pt x="587" y="208"/>
                    </a:moveTo>
                    <a:cubicBezTo>
                      <a:pt x="590" y="211"/>
                      <a:pt x="592" y="212"/>
                      <a:pt x="594" y="212"/>
                    </a:cubicBezTo>
                    <a:cubicBezTo>
                      <a:pt x="598" y="212"/>
                      <a:pt x="599" y="208"/>
                      <a:pt x="599" y="208"/>
                    </a:cubicBezTo>
                    <a:cubicBezTo>
                      <a:pt x="599" y="158"/>
                      <a:pt x="599" y="158"/>
                      <a:pt x="599" y="158"/>
                    </a:cubicBezTo>
                    <a:cubicBezTo>
                      <a:pt x="636" y="158"/>
                      <a:pt x="636" y="158"/>
                      <a:pt x="636" y="158"/>
                    </a:cubicBezTo>
                    <a:cubicBezTo>
                      <a:pt x="648" y="158"/>
                      <a:pt x="658" y="148"/>
                      <a:pt x="658" y="136"/>
                    </a:cubicBezTo>
                    <a:cubicBezTo>
                      <a:pt x="658" y="43"/>
                      <a:pt x="658" y="43"/>
                      <a:pt x="658" y="43"/>
                    </a:cubicBezTo>
                    <a:cubicBezTo>
                      <a:pt x="658" y="31"/>
                      <a:pt x="648" y="22"/>
                      <a:pt x="636" y="22"/>
                    </a:cubicBezTo>
                    <a:cubicBezTo>
                      <a:pt x="488" y="22"/>
                      <a:pt x="488" y="22"/>
                      <a:pt x="488" y="22"/>
                    </a:cubicBezTo>
                    <a:cubicBezTo>
                      <a:pt x="486" y="22"/>
                      <a:pt x="484" y="22"/>
                      <a:pt x="482" y="23"/>
                    </a:cubicBezTo>
                    <a:cubicBezTo>
                      <a:pt x="481" y="23"/>
                      <a:pt x="480" y="23"/>
                      <a:pt x="479" y="24"/>
                    </a:cubicBezTo>
                    <a:cubicBezTo>
                      <a:pt x="472" y="27"/>
                      <a:pt x="467" y="34"/>
                      <a:pt x="467" y="43"/>
                    </a:cubicBezTo>
                    <a:cubicBezTo>
                      <a:pt x="467" y="116"/>
                      <a:pt x="467" y="132"/>
                      <a:pt x="467" y="136"/>
                    </a:cubicBezTo>
                    <a:cubicBezTo>
                      <a:pt x="467" y="136"/>
                      <a:pt x="467" y="136"/>
                      <a:pt x="467" y="136"/>
                    </a:cubicBezTo>
                    <a:cubicBezTo>
                      <a:pt x="467" y="148"/>
                      <a:pt x="476" y="158"/>
                      <a:pt x="488" y="158"/>
                    </a:cubicBezTo>
                    <a:cubicBezTo>
                      <a:pt x="540" y="158"/>
                      <a:pt x="540" y="158"/>
                      <a:pt x="540" y="158"/>
                    </a:cubicBezTo>
                    <a:cubicBezTo>
                      <a:pt x="559" y="177"/>
                      <a:pt x="580" y="201"/>
                      <a:pt x="587" y="208"/>
                    </a:cubicBezTo>
                    <a:close/>
                    <a:moveTo>
                      <a:pt x="358" y="406"/>
                    </a:moveTo>
                    <a:cubicBezTo>
                      <a:pt x="353" y="401"/>
                      <a:pt x="347" y="389"/>
                      <a:pt x="342" y="375"/>
                    </a:cubicBezTo>
                    <a:cubicBezTo>
                      <a:pt x="341" y="371"/>
                      <a:pt x="339" y="365"/>
                      <a:pt x="338" y="359"/>
                    </a:cubicBezTo>
                    <a:cubicBezTo>
                      <a:pt x="337" y="351"/>
                      <a:pt x="335" y="342"/>
                      <a:pt x="333" y="336"/>
                    </a:cubicBezTo>
                    <a:cubicBezTo>
                      <a:pt x="330" y="327"/>
                      <a:pt x="331" y="293"/>
                      <a:pt x="332" y="293"/>
                    </a:cubicBezTo>
                    <a:cubicBezTo>
                      <a:pt x="332" y="293"/>
                      <a:pt x="333" y="293"/>
                      <a:pt x="333" y="292"/>
                    </a:cubicBezTo>
                    <a:cubicBezTo>
                      <a:pt x="338" y="271"/>
                      <a:pt x="368" y="238"/>
                      <a:pt x="358" y="238"/>
                    </a:cubicBezTo>
                    <a:cubicBezTo>
                      <a:pt x="264" y="240"/>
                      <a:pt x="294" y="214"/>
                      <a:pt x="193" y="214"/>
                    </a:cubicBezTo>
                    <a:cubicBezTo>
                      <a:pt x="104" y="214"/>
                      <a:pt x="60" y="267"/>
                      <a:pt x="38" y="313"/>
                    </a:cubicBezTo>
                    <a:cubicBezTo>
                      <a:pt x="0" y="395"/>
                      <a:pt x="63" y="476"/>
                      <a:pt x="93" y="508"/>
                    </a:cubicBezTo>
                    <a:cubicBezTo>
                      <a:pt x="93" y="601"/>
                      <a:pt x="93" y="601"/>
                      <a:pt x="93" y="601"/>
                    </a:cubicBezTo>
                    <a:cubicBezTo>
                      <a:pt x="93" y="605"/>
                      <a:pt x="95" y="609"/>
                      <a:pt x="99" y="610"/>
                    </a:cubicBezTo>
                    <a:cubicBezTo>
                      <a:pt x="161" y="635"/>
                      <a:pt x="240" y="635"/>
                      <a:pt x="246" y="635"/>
                    </a:cubicBezTo>
                    <a:cubicBezTo>
                      <a:pt x="251" y="635"/>
                      <a:pt x="255" y="632"/>
                      <a:pt x="255" y="627"/>
                    </a:cubicBezTo>
                    <a:cubicBezTo>
                      <a:pt x="255" y="562"/>
                      <a:pt x="255" y="562"/>
                      <a:pt x="255" y="562"/>
                    </a:cubicBezTo>
                    <a:cubicBezTo>
                      <a:pt x="293" y="566"/>
                      <a:pt x="322" y="562"/>
                      <a:pt x="330" y="558"/>
                    </a:cubicBezTo>
                    <a:cubicBezTo>
                      <a:pt x="340" y="553"/>
                      <a:pt x="341" y="540"/>
                      <a:pt x="342" y="517"/>
                    </a:cubicBezTo>
                    <a:cubicBezTo>
                      <a:pt x="343" y="514"/>
                      <a:pt x="343" y="514"/>
                      <a:pt x="343" y="514"/>
                    </a:cubicBezTo>
                    <a:cubicBezTo>
                      <a:pt x="344" y="499"/>
                      <a:pt x="342" y="477"/>
                      <a:pt x="340" y="463"/>
                    </a:cubicBezTo>
                    <a:cubicBezTo>
                      <a:pt x="369" y="462"/>
                      <a:pt x="377" y="448"/>
                      <a:pt x="378" y="442"/>
                    </a:cubicBezTo>
                    <a:cubicBezTo>
                      <a:pt x="382" y="432"/>
                      <a:pt x="372" y="421"/>
                      <a:pt x="361" y="409"/>
                    </a:cubicBezTo>
                    <a:cubicBezTo>
                      <a:pt x="359" y="408"/>
                      <a:pt x="358" y="407"/>
                      <a:pt x="358" y="406"/>
                    </a:cubicBezTo>
                    <a:close/>
                    <a:moveTo>
                      <a:pt x="880" y="308"/>
                    </a:moveTo>
                    <a:cubicBezTo>
                      <a:pt x="858" y="262"/>
                      <a:pt x="805" y="214"/>
                      <a:pt x="717" y="214"/>
                    </a:cubicBezTo>
                    <a:cubicBezTo>
                      <a:pt x="617" y="214"/>
                      <a:pt x="575" y="260"/>
                      <a:pt x="580" y="281"/>
                    </a:cubicBezTo>
                    <a:cubicBezTo>
                      <a:pt x="582" y="285"/>
                      <a:pt x="584" y="288"/>
                      <a:pt x="587" y="292"/>
                    </a:cubicBezTo>
                    <a:cubicBezTo>
                      <a:pt x="582" y="298"/>
                      <a:pt x="570" y="314"/>
                      <a:pt x="572" y="340"/>
                    </a:cubicBezTo>
                    <a:cubicBezTo>
                      <a:pt x="573" y="354"/>
                      <a:pt x="571" y="376"/>
                      <a:pt x="570" y="381"/>
                    </a:cubicBezTo>
                    <a:cubicBezTo>
                      <a:pt x="566" y="390"/>
                      <a:pt x="560" y="402"/>
                      <a:pt x="552" y="410"/>
                    </a:cubicBezTo>
                    <a:cubicBezTo>
                      <a:pt x="544" y="418"/>
                      <a:pt x="531" y="434"/>
                      <a:pt x="536" y="445"/>
                    </a:cubicBezTo>
                    <a:cubicBezTo>
                      <a:pt x="539" y="452"/>
                      <a:pt x="551" y="464"/>
                      <a:pt x="575" y="464"/>
                    </a:cubicBezTo>
                    <a:cubicBezTo>
                      <a:pt x="574" y="472"/>
                      <a:pt x="574" y="482"/>
                      <a:pt x="574" y="493"/>
                    </a:cubicBezTo>
                    <a:cubicBezTo>
                      <a:pt x="574" y="532"/>
                      <a:pt x="579" y="542"/>
                      <a:pt x="584" y="547"/>
                    </a:cubicBezTo>
                    <a:cubicBezTo>
                      <a:pt x="588" y="552"/>
                      <a:pt x="598" y="557"/>
                      <a:pt x="635" y="557"/>
                    </a:cubicBezTo>
                    <a:cubicBezTo>
                      <a:pt x="642" y="557"/>
                      <a:pt x="654" y="556"/>
                      <a:pt x="664" y="555"/>
                    </a:cubicBezTo>
                    <a:cubicBezTo>
                      <a:pt x="664" y="627"/>
                      <a:pt x="664" y="627"/>
                      <a:pt x="664" y="627"/>
                    </a:cubicBezTo>
                    <a:cubicBezTo>
                      <a:pt x="664" y="632"/>
                      <a:pt x="668" y="636"/>
                      <a:pt x="673" y="636"/>
                    </a:cubicBezTo>
                    <a:cubicBezTo>
                      <a:pt x="674" y="636"/>
                      <a:pt x="677" y="636"/>
                      <a:pt x="683" y="636"/>
                    </a:cubicBezTo>
                    <a:cubicBezTo>
                      <a:pt x="703" y="636"/>
                      <a:pt x="749" y="634"/>
                      <a:pt x="787" y="611"/>
                    </a:cubicBezTo>
                    <a:cubicBezTo>
                      <a:pt x="790" y="609"/>
                      <a:pt x="791" y="606"/>
                      <a:pt x="792" y="603"/>
                    </a:cubicBezTo>
                    <a:cubicBezTo>
                      <a:pt x="794" y="556"/>
                      <a:pt x="794" y="556"/>
                      <a:pt x="794" y="556"/>
                    </a:cubicBezTo>
                    <a:cubicBezTo>
                      <a:pt x="856" y="532"/>
                      <a:pt x="953" y="460"/>
                      <a:pt x="880" y="3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32" name="Rectangle 31">
            <a:extLst>
              <a:ext uri="{FF2B5EF4-FFF2-40B4-BE49-F238E27FC236}">
                <a16:creationId xmlns:a16="http://schemas.microsoft.com/office/drawing/2014/main" id="{B66C87B9-600A-4BC4-AD68-AB82357AA2A9}"/>
              </a:ext>
            </a:extLst>
          </p:cNvPr>
          <p:cNvSpPr/>
          <p:nvPr/>
        </p:nvSpPr>
        <p:spPr>
          <a:xfrm>
            <a:off x="7040028" y="3031833"/>
            <a:ext cx="4649279" cy="1231106"/>
          </a:xfrm>
          <a:prstGeom prst="rect">
            <a:avLst/>
          </a:prstGeom>
        </p:spPr>
        <p:txBody>
          <a:bodyPr wrap="square" lIns="0" tIns="0" rIns="0" bIns="0" anchor="ctr" anchorCtr="0">
            <a:spAutoFit/>
          </a:bodyPr>
          <a:lstStyle/>
          <a:p>
            <a:pPr>
              <a:buSzPct val="100000"/>
              <a:buFont typeface="Trebuchet MS" panose="020B0603020202020204" pitchFamily="34" charset="0"/>
              <a:buChar char="​"/>
            </a:pPr>
            <a:r>
              <a:rPr lang="en-US" sz="1600" b="1" dirty="0">
                <a:solidFill>
                  <a:srgbClr val="164484"/>
                </a:solidFill>
                <a:latin typeface="+mj-lt"/>
              </a:rPr>
              <a:t>Integration</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Asset inventory </a:t>
            </a:r>
            <a:r>
              <a:rPr lang="en-US" sz="1600" dirty="0">
                <a:solidFill>
                  <a:srgbClr val="000000"/>
                </a:solidFill>
                <a:latin typeface="+mj-lt"/>
              </a:rPr>
              <a:t>of current strategies </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Description of </a:t>
            </a:r>
            <a:r>
              <a:rPr lang="en-US" sz="1600" b="1" dirty="0">
                <a:solidFill>
                  <a:srgbClr val="000000"/>
                </a:solidFill>
                <a:latin typeface="+mj-lt"/>
              </a:rPr>
              <a:t>incorporation of local plans</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Description of </a:t>
            </a:r>
            <a:r>
              <a:rPr lang="en-US" sz="1600" b="1" dirty="0">
                <a:solidFill>
                  <a:srgbClr val="000000"/>
                </a:solidFill>
                <a:latin typeface="+mj-lt"/>
              </a:rPr>
              <a:t>coordination of use of capacity grant funds with BEAD funds</a:t>
            </a:r>
          </a:p>
        </p:txBody>
      </p:sp>
      <p:grpSp>
        <p:nvGrpSpPr>
          <p:cNvPr id="43" name="Group 42">
            <a:extLst>
              <a:ext uri="{FF2B5EF4-FFF2-40B4-BE49-F238E27FC236}">
                <a16:creationId xmlns:a16="http://schemas.microsoft.com/office/drawing/2014/main" id="{A72E1C76-96CD-4E14-AF2F-2FA61B9357D3}"/>
              </a:ext>
            </a:extLst>
          </p:cNvPr>
          <p:cNvGrpSpPr/>
          <p:nvPr/>
        </p:nvGrpSpPr>
        <p:grpSpPr>
          <a:xfrm>
            <a:off x="6164285" y="3279453"/>
            <a:ext cx="779286" cy="735867"/>
            <a:chOff x="6164285" y="3106449"/>
            <a:chExt cx="779286" cy="735867"/>
          </a:xfrm>
        </p:grpSpPr>
        <p:sp>
          <p:nvSpPr>
            <p:cNvPr id="39" name="Diamond 38">
              <a:extLst>
                <a:ext uri="{FF2B5EF4-FFF2-40B4-BE49-F238E27FC236}">
                  <a16:creationId xmlns:a16="http://schemas.microsoft.com/office/drawing/2014/main" id="{303C4933-726C-4401-9F3E-8249907715A9}"/>
                </a:ext>
              </a:extLst>
            </p:cNvPr>
            <p:cNvSpPr/>
            <p:nvPr/>
          </p:nvSpPr>
          <p:spPr>
            <a:xfrm>
              <a:off x="6164285" y="3106449"/>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Diamond 39">
              <a:extLst>
                <a:ext uri="{FF2B5EF4-FFF2-40B4-BE49-F238E27FC236}">
                  <a16:creationId xmlns:a16="http://schemas.microsoft.com/office/drawing/2014/main" id="{676B9F58-61D1-4110-9252-5E5B68E73C40}"/>
                </a:ext>
              </a:extLst>
            </p:cNvPr>
            <p:cNvSpPr/>
            <p:nvPr/>
          </p:nvSpPr>
          <p:spPr>
            <a:xfrm>
              <a:off x="6207704" y="3106449"/>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a:extLst>
                <a:ext uri="{FF2B5EF4-FFF2-40B4-BE49-F238E27FC236}">
                  <a16:creationId xmlns:a16="http://schemas.microsoft.com/office/drawing/2014/main" id="{4965664A-A17C-49FD-9BD7-800539C09BAE}"/>
                </a:ext>
              </a:extLst>
            </p:cNvPr>
            <p:cNvGrpSpPr>
              <a:grpSpLocks noChangeAspect="1"/>
            </p:cNvGrpSpPr>
            <p:nvPr/>
          </p:nvGrpSpPr>
          <p:grpSpPr bwMode="auto">
            <a:xfrm>
              <a:off x="6345457" y="3256501"/>
              <a:ext cx="457200" cy="457200"/>
              <a:chOff x="2652" y="972"/>
              <a:chExt cx="2376" cy="2376"/>
            </a:xfrm>
          </p:grpSpPr>
          <p:sp>
            <p:nvSpPr>
              <p:cNvPr id="73" name="AutoShape 3">
                <a:extLst>
                  <a:ext uri="{FF2B5EF4-FFF2-40B4-BE49-F238E27FC236}">
                    <a16:creationId xmlns:a16="http://schemas.microsoft.com/office/drawing/2014/main" id="{2E1EDDC0-0087-4A9A-BAEF-77F8BB426B4B}"/>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5">
                <a:extLst>
                  <a:ext uri="{FF2B5EF4-FFF2-40B4-BE49-F238E27FC236}">
                    <a16:creationId xmlns:a16="http://schemas.microsoft.com/office/drawing/2014/main" id="{DADD8581-2641-450E-9ACC-6B4A36D6F12B}"/>
                  </a:ext>
                </a:extLst>
              </p:cNvPr>
              <p:cNvSpPr>
                <a:spLocks noEditPoints="1"/>
              </p:cNvSpPr>
              <p:nvPr/>
            </p:nvSpPr>
            <p:spPr bwMode="auto">
              <a:xfrm>
                <a:off x="2797" y="1345"/>
                <a:ext cx="2088" cy="1632"/>
              </a:xfrm>
              <a:custGeom>
                <a:avLst/>
                <a:gdLst>
                  <a:gd name="T0" fmla="*/ 439 w 878"/>
                  <a:gd name="T1" fmla="*/ 596 h 686"/>
                  <a:gd name="T2" fmla="*/ 439 w 878"/>
                  <a:gd name="T3" fmla="*/ 596 h 686"/>
                  <a:gd name="T4" fmla="*/ 193 w 878"/>
                  <a:gd name="T5" fmla="*/ 352 h 686"/>
                  <a:gd name="T6" fmla="*/ 193 w 878"/>
                  <a:gd name="T7" fmla="*/ 334 h 686"/>
                  <a:gd name="T8" fmla="*/ 439 w 878"/>
                  <a:gd name="T9" fmla="*/ 90 h 686"/>
                  <a:gd name="T10" fmla="*/ 685 w 878"/>
                  <a:gd name="T11" fmla="*/ 334 h 686"/>
                  <a:gd name="T12" fmla="*/ 685 w 878"/>
                  <a:gd name="T13" fmla="*/ 352 h 686"/>
                  <a:gd name="T14" fmla="*/ 439 w 878"/>
                  <a:gd name="T15" fmla="*/ 596 h 686"/>
                  <a:gd name="T16" fmla="*/ 874 w 878"/>
                  <a:gd name="T17" fmla="*/ 334 h 686"/>
                  <a:gd name="T18" fmla="*/ 542 w 878"/>
                  <a:gd name="T19" fmla="*/ 5 h 686"/>
                  <a:gd name="T20" fmla="*/ 524 w 878"/>
                  <a:gd name="T21" fmla="*/ 5 h 686"/>
                  <a:gd name="T22" fmla="*/ 455 w 878"/>
                  <a:gd name="T23" fmla="*/ 73 h 686"/>
                  <a:gd name="T24" fmla="*/ 701 w 878"/>
                  <a:gd name="T25" fmla="*/ 318 h 686"/>
                  <a:gd name="T26" fmla="*/ 712 w 878"/>
                  <a:gd name="T27" fmla="*/ 343 h 686"/>
                  <a:gd name="T28" fmla="*/ 701 w 878"/>
                  <a:gd name="T29" fmla="*/ 368 h 686"/>
                  <a:gd name="T30" fmla="*/ 455 w 878"/>
                  <a:gd name="T31" fmla="*/ 613 h 686"/>
                  <a:gd name="T32" fmla="*/ 524 w 878"/>
                  <a:gd name="T33" fmla="*/ 681 h 686"/>
                  <a:gd name="T34" fmla="*/ 542 w 878"/>
                  <a:gd name="T35" fmla="*/ 681 h 686"/>
                  <a:gd name="T36" fmla="*/ 874 w 878"/>
                  <a:gd name="T37" fmla="*/ 352 h 686"/>
                  <a:gd name="T38" fmla="*/ 874 w 878"/>
                  <a:gd name="T39" fmla="*/ 334 h 686"/>
                  <a:gd name="T40" fmla="*/ 177 w 878"/>
                  <a:gd name="T41" fmla="*/ 368 h 686"/>
                  <a:gd name="T42" fmla="*/ 166 w 878"/>
                  <a:gd name="T43" fmla="*/ 343 h 686"/>
                  <a:gd name="T44" fmla="*/ 177 w 878"/>
                  <a:gd name="T45" fmla="*/ 318 h 686"/>
                  <a:gd name="T46" fmla="*/ 423 w 878"/>
                  <a:gd name="T47" fmla="*/ 73 h 686"/>
                  <a:gd name="T48" fmla="*/ 354 w 878"/>
                  <a:gd name="T49" fmla="*/ 5 h 686"/>
                  <a:gd name="T50" fmla="*/ 336 w 878"/>
                  <a:gd name="T51" fmla="*/ 5 h 686"/>
                  <a:gd name="T52" fmla="*/ 4 w 878"/>
                  <a:gd name="T53" fmla="*/ 334 h 686"/>
                  <a:gd name="T54" fmla="*/ 4 w 878"/>
                  <a:gd name="T55" fmla="*/ 352 h 686"/>
                  <a:gd name="T56" fmla="*/ 336 w 878"/>
                  <a:gd name="T57" fmla="*/ 681 h 686"/>
                  <a:gd name="T58" fmla="*/ 354 w 878"/>
                  <a:gd name="T59" fmla="*/ 681 h 686"/>
                  <a:gd name="T60" fmla="*/ 423 w 878"/>
                  <a:gd name="T61" fmla="*/ 613 h 686"/>
                  <a:gd name="T62" fmla="*/ 177 w 878"/>
                  <a:gd name="T63" fmla="*/ 368 h 686"/>
                  <a:gd name="T64" fmla="*/ 177 w 878"/>
                  <a:gd name="T65" fmla="*/ 36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8" h="686">
                    <a:moveTo>
                      <a:pt x="439" y="596"/>
                    </a:moveTo>
                    <a:cubicBezTo>
                      <a:pt x="439" y="596"/>
                      <a:pt x="439" y="596"/>
                      <a:pt x="439" y="596"/>
                    </a:cubicBezTo>
                    <a:cubicBezTo>
                      <a:pt x="193" y="352"/>
                      <a:pt x="193" y="352"/>
                      <a:pt x="193" y="352"/>
                    </a:cubicBezTo>
                    <a:cubicBezTo>
                      <a:pt x="188" y="347"/>
                      <a:pt x="188" y="339"/>
                      <a:pt x="193" y="334"/>
                    </a:cubicBezTo>
                    <a:cubicBezTo>
                      <a:pt x="439" y="90"/>
                      <a:pt x="439" y="90"/>
                      <a:pt x="439" y="90"/>
                    </a:cubicBezTo>
                    <a:cubicBezTo>
                      <a:pt x="685" y="334"/>
                      <a:pt x="685" y="334"/>
                      <a:pt x="685" y="334"/>
                    </a:cubicBezTo>
                    <a:cubicBezTo>
                      <a:pt x="690" y="339"/>
                      <a:pt x="690" y="347"/>
                      <a:pt x="685" y="352"/>
                    </a:cubicBezTo>
                    <a:cubicBezTo>
                      <a:pt x="439" y="596"/>
                      <a:pt x="439" y="596"/>
                      <a:pt x="439" y="596"/>
                    </a:cubicBezTo>
                    <a:close/>
                    <a:moveTo>
                      <a:pt x="874" y="334"/>
                    </a:moveTo>
                    <a:cubicBezTo>
                      <a:pt x="542" y="5"/>
                      <a:pt x="542" y="5"/>
                      <a:pt x="542" y="5"/>
                    </a:cubicBezTo>
                    <a:cubicBezTo>
                      <a:pt x="537" y="0"/>
                      <a:pt x="529" y="0"/>
                      <a:pt x="524" y="5"/>
                    </a:cubicBezTo>
                    <a:cubicBezTo>
                      <a:pt x="455" y="73"/>
                      <a:pt x="455" y="73"/>
                      <a:pt x="455" y="73"/>
                    </a:cubicBezTo>
                    <a:cubicBezTo>
                      <a:pt x="701" y="318"/>
                      <a:pt x="701" y="318"/>
                      <a:pt x="701" y="318"/>
                    </a:cubicBezTo>
                    <a:cubicBezTo>
                      <a:pt x="708" y="325"/>
                      <a:pt x="712" y="334"/>
                      <a:pt x="712" y="343"/>
                    </a:cubicBezTo>
                    <a:cubicBezTo>
                      <a:pt x="712" y="352"/>
                      <a:pt x="708" y="361"/>
                      <a:pt x="701" y="368"/>
                    </a:cubicBezTo>
                    <a:cubicBezTo>
                      <a:pt x="455" y="613"/>
                      <a:pt x="455" y="613"/>
                      <a:pt x="455" y="613"/>
                    </a:cubicBezTo>
                    <a:cubicBezTo>
                      <a:pt x="524" y="681"/>
                      <a:pt x="524" y="681"/>
                      <a:pt x="524" y="681"/>
                    </a:cubicBezTo>
                    <a:cubicBezTo>
                      <a:pt x="529" y="686"/>
                      <a:pt x="537" y="686"/>
                      <a:pt x="542" y="681"/>
                    </a:cubicBezTo>
                    <a:cubicBezTo>
                      <a:pt x="874" y="352"/>
                      <a:pt x="874" y="352"/>
                      <a:pt x="874" y="352"/>
                    </a:cubicBezTo>
                    <a:cubicBezTo>
                      <a:pt x="878" y="347"/>
                      <a:pt x="878" y="339"/>
                      <a:pt x="874" y="334"/>
                    </a:cubicBezTo>
                    <a:close/>
                    <a:moveTo>
                      <a:pt x="177" y="368"/>
                    </a:moveTo>
                    <a:cubicBezTo>
                      <a:pt x="170" y="361"/>
                      <a:pt x="166" y="352"/>
                      <a:pt x="166" y="343"/>
                    </a:cubicBezTo>
                    <a:cubicBezTo>
                      <a:pt x="166" y="334"/>
                      <a:pt x="170" y="325"/>
                      <a:pt x="177" y="318"/>
                    </a:cubicBezTo>
                    <a:cubicBezTo>
                      <a:pt x="423" y="73"/>
                      <a:pt x="423" y="73"/>
                      <a:pt x="423" y="73"/>
                    </a:cubicBezTo>
                    <a:cubicBezTo>
                      <a:pt x="354" y="5"/>
                      <a:pt x="354" y="5"/>
                      <a:pt x="354" y="5"/>
                    </a:cubicBezTo>
                    <a:cubicBezTo>
                      <a:pt x="349" y="0"/>
                      <a:pt x="341" y="0"/>
                      <a:pt x="336" y="5"/>
                    </a:cubicBezTo>
                    <a:cubicBezTo>
                      <a:pt x="4" y="334"/>
                      <a:pt x="4" y="334"/>
                      <a:pt x="4" y="334"/>
                    </a:cubicBezTo>
                    <a:cubicBezTo>
                      <a:pt x="0" y="339"/>
                      <a:pt x="0" y="347"/>
                      <a:pt x="4" y="352"/>
                    </a:cubicBezTo>
                    <a:cubicBezTo>
                      <a:pt x="336" y="681"/>
                      <a:pt x="336" y="681"/>
                      <a:pt x="336" y="681"/>
                    </a:cubicBezTo>
                    <a:cubicBezTo>
                      <a:pt x="341" y="686"/>
                      <a:pt x="349" y="686"/>
                      <a:pt x="354" y="681"/>
                    </a:cubicBezTo>
                    <a:cubicBezTo>
                      <a:pt x="423" y="613"/>
                      <a:pt x="423" y="613"/>
                      <a:pt x="423" y="613"/>
                    </a:cubicBezTo>
                    <a:cubicBezTo>
                      <a:pt x="177" y="368"/>
                      <a:pt x="177" y="368"/>
                      <a:pt x="177" y="368"/>
                    </a:cubicBezTo>
                    <a:cubicBezTo>
                      <a:pt x="177" y="368"/>
                      <a:pt x="177" y="368"/>
                      <a:pt x="177" y="3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6" name="Rectangle 45">
            <a:extLst>
              <a:ext uri="{FF2B5EF4-FFF2-40B4-BE49-F238E27FC236}">
                <a16:creationId xmlns:a16="http://schemas.microsoft.com/office/drawing/2014/main" id="{23502CA3-44F1-47CE-8735-F6740C702297}"/>
              </a:ext>
            </a:extLst>
          </p:cNvPr>
          <p:cNvSpPr/>
          <p:nvPr/>
        </p:nvSpPr>
        <p:spPr>
          <a:xfrm>
            <a:off x="7083447" y="4657909"/>
            <a:ext cx="4649279" cy="1231106"/>
          </a:xfrm>
          <a:prstGeom prst="rect">
            <a:avLst/>
          </a:prstGeom>
        </p:spPr>
        <p:txBody>
          <a:bodyPr wrap="square" lIns="0" tIns="0" rIns="0" bIns="0" anchor="ctr" anchorCtr="0">
            <a:noAutofit/>
          </a:bodyPr>
          <a:lstStyle/>
          <a:p>
            <a:pPr>
              <a:buSzPct val="100000"/>
              <a:buFont typeface="Trebuchet MS" panose="020B0603020202020204" pitchFamily="34" charset="0"/>
              <a:buChar char="​"/>
            </a:pPr>
            <a:r>
              <a:rPr lang="en-US" sz="1600" b="1" dirty="0">
                <a:solidFill>
                  <a:srgbClr val="164484"/>
                </a:solidFill>
                <a:latin typeface="+mj-lt"/>
              </a:rPr>
              <a:t>Implementation</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mj-lt"/>
              </a:rPr>
              <a:t>Implementation </a:t>
            </a:r>
            <a:r>
              <a:rPr lang="en-US" sz="1600" b="1" dirty="0">
                <a:solidFill>
                  <a:srgbClr val="000000"/>
                </a:solidFill>
                <a:latin typeface="+mj-lt"/>
              </a:rPr>
              <a:t>strategy</a:t>
            </a:r>
            <a:r>
              <a:rPr lang="en-US" sz="1600" dirty="0">
                <a:solidFill>
                  <a:srgbClr val="000000"/>
                </a:solidFill>
                <a:latin typeface="+mj-lt"/>
              </a:rPr>
              <a:t> </a:t>
            </a:r>
          </a:p>
          <a:p>
            <a:pPr marL="259200" lvl="1" indent="-172800">
              <a:buClr>
                <a:srgbClr val="0A3161"/>
              </a:buClr>
              <a:buSzPct val="100000"/>
              <a:buFont typeface="Trebuchet MS" panose="020B0603020202020204" pitchFamily="34" charset="0"/>
              <a:buChar char="•"/>
            </a:pPr>
            <a:r>
              <a:rPr lang="en-US" sz="1600" b="1" dirty="0">
                <a:solidFill>
                  <a:srgbClr val="000000"/>
                </a:solidFill>
                <a:latin typeface="+mj-lt"/>
              </a:rPr>
              <a:t>Timeline</a:t>
            </a:r>
          </a:p>
        </p:txBody>
      </p:sp>
      <p:grpSp>
        <p:nvGrpSpPr>
          <p:cNvPr id="44" name="Group 43">
            <a:extLst>
              <a:ext uri="{FF2B5EF4-FFF2-40B4-BE49-F238E27FC236}">
                <a16:creationId xmlns:a16="http://schemas.microsoft.com/office/drawing/2014/main" id="{F7DC455A-F922-4566-822D-FB1FCD5603AC}"/>
              </a:ext>
            </a:extLst>
          </p:cNvPr>
          <p:cNvGrpSpPr/>
          <p:nvPr/>
        </p:nvGrpSpPr>
        <p:grpSpPr>
          <a:xfrm>
            <a:off x="6207704" y="4905528"/>
            <a:ext cx="779286" cy="735867"/>
            <a:chOff x="6207704" y="4677756"/>
            <a:chExt cx="779286" cy="735867"/>
          </a:xfrm>
        </p:grpSpPr>
        <p:sp>
          <p:nvSpPr>
            <p:cNvPr id="49" name="Diamond 48">
              <a:extLst>
                <a:ext uri="{FF2B5EF4-FFF2-40B4-BE49-F238E27FC236}">
                  <a16:creationId xmlns:a16="http://schemas.microsoft.com/office/drawing/2014/main" id="{6C6A2C76-2ADC-457A-A29D-9550BF06788B}"/>
                </a:ext>
              </a:extLst>
            </p:cNvPr>
            <p:cNvSpPr/>
            <p:nvPr/>
          </p:nvSpPr>
          <p:spPr>
            <a:xfrm>
              <a:off x="6207704" y="4677756"/>
              <a:ext cx="735867" cy="735867"/>
            </a:xfrm>
            <a:prstGeom prst="diamond">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Diamond 49">
              <a:extLst>
                <a:ext uri="{FF2B5EF4-FFF2-40B4-BE49-F238E27FC236}">
                  <a16:creationId xmlns:a16="http://schemas.microsoft.com/office/drawing/2014/main" id="{FCF25C8A-D717-4C12-AA5A-47720B497E9D}"/>
                </a:ext>
              </a:extLst>
            </p:cNvPr>
            <p:cNvSpPr/>
            <p:nvPr/>
          </p:nvSpPr>
          <p:spPr>
            <a:xfrm>
              <a:off x="6251123" y="4677756"/>
              <a:ext cx="735867" cy="735867"/>
            </a:xfrm>
            <a:prstGeom prst="diamond">
              <a:avLst/>
            </a:prstGeom>
            <a:solidFill>
              <a:srgbClr val="164484"/>
            </a:solidFill>
            <a:ln w="9525" cap="rnd" cmpd="sng" algn="ctr">
              <a:solidFill>
                <a:srgbClr val="16448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9" name="bcgBugs_ToolKit">
              <a:extLst>
                <a:ext uri="{FF2B5EF4-FFF2-40B4-BE49-F238E27FC236}">
                  <a16:creationId xmlns:a16="http://schemas.microsoft.com/office/drawing/2014/main" id="{92B4D60F-95ED-413F-AD66-D90D5BE1F8C0}"/>
                </a:ext>
              </a:extLst>
            </p:cNvPr>
            <p:cNvGrpSpPr>
              <a:grpSpLocks noChangeAspect="1"/>
            </p:cNvGrpSpPr>
            <p:nvPr/>
          </p:nvGrpSpPr>
          <p:grpSpPr bwMode="auto">
            <a:xfrm>
              <a:off x="6427020" y="4853466"/>
              <a:ext cx="384072" cy="384448"/>
              <a:chOff x="2818" y="1137"/>
              <a:chExt cx="2044" cy="2046"/>
            </a:xfrm>
          </p:grpSpPr>
          <p:sp>
            <p:nvSpPr>
              <p:cNvPr id="70" name="AutoShape 3">
                <a:extLst>
                  <a:ext uri="{FF2B5EF4-FFF2-40B4-BE49-F238E27FC236}">
                    <a16:creationId xmlns:a16="http://schemas.microsoft.com/office/drawing/2014/main" id="{C2667F6A-C03E-4573-982A-22FA80FBDA7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0">
                <a:extLst>
                  <a:ext uri="{FF2B5EF4-FFF2-40B4-BE49-F238E27FC236}">
                    <a16:creationId xmlns:a16="http://schemas.microsoft.com/office/drawing/2014/main" id="{37EC1D84-6774-4DF9-9B91-EEA302FD3FD8}"/>
                  </a:ext>
                </a:extLst>
              </p:cNvPr>
              <p:cNvSpPr>
                <a:spLocks noEditPoints="1"/>
              </p:cNvSpPr>
              <p:nvPr/>
            </p:nvSpPr>
            <p:spPr bwMode="auto">
              <a:xfrm>
                <a:off x="2941" y="1276"/>
                <a:ext cx="1825" cy="1727"/>
              </a:xfrm>
              <a:custGeom>
                <a:avLst/>
                <a:gdLst>
                  <a:gd name="T0" fmla="*/ 552 w 892"/>
                  <a:gd name="T1" fmla="*/ 404 h 843"/>
                  <a:gd name="T2" fmla="*/ 525 w 892"/>
                  <a:gd name="T3" fmla="*/ 398 h 843"/>
                  <a:gd name="T4" fmla="*/ 516 w 892"/>
                  <a:gd name="T5" fmla="*/ 368 h 843"/>
                  <a:gd name="T6" fmla="*/ 464 w 892"/>
                  <a:gd name="T7" fmla="*/ 329 h 843"/>
                  <a:gd name="T8" fmla="*/ 409 w 892"/>
                  <a:gd name="T9" fmla="*/ 370 h 843"/>
                  <a:gd name="T10" fmla="*/ 131 w 892"/>
                  <a:gd name="T11" fmla="*/ 93 h 843"/>
                  <a:gd name="T12" fmla="*/ 36 w 892"/>
                  <a:gd name="T13" fmla="*/ 10 h 843"/>
                  <a:gd name="T14" fmla="*/ 18 w 892"/>
                  <a:gd name="T15" fmla="*/ 28 h 843"/>
                  <a:gd name="T16" fmla="*/ 45 w 892"/>
                  <a:gd name="T17" fmla="*/ 135 h 843"/>
                  <a:gd name="T18" fmla="*/ 356 w 892"/>
                  <a:gd name="T19" fmla="*/ 417 h 843"/>
                  <a:gd name="T20" fmla="*/ 329 w 892"/>
                  <a:gd name="T21" fmla="*/ 451 h 843"/>
                  <a:gd name="T22" fmla="*/ 329 w 892"/>
                  <a:gd name="T23" fmla="*/ 497 h 843"/>
                  <a:gd name="T24" fmla="*/ 381 w 892"/>
                  <a:gd name="T25" fmla="*/ 536 h 843"/>
                  <a:gd name="T26" fmla="*/ 387 w 892"/>
                  <a:gd name="T27" fmla="*/ 547 h 843"/>
                  <a:gd name="T28" fmla="*/ 664 w 892"/>
                  <a:gd name="T29" fmla="*/ 832 h 843"/>
                  <a:gd name="T30" fmla="*/ 784 w 892"/>
                  <a:gd name="T31" fmla="*/ 794 h 843"/>
                  <a:gd name="T32" fmla="*/ 697 w 892"/>
                  <a:gd name="T33" fmla="*/ 774 h 843"/>
                  <a:gd name="T34" fmla="*/ 666 w 892"/>
                  <a:gd name="T35" fmla="*/ 774 h 843"/>
                  <a:gd name="T36" fmla="*/ 453 w 892"/>
                  <a:gd name="T37" fmla="*/ 531 h 843"/>
                  <a:gd name="T38" fmla="*/ 697 w 892"/>
                  <a:gd name="T39" fmla="*/ 743 h 843"/>
                  <a:gd name="T40" fmla="*/ 764 w 892"/>
                  <a:gd name="T41" fmla="*/ 707 h 843"/>
                  <a:gd name="T42" fmla="*/ 733 w 892"/>
                  <a:gd name="T43" fmla="*/ 707 h 843"/>
                  <a:gd name="T44" fmla="*/ 521 w 892"/>
                  <a:gd name="T45" fmla="*/ 464 h 843"/>
                  <a:gd name="T46" fmla="*/ 764 w 892"/>
                  <a:gd name="T47" fmla="*/ 676 h 843"/>
                  <a:gd name="T48" fmla="*/ 377 w 892"/>
                  <a:gd name="T49" fmla="*/ 607 h 843"/>
                  <a:gd name="T50" fmla="*/ 90 w 892"/>
                  <a:gd name="T51" fmla="*/ 801 h 843"/>
                  <a:gd name="T52" fmla="*/ 286 w 892"/>
                  <a:gd name="T53" fmla="*/ 513 h 843"/>
                  <a:gd name="T54" fmla="*/ 327 w 892"/>
                  <a:gd name="T55" fmla="*/ 557 h 843"/>
                  <a:gd name="T56" fmla="*/ 350 w 892"/>
                  <a:gd name="T57" fmla="*/ 581 h 843"/>
                  <a:gd name="T58" fmla="*/ 504 w 892"/>
                  <a:gd name="T59" fmla="*/ 295 h 843"/>
                  <a:gd name="T60" fmla="*/ 591 w 892"/>
                  <a:gd name="T61" fmla="*/ 61 h 843"/>
                  <a:gd name="T62" fmla="*/ 698 w 892"/>
                  <a:gd name="T63" fmla="*/ 95 h 843"/>
                  <a:gd name="T64" fmla="*/ 662 w 892"/>
                  <a:gd name="T65" fmla="*/ 230 h 843"/>
                  <a:gd name="T66" fmla="*/ 796 w 892"/>
                  <a:gd name="T67" fmla="*/ 194 h 843"/>
                  <a:gd name="T68" fmla="*/ 831 w 892"/>
                  <a:gd name="T69" fmla="*/ 300 h 843"/>
                  <a:gd name="T70" fmla="*/ 599 w 892"/>
                  <a:gd name="T71" fmla="*/ 385 h 843"/>
                  <a:gd name="T72" fmla="*/ 571 w 892"/>
                  <a:gd name="T73" fmla="*/ 361 h 843"/>
                  <a:gd name="T74" fmla="*/ 547 w 892"/>
                  <a:gd name="T75" fmla="*/ 337 h 843"/>
                  <a:gd name="T76" fmla="*/ 503 w 892"/>
                  <a:gd name="T77" fmla="*/ 29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2" h="843">
                    <a:moveTo>
                      <a:pt x="822" y="674"/>
                    </a:moveTo>
                    <a:cubicBezTo>
                      <a:pt x="552" y="404"/>
                      <a:pt x="552" y="404"/>
                      <a:pt x="552" y="404"/>
                    </a:cubicBezTo>
                    <a:cubicBezTo>
                      <a:pt x="548" y="400"/>
                      <a:pt x="543" y="398"/>
                      <a:pt x="537" y="398"/>
                    </a:cubicBezTo>
                    <a:cubicBezTo>
                      <a:pt x="525" y="398"/>
                      <a:pt x="525" y="398"/>
                      <a:pt x="525" y="398"/>
                    </a:cubicBezTo>
                    <a:cubicBezTo>
                      <a:pt x="525" y="396"/>
                      <a:pt x="526" y="394"/>
                      <a:pt x="526" y="391"/>
                    </a:cubicBezTo>
                    <a:cubicBezTo>
                      <a:pt x="526" y="383"/>
                      <a:pt x="522" y="375"/>
                      <a:pt x="516" y="368"/>
                    </a:cubicBezTo>
                    <a:cubicBezTo>
                      <a:pt x="487" y="339"/>
                      <a:pt x="487" y="339"/>
                      <a:pt x="487" y="339"/>
                    </a:cubicBezTo>
                    <a:cubicBezTo>
                      <a:pt x="480" y="333"/>
                      <a:pt x="472" y="329"/>
                      <a:pt x="464" y="329"/>
                    </a:cubicBezTo>
                    <a:cubicBezTo>
                      <a:pt x="455" y="329"/>
                      <a:pt x="447" y="333"/>
                      <a:pt x="441" y="339"/>
                    </a:cubicBezTo>
                    <a:cubicBezTo>
                      <a:pt x="409" y="370"/>
                      <a:pt x="409" y="370"/>
                      <a:pt x="409" y="370"/>
                    </a:cubicBezTo>
                    <a:cubicBezTo>
                      <a:pt x="409" y="370"/>
                      <a:pt x="408" y="369"/>
                      <a:pt x="407" y="368"/>
                    </a:cubicBezTo>
                    <a:cubicBezTo>
                      <a:pt x="131" y="93"/>
                      <a:pt x="131" y="93"/>
                      <a:pt x="131" y="93"/>
                    </a:cubicBezTo>
                    <a:cubicBezTo>
                      <a:pt x="125" y="55"/>
                      <a:pt x="125" y="55"/>
                      <a:pt x="125" y="55"/>
                    </a:cubicBezTo>
                    <a:cubicBezTo>
                      <a:pt x="36" y="10"/>
                      <a:pt x="36" y="10"/>
                      <a:pt x="36" y="10"/>
                    </a:cubicBezTo>
                    <a:cubicBezTo>
                      <a:pt x="18" y="28"/>
                      <a:pt x="18" y="28"/>
                      <a:pt x="18" y="28"/>
                    </a:cubicBezTo>
                    <a:cubicBezTo>
                      <a:pt x="18" y="28"/>
                      <a:pt x="18" y="28"/>
                      <a:pt x="18" y="28"/>
                    </a:cubicBezTo>
                    <a:cubicBezTo>
                      <a:pt x="0" y="46"/>
                      <a:pt x="0" y="46"/>
                      <a:pt x="0" y="46"/>
                    </a:cubicBezTo>
                    <a:cubicBezTo>
                      <a:pt x="45" y="135"/>
                      <a:pt x="45" y="135"/>
                      <a:pt x="45" y="135"/>
                    </a:cubicBezTo>
                    <a:cubicBezTo>
                      <a:pt x="79" y="141"/>
                      <a:pt x="79" y="141"/>
                      <a:pt x="79" y="141"/>
                    </a:cubicBezTo>
                    <a:cubicBezTo>
                      <a:pt x="356" y="417"/>
                      <a:pt x="356" y="417"/>
                      <a:pt x="356" y="417"/>
                    </a:cubicBezTo>
                    <a:cubicBezTo>
                      <a:pt x="357" y="418"/>
                      <a:pt x="358" y="419"/>
                      <a:pt x="359" y="420"/>
                    </a:cubicBezTo>
                    <a:cubicBezTo>
                      <a:pt x="329" y="451"/>
                      <a:pt x="329" y="451"/>
                      <a:pt x="329" y="451"/>
                    </a:cubicBezTo>
                    <a:cubicBezTo>
                      <a:pt x="322" y="457"/>
                      <a:pt x="319" y="465"/>
                      <a:pt x="319" y="474"/>
                    </a:cubicBezTo>
                    <a:cubicBezTo>
                      <a:pt x="319" y="482"/>
                      <a:pt x="322" y="491"/>
                      <a:pt x="329" y="497"/>
                    </a:cubicBezTo>
                    <a:cubicBezTo>
                      <a:pt x="358" y="526"/>
                      <a:pt x="358" y="526"/>
                      <a:pt x="358" y="526"/>
                    </a:cubicBezTo>
                    <a:cubicBezTo>
                      <a:pt x="365" y="533"/>
                      <a:pt x="373" y="536"/>
                      <a:pt x="381" y="536"/>
                    </a:cubicBezTo>
                    <a:cubicBezTo>
                      <a:pt x="383" y="536"/>
                      <a:pt x="385" y="536"/>
                      <a:pt x="387" y="535"/>
                    </a:cubicBezTo>
                    <a:cubicBezTo>
                      <a:pt x="387" y="547"/>
                      <a:pt x="387" y="547"/>
                      <a:pt x="387" y="547"/>
                    </a:cubicBezTo>
                    <a:cubicBezTo>
                      <a:pt x="388" y="553"/>
                      <a:pt x="390" y="558"/>
                      <a:pt x="394" y="562"/>
                    </a:cubicBezTo>
                    <a:cubicBezTo>
                      <a:pt x="664" y="832"/>
                      <a:pt x="664" y="832"/>
                      <a:pt x="664" y="832"/>
                    </a:cubicBezTo>
                    <a:cubicBezTo>
                      <a:pt x="672" y="840"/>
                      <a:pt x="682" y="843"/>
                      <a:pt x="693" y="843"/>
                    </a:cubicBezTo>
                    <a:cubicBezTo>
                      <a:pt x="721" y="843"/>
                      <a:pt x="756" y="821"/>
                      <a:pt x="784" y="794"/>
                    </a:cubicBezTo>
                    <a:cubicBezTo>
                      <a:pt x="822" y="756"/>
                      <a:pt x="850" y="702"/>
                      <a:pt x="822" y="674"/>
                    </a:cubicBezTo>
                    <a:close/>
                    <a:moveTo>
                      <a:pt x="697" y="774"/>
                    </a:moveTo>
                    <a:cubicBezTo>
                      <a:pt x="693" y="779"/>
                      <a:pt x="687" y="781"/>
                      <a:pt x="682" y="781"/>
                    </a:cubicBezTo>
                    <a:cubicBezTo>
                      <a:pt x="676" y="781"/>
                      <a:pt x="670" y="779"/>
                      <a:pt x="666" y="774"/>
                    </a:cubicBezTo>
                    <a:cubicBezTo>
                      <a:pt x="453" y="562"/>
                      <a:pt x="453" y="562"/>
                      <a:pt x="453" y="562"/>
                    </a:cubicBezTo>
                    <a:cubicBezTo>
                      <a:pt x="445" y="553"/>
                      <a:pt x="445" y="539"/>
                      <a:pt x="453" y="531"/>
                    </a:cubicBezTo>
                    <a:cubicBezTo>
                      <a:pt x="462" y="522"/>
                      <a:pt x="476" y="522"/>
                      <a:pt x="485" y="531"/>
                    </a:cubicBezTo>
                    <a:cubicBezTo>
                      <a:pt x="697" y="743"/>
                      <a:pt x="697" y="743"/>
                      <a:pt x="697" y="743"/>
                    </a:cubicBezTo>
                    <a:cubicBezTo>
                      <a:pt x="706" y="752"/>
                      <a:pt x="706" y="766"/>
                      <a:pt x="697" y="774"/>
                    </a:cubicBezTo>
                    <a:close/>
                    <a:moveTo>
                      <a:pt x="764" y="707"/>
                    </a:moveTo>
                    <a:cubicBezTo>
                      <a:pt x="760" y="712"/>
                      <a:pt x="754" y="714"/>
                      <a:pt x="749" y="714"/>
                    </a:cubicBezTo>
                    <a:cubicBezTo>
                      <a:pt x="743" y="714"/>
                      <a:pt x="737" y="712"/>
                      <a:pt x="733" y="707"/>
                    </a:cubicBezTo>
                    <a:cubicBezTo>
                      <a:pt x="521" y="495"/>
                      <a:pt x="521" y="495"/>
                      <a:pt x="521" y="495"/>
                    </a:cubicBezTo>
                    <a:cubicBezTo>
                      <a:pt x="512" y="486"/>
                      <a:pt x="512" y="472"/>
                      <a:pt x="521" y="464"/>
                    </a:cubicBezTo>
                    <a:cubicBezTo>
                      <a:pt x="529" y="455"/>
                      <a:pt x="543" y="455"/>
                      <a:pt x="552" y="464"/>
                    </a:cubicBezTo>
                    <a:cubicBezTo>
                      <a:pt x="764" y="676"/>
                      <a:pt x="764" y="676"/>
                      <a:pt x="764" y="676"/>
                    </a:cubicBezTo>
                    <a:cubicBezTo>
                      <a:pt x="773" y="685"/>
                      <a:pt x="773" y="699"/>
                      <a:pt x="764" y="707"/>
                    </a:cubicBezTo>
                    <a:close/>
                    <a:moveTo>
                      <a:pt x="377" y="607"/>
                    </a:moveTo>
                    <a:cubicBezTo>
                      <a:pt x="184" y="799"/>
                      <a:pt x="184" y="799"/>
                      <a:pt x="184" y="799"/>
                    </a:cubicBezTo>
                    <a:cubicBezTo>
                      <a:pt x="158" y="826"/>
                      <a:pt x="116" y="827"/>
                      <a:pt x="90" y="801"/>
                    </a:cubicBezTo>
                    <a:cubicBezTo>
                      <a:pt x="65" y="776"/>
                      <a:pt x="66" y="734"/>
                      <a:pt x="93" y="707"/>
                    </a:cubicBezTo>
                    <a:cubicBezTo>
                      <a:pt x="286" y="513"/>
                      <a:pt x="286" y="513"/>
                      <a:pt x="286" y="513"/>
                    </a:cubicBezTo>
                    <a:cubicBezTo>
                      <a:pt x="289" y="519"/>
                      <a:pt x="293" y="523"/>
                      <a:pt x="297" y="528"/>
                    </a:cubicBezTo>
                    <a:cubicBezTo>
                      <a:pt x="327" y="557"/>
                      <a:pt x="327" y="557"/>
                      <a:pt x="327" y="557"/>
                    </a:cubicBezTo>
                    <a:cubicBezTo>
                      <a:pt x="332" y="563"/>
                      <a:pt x="338" y="567"/>
                      <a:pt x="345" y="571"/>
                    </a:cubicBezTo>
                    <a:cubicBezTo>
                      <a:pt x="346" y="574"/>
                      <a:pt x="348" y="578"/>
                      <a:pt x="350" y="581"/>
                    </a:cubicBezTo>
                    <a:lnTo>
                      <a:pt x="377" y="607"/>
                    </a:lnTo>
                    <a:close/>
                    <a:moveTo>
                      <a:pt x="504" y="295"/>
                    </a:moveTo>
                    <a:cubicBezTo>
                      <a:pt x="555" y="245"/>
                      <a:pt x="555" y="245"/>
                      <a:pt x="555" y="245"/>
                    </a:cubicBezTo>
                    <a:cubicBezTo>
                      <a:pt x="529" y="184"/>
                      <a:pt x="542" y="111"/>
                      <a:pt x="591" y="61"/>
                    </a:cubicBezTo>
                    <a:cubicBezTo>
                      <a:pt x="640" y="13"/>
                      <a:pt x="710" y="0"/>
                      <a:pt x="771" y="22"/>
                    </a:cubicBezTo>
                    <a:cubicBezTo>
                      <a:pt x="698" y="95"/>
                      <a:pt x="698" y="95"/>
                      <a:pt x="698" y="95"/>
                    </a:cubicBezTo>
                    <a:cubicBezTo>
                      <a:pt x="641" y="152"/>
                      <a:pt x="641" y="152"/>
                      <a:pt x="641" y="152"/>
                    </a:cubicBezTo>
                    <a:cubicBezTo>
                      <a:pt x="662" y="230"/>
                      <a:pt x="662" y="230"/>
                      <a:pt x="662" y="230"/>
                    </a:cubicBezTo>
                    <a:cubicBezTo>
                      <a:pt x="739" y="250"/>
                      <a:pt x="739" y="250"/>
                      <a:pt x="739" y="250"/>
                    </a:cubicBezTo>
                    <a:cubicBezTo>
                      <a:pt x="796" y="194"/>
                      <a:pt x="796" y="194"/>
                      <a:pt x="796" y="194"/>
                    </a:cubicBezTo>
                    <a:cubicBezTo>
                      <a:pt x="869" y="121"/>
                      <a:pt x="869" y="121"/>
                      <a:pt x="869" y="121"/>
                    </a:cubicBezTo>
                    <a:cubicBezTo>
                      <a:pt x="892" y="181"/>
                      <a:pt x="879" y="252"/>
                      <a:pt x="831" y="300"/>
                    </a:cubicBezTo>
                    <a:cubicBezTo>
                      <a:pt x="781" y="350"/>
                      <a:pt x="708" y="362"/>
                      <a:pt x="646" y="337"/>
                    </a:cubicBezTo>
                    <a:cubicBezTo>
                      <a:pt x="599" y="385"/>
                      <a:pt x="599" y="385"/>
                      <a:pt x="599" y="385"/>
                    </a:cubicBezTo>
                    <a:cubicBezTo>
                      <a:pt x="597" y="387"/>
                      <a:pt x="597" y="387"/>
                      <a:pt x="597" y="387"/>
                    </a:cubicBezTo>
                    <a:cubicBezTo>
                      <a:pt x="571" y="361"/>
                      <a:pt x="571" y="361"/>
                      <a:pt x="571" y="361"/>
                    </a:cubicBezTo>
                    <a:cubicBezTo>
                      <a:pt x="568" y="358"/>
                      <a:pt x="564" y="356"/>
                      <a:pt x="560" y="355"/>
                    </a:cubicBezTo>
                    <a:cubicBezTo>
                      <a:pt x="557" y="348"/>
                      <a:pt x="553" y="343"/>
                      <a:pt x="547" y="337"/>
                    </a:cubicBezTo>
                    <a:cubicBezTo>
                      <a:pt x="518" y="308"/>
                      <a:pt x="518" y="308"/>
                      <a:pt x="518" y="308"/>
                    </a:cubicBezTo>
                    <a:cubicBezTo>
                      <a:pt x="513" y="303"/>
                      <a:pt x="508" y="300"/>
                      <a:pt x="503" y="296"/>
                    </a:cubicBezTo>
                    <a:lnTo>
                      <a:pt x="504"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51" name="Picture 50" descr="A blue sign with white text&#10;&#10;Description automatically generated with low confidence">
            <a:extLst>
              <a:ext uri="{FF2B5EF4-FFF2-40B4-BE49-F238E27FC236}">
                <a16:creationId xmlns:a16="http://schemas.microsoft.com/office/drawing/2014/main" id="{6E945ADE-F508-4CE0-BD76-A53C3BBE8F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7837746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6F2BB8-A850-4C84-8C25-97EF95EAC04A}"/>
              </a:ext>
            </a:extLst>
          </p:cNvPr>
          <p:cNvSpPr>
            <a:spLocks noGrp="1"/>
          </p:cNvSpPr>
          <p:nvPr>
            <p:ph type="title"/>
          </p:nvPr>
        </p:nvSpPr>
        <p:spPr/>
        <p:txBody>
          <a:bodyPr vert="horz">
            <a:normAutofit fontScale="90000"/>
          </a:bodyPr>
          <a:lstStyle/>
          <a:p>
            <a:r>
              <a:rPr lang="en-US" cap="none" dirty="0">
                <a:solidFill>
                  <a:srgbClr val="164484"/>
                </a:solidFill>
              </a:rPr>
              <a:t>The Digital Equity Act focuses on addressing the needs of "covered populations" as defined by the statute</a:t>
            </a:r>
          </a:p>
        </p:txBody>
      </p:sp>
      <p:grpSp>
        <p:nvGrpSpPr>
          <p:cNvPr id="82" name="Group 81">
            <a:extLst>
              <a:ext uri="{FF2B5EF4-FFF2-40B4-BE49-F238E27FC236}">
                <a16:creationId xmlns:a16="http://schemas.microsoft.com/office/drawing/2014/main" id="{BC3410A9-D2A7-4DF5-A682-D6041F7A99B5}"/>
              </a:ext>
            </a:extLst>
          </p:cNvPr>
          <p:cNvGrpSpPr/>
          <p:nvPr/>
        </p:nvGrpSpPr>
        <p:grpSpPr>
          <a:xfrm>
            <a:off x="6546848" y="2311282"/>
            <a:ext cx="600984" cy="601541"/>
            <a:chOff x="5387660" y="5745413"/>
            <a:chExt cx="434036" cy="434036"/>
          </a:xfrm>
        </p:grpSpPr>
        <p:sp>
          <p:nvSpPr>
            <p:cNvPr id="83" name="Oval 82">
              <a:extLst>
                <a:ext uri="{FF2B5EF4-FFF2-40B4-BE49-F238E27FC236}">
                  <a16:creationId xmlns:a16="http://schemas.microsoft.com/office/drawing/2014/main" id="{0BA8F40C-031B-4DC9-8F1B-2B8A2A4A23A9}"/>
                </a:ext>
              </a:extLst>
            </p:cNvPr>
            <p:cNvSpPr/>
            <p:nvPr>
              <p:custDataLst>
                <p:tags r:id="rId8"/>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84" name="Group 83">
              <a:extLst>
                <a:ext uri="{FF2B5EF4-FFF2-40B4-BE49-F238E27FC236}">
                  <a16:creationId xmlns:a16="http://schemas.microsoft.com/office/drawing/2014/main" id="{BDDB0674-D56F-4E9A-AB11-E0D48937773A}"/>
                </a:ext>
              </a:extLst>
            </p:cNvPr>
            <p:cNvGrpSpPr/>
            <p:nvPr/>
          </p:nvGrpSpPr>
          <p:grpSpPr>
            <a:xfrm>
              <a:off x="5451223" y="5808976"/>
              <a:ext cx="306910" cy="306910"/>
              <a:chOff x="5451223" y="5808976"/>
              <a:chExt cx="306910" cy="306910"/>
            </a:xfrm>
          </p:grpSpPr>
          <p:sp>
            <p:nvSpPr>
              <p:cNvPr id="85" name="Oval 14">
                <a:extLst>
                  <a:ext uri="{FF2B5EF4-FFF2-40B4-BE49-F238E27FC236}">
                    <a16:creationId xmlns:a16="http://schemas.microsoft.com/office/drawing/2014/main" id="{D31751E5-2246-44AD-B7AC-0C8100A9DC07}"/>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15">
                <a:extLst>
                  <a:ext uri="{FF2B5EF4-FFF2-40B4-BE49-F238E27FC236}">
                    <a16:creationId xmlns:a16="http://schemas.microsoft.com/office/drawing/2014/main" id="{709C8037-F1FC-4635-AC9D-49C71BCB772E}"/>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81" name="Group 80">
            <a:extLst>
              <a:ext uri="{FF2B5EF4-FFF2-40B4-BE49-F238E27FC236}">
                <a16:creationId xmlns:a16="http://schemas.microsoft.com/office/drawing/2014/main" id="{F523CD29-23C0-4A52-BB9C-CD1D5D291740}"/>
              </a:ext>
            </a:extLst>
          </p:cNvPr>
          <p:cNvGrpSpPr/>
          <p:nvPr/>
        </p:nvGrpSpPr>
        <p:grpSpPr>
          <a:xfrm>
            <a:off x="6546848" y="3217999"/>
            <a:ext cx="600984" cy="601541"/>
            <a:chOff x="5387660" y="5745413"/>
            <a:chExt cx="434036" cy="434036"/>
          </a:xfrm>
        </p:grpSpPr>
        <p:sp>
          <p:nvSpPr>
            <p:cNvPr id="80" name="Oval 79">
              <a:extLst>
                <a:ext uri="{FF2B5EF4-FFF2-40B4-BE49-F238E27FC236}">
                  <a16:creationId xmlns:a16="http://schemas.microsoft.com/office/drawing/2014/main" id="{89BFA480-4AA9-498C-A8C5-882DC503CA6C}"/>
                </a:ext>
              </a:extLst>
            </p:cNvPr>
            <p:cNvSpPr/>
            <p:nvPr>
              <p:custDataLst>
                <p:tags r:id="rId7"/>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79" name="Group 78">
              <a:extLst>
                <a:ext uri="{FF2B5EF4-FFF2-40B4-BE49-F238E27FC236}">
                  <a16:creationId xmlns:a16="http://schemas.microsoft.com/office/drawing/2014/main" id="{6F1A9921-567C-4D73-839C-3D88B57E230C}"/>
                </a:ext>
              </a:extLst>
            </p:cNvPr>
            <p:cNvGrpSpPr/>
            <p:nvPr/>
          </p:nvGrpSpPr>
          <p:grpSpPr>
            <a:xfrm>
              <a:off x="5451223" y="5808976"/>
              <a:ext cx="306910" cy="306910"/>
              <a:chOff x="5451223" y="5808976"/>
              <a:chExt cx="306910" cy="306910"/>
            </a:xfrm>
          </p:grpSpPr>
          <p:sp>
            <p:nvSpPr>
              <p:cNvPr id="75" name="Oval 14">
                <a:extLst>
                  <a:ext uri="{FF2B5EF4-FFF2-40B4-BE49-F238E27FC236}">
                    <a16:creationId xmlns:a16="http://schemas.microsoft.com/office/drawing/2014/main" id="{9231E87B-B37E-47D5-8270-162572D67B20}"/>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15">
                <a:extLst>
                  <a:ext uri="{FF2B5EF4-FFF2-40B4-BE49-F238E27FC236}">
                    <a16:creationId xmlns:a16="http://schemas.microsoft.com/office/drawing/2014/main" id="{DD540F76-42B2-4CD3-8DCD-C8BEB162FCFB}"/>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aphicFrame>
        <p:nvGraphicFramePr>
          <p:cNvPr id="18" name="Table 17">
            <a:extLst>
              <a:ext uri="{FF2B5EF4-FFF2-40B4-BE49-F238E27FC236}">
                <a16:creationId xmlns:a16="http://schemas.microsoft.com/office/drawing/2014/main" id="{AD38BDFF-75A6-4494-ADEE-B4551E1BA4DD}"/>
              </a:ext>
            </a:extLst>
          </p:cNvPr>
          <p:cNvGraphicFramePr>
            <a:graphicFrameLocks noGrp="1"/>
          </p:cNvGraphicFramePr>
          <p:nvPr/>
        </p:nvGraphicFramePr>
        <p:xfrm>
          <a:off x="6431302" y="2147496"/>
          <a:ext cx="5120640" cy="3657600"/>
        </p:xfrm>
        <a:graphic>
          <a:graphicData uri="http://schemas.openxmlformats.org/drawingml/2006/table">
            <a:tbl>
              <a:tblPr>
                <a:tableStyleId>{2D5ABB26-0587-4C30-8999-92F81FD0307C}</a:tableStyleId>
              </a:tblPr>
              <a:tblGrid>
                <a:gridCol w="1179304">
                  <a:extLst>
                    <a:ext uri="{9D8B030D-6E8A-4147-A177-3AD203B41FA5}">
                      <a16:colId xmlns:a16="http://schemas.microsoft.com/office/drawing/2014/main" val="20000"/>
                    </a:ext>
                  </a:extLst>
                </a:gridCol>
                <a:gridCol w="3941336">
                  <a:extLst>
                    <a:ext uri="{9D8B030D-6E8A-4147-A177-3AD203B41FA5}">
                      <a16:colId xmlns:a16="http://schemas.microsoft.com/office/drawing/2014/main" val="20002"/>
                    </a:ext>
                  </a:extLst>
                </a:gridCol>
              </a:tblGrid>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People with disabilities</a:t>
                      </a:r>
                      <a:endParaRPr lang="en-US" sz="1400" b="0" i="0" u="none" strike="noStrike" kern="1200">
                        <a:solidFill>
                          <a:schemeClr val="tx1">
                            <a:lumMod val="100000"/>
                          </a:schemeClr>
                        </a:solidFill>
                        <a:effectLst/>
                        <a:latin typeface="+mj-lt"/>
                        <a:ea typeface="+mn-ea"/>
                        <a:cs typeface="+mn-cs"/>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28650923"/>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a:solidFill>
                            <a:schemeClr val="tx1">
                              <a:lumMod val="100000"/>
                            </a:schemeClr>
                          </a:solidFill>
                          <a:effectLst/>
                          <a:latin typeface="+mj-lt"/>
                        </a:rPr>
                        <a:t>People with language barrier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Racial and ethnic minoritie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Rural inhabitant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9" name="Table 18">
            <a:extLst>
              <a:ext uri="{FF2B5EF4-FFF2-40B4-BE49-F238E27FC236}">
                <a16:creationId xmlns:a16="http://schemas.microsoft.com/office/drawing/2014/main" id="{9D48F033-F9AC-4C8A-B7DC-B2790CDBAF2D}"/>
              </a:ext>
            </a:extLst>
          </p:cNvPr>
          <p:cNvGraphicFramePr>
            <a:graphicFrameLocks noGrp="1"/>
          </p:cNvGraphicFramePr>
          <p:nvPr/>
        </p:nvGraphicFramePr>
        <p:xfrm>
          <a:off x="755933" y="2147496"/>
          <a:ext cx="5120992" cy="3657600"/>
        </p:xfrm>
        <a:graphic>
          <a:graphicData uri="http://schemas.openxmlformats.org/drawingml/2006/table">
            <a:tbl>
              <a:tblPr>
                <a:tableStyleId>{2D5ABB26-0587-4C30-8999-92F81FD0307C}</a:tableStyleId>
              </a:tblPr>
              <a:tblGrid>
                <a:gridCol w="1051785">
                  <a:extLst>
                    <a:ext uri="{9D8B030D-6E8A-4147-A177-3AD203B41FA5}">
                      <a16:colId xmlns:a16="http://schemas.microsoft.com/office/drawing/2014/main" val="20000"/>
                    </a:ext>
                  </a:extLst>
                </a:gridCol>
                <a:gridCol w="4069207">
                  <a:extLst>
                    <a:ext uri="{9D8B030D-6E8A-4147-A177-3AD203B41FA5}">
                      <a16:colId xmlns:a16="http://schemas.microsoft.com/office/drawing/2014/main" val="20002"/>
                    </a:ext>
                  </a:extLst>
                </a:gridCol>
              </a:tblGrid>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a:solidFill>
                            <a:schemeClr val="tx1">
                              <a:lumMod val="100000"/>
                            </a:schemeClr>
                          </a:solidFill>
                          <a:effectLst/>
                          <a:latin typeface="+mj-lt"/>
                        </a:rPr>
                        <a:t>Low-income households</a:t>
                      </a:r>
                      <a:endParaRPr lang="en-US" sz="1400" b="0" i="0" u="none" strike="noStrike">
                        <a:solidFill>
                          <a:schemeClr val="tx1">
                            <a:lumMod val="100000"/>
                          </a:schemeClr>
                        </a:solidFill>
                        <a:effectLst/>
                        <a:latin typeface="+mj-lt"/>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Aging population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Incarcerated individual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993775363"/>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mj-lt"/>
                        </a:rPr>
                        <a:t>Veterans</a:t>
                      </a:r>
                      <a:endParaRPr lang="en-US" sz="1400" b="0" i="0" u="none" strike="noStrike">
                        <a:solidFill>
                          <a:schemeClr val="tx1">
                            <a:lumMod val="100000"/>
                          </a:schemeClr>
                        </a:solidFill>
                        <a:effectLst/>
                        <a:latin typeface="+mj-lt"/>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cxnSp>
        <p:nvCxnSpPr>
          <p:cNvPr id="20" name="Straight Connector 19">
            <a:extLst>
              <a:ext uri="{FF2B5EF4-FFF2-40B4-BE49-F238E27FC236}">
                <a16:creationId xmlns:a16="http://schemas.microsoft.com/office/drawing/2014/main" id="{0A178BA5-518D-4787-9195-4A2A0CB2D89D}"/>
              </a:ext>
            </a:extLst>
          </p:cNvPr>
          <p:cNvCxnSpPr>
            <a:cxnSpLocks/>
          </p:cNvCxnSpPr>
          <p:nvPr/>
        </p:nvCxnSpPr>
        <p:spPr>
          <a:xfrm>
            <a:off x="640531" y="1747123"/>
            <a:ext cx="10922670" cy="0"/>
          </a:xfrm>
          <a:prstGeom prst="line">
            <a:avLst/>
          </a:prstGeom>
          <a:ln w="9525" cap="rnd" cmpd="sng" algn="ctr">
            <a:solidFill>
              <a:srgbClr val="16448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895AEDA-BA31-4754-A438-BDCDD913D818}"/>
              </a:ext>
            </a:extLst>
          </p:cNvPr>
          <p:cNvSpPr txBox="1"/>
          <p:nvPr/>
        </p:nvSpPr>
        <p:spPr>
          <a:xfrm>
            <a:off x="1452054" y="1519709"/>
            <a:ext cx="9287894" cy="41918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164484"/>
                </a:solidFill>
              </a:rPr>
              <a:t>Covered Populations</a:t>
            </a:r>
          </a:p>
          <a:p>
            <a:pPr algn="ctr"/>
            <a:r>
              <a:rPr lang="en-US" sz="2000" i="1" dirty="0">
                <a:solidFill>
                  <a:srgbClr val="164484"/>
                </a:solidFill>
              </a:rPr>
              <a:t>Identity groups and communities disproportionally impacted by digital inequity</a:t>
            </a:r>
          </a:p>
        </p:txBody>
      </p:sp>
      <p:grpSp>
        <p:nvGrpSpPr>
          <p:cNvPr id="112" name="Group 111">
            <a:extLst>
              <a:ext uri="{FF2B5EF4-FFF2-40B4-BE49-F238E27FC236}">
                <a16:creationId xmlns:a16="http://schemas.microsoft.com/office/drawing/2014/main" id="{175F11E3-AFC2-407E-AF2F-7F793A031A0B}"/>
              </a:ext>
            </a:extLst>
          </p:cNvPr>
          <p:cNvGrpSpPr/>
          <p:nvPr/>
        </p:nvGrpSpPr>
        <p:grpSpPr>
          <a:xfrm>
            <a:off x="914307" y="2329382"/>
            <a:ext cx="600984" cy="601541"/>
            <a:chOff x="5387660" y="5745413"/>
            <a:chExt cx="434036" cy="434036"/>
          </a:xfrm>
        </p:grpSpPr>
        <p:sp>
          <p:nvSpPr>
            <p:cNvPr id="113" name="Oval 112">
              <a:extLst>
                <a:ext uri="{FF2B5EF4-FFF2-40B4-BE49-F238E27FC236}">
                  <a16:creationId xmlns:a16="http://schemas.microsoft.com/office/drawing/2014/main" id="{8F065A23-0CB5-4DEC-9847-7BB3CF0BCAAB}"/>
                </a:ext>
              </a:extLst>
            </p:cNvPr>
            <p:cNvSpPr/>
            <p:nvPr>
              <p:custDataLst>
                <p:tags r:id="rId6"/>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114" name="Group 113">
              <a:extLst>
                <a:ext uri="{FF2B5EF4-FFF2-40B4-BE49-F238E27FC236}">
                  <a16:creationId xmlns:a16="http://schemas.microsoft.com/office/drawing/2014/main" id="{9752BF26-DECA-41DD-B1A8-9DCCED930E63}"/>
                </a:ext>
              </a:extLst>
            </p:cNvPr>
            <p:cNvGrpSpPr/>
            <p:nvPr/>
          </p:nvGrpSpPr>
          <p:grpSpPr>
            <a:xfrm>
              <a:off x="5451223" y="5808976"/>
              <a:ext cx="306910" cy="306910"/>
              <a:chOff x="5451223" y="5808976"/>
              <a:chExt cx="306910" cy="306910"/>
            </a:xfrm>
          </p:grpSpPr>
          <p:sp>
            <p:nvSpPr>
              <p:cNvPr id="115" name="Oval 14">
                <a:extLst>
                  <a:ext uri="{FF2B5EF4-FFF2-40B4-BE49-F238E27FC236}">
                    <a16:creationId xmlns:a16="http://schemas.microsoft.com/office/drawing/2014/main" id="{11B9A1DA-0D40-4249-9BD0-84BD714EAD34}"/>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15">
                <a:extLst>
                  <a:ext uri="{FF2B5EF4-FFF2-40B4-BE49-F238E27FC236}">
                    <a16:creationId xmlns:a16="http://schemas.microsoft.com/office/drawing/2014/main" id="{BED861FE-5F20-4C9F-9368-38B277393B4B}"/>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87" name="Group 86">
            <a:extLst>
              <a:ext uri="{FF2B5EF4-FFF2-40B4-BE49-F238E27FC236}">
                <a16:creationId xmlns:a16="http://schemas.microsoft.com/office/drawing/2014/main" id="{CC9E416B-2882-4FC8-8D6F-2E4482E84F6B}"/>
              </a:ext>
            </a:extLst>
          </p:cNvPr>
          <p:cNvGrpSpPr/>
          <p:nvPr/>
        </p:nvGrpSpPr>
        <p:grpSpPr>
          <a:xfrm>
            <a:off x="914307" y="3217999"/>
            <a:ext cx="600984" cy="601541"/>
            <a:chOff x="5387660" y="5745413"/>
            <a:chExt cx="434036" cy="434036"/>
          </a:xfrm>
        </p:grpSpPr>
        <p:sp>
          <p:nvSpPr>
            <p:cNvPr id="88" name="Oval 87">
              <a:extLst>
                <a:ext uri="{FF2B5EF4-FFF2-40B4-BE49-F238E27FC236}">
                  <a16:creationId xmlns:a16="http://schemas.microsoft.com/office/drawing/2014/main" id="{6FFD3EDE-8EE1-46B4-A939-C583A7F16888}"/>
                </a:ext>
              </a:extLst>
            </p:cNvPr>
            <p:cNvSpPr/>
            <p:nvPr>
              <p:custDataLst>
                <p:tags r:id="rId5"/>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89" name="Group 88">
              <a:extLst>
                <a:ext uri="{FF2B5EF4-FFF2-40B4-BE49-F238E27FC236}">
                  <a16:creationId xmlns:a16="http://schemas.microsoft.com/office/drawing/2014/main" id="{16F9450B-FA54-4B22-87C9-E3C16EE8298F}"/>
                </a:ext>
              </a:extLst>
            </p:cNvPr>
            <p:cNvGrpSpPr/>
            <p:nvPr/>
          </p:nvGrpSpPr>
          <p:grpSpPr>
            <a:xfrm>
              <a:off x="5451223" y="5808976"/>
              <a:ext cx="306910" cy="306910"/>
              <a:chOff x="5451223" y="5808976"/>
              <a:chExt cx="306910" cy="306910"/>
            </a:xfrm>
          </p:grpSpPr>
          <p:sp>
            <p:nvSpPr>
              <p:cNvPr id="90" name="Oval 14">
                <a:extLst>
                  <a:ext uri="{FF2B5EF4-FFF2-40B4-BE49-F238E27FC236}">
                    <a16:creationId xmlns:a16="http://schemas.microsoft.com/office/drawing/2014/main" id="{E8F5BCE9-C3B8-43A4-92DF-22DC7276E7E8}"/>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1" name="Freeform 15">
                <a:extLst>
                  <a:ext uri="{FF2B5EF4-FFF2-40B4-BE49-F238E27FC236}">
                    <a16:creationId xmlns:a16="http://schemas.microsoft.com/office/drawing/2014/main" id="{2C8A7673-C083-428F-A814-8BA4ABF8E92E}"/>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97" name="Group 96">
            <a:extLst>
              <a:ext uri="{FF2B5EF4-FFF2-40B4-BE49-F238E27FC236}">
                <a16:creationId xmlns:a16="http://schemas.microsoft.com/office/drawing/2014/main" id="{B2276E30-F356-41B9-8C9F-030CC902F46C}"/>
              </a:ext>
            </a:extLst>
          </p:cNvPr>
          <p:cNvGrpSpPr/>
          <p:nvPr/>
        </p:nvGrpSpPr>
        <p:grpSpPr>
          <a:xfrm>
            <a:off x="914307" y="5009042"/>
            <a:ext cx="600984" cy="601541"/>
            <a:chOff x="5387660" y="5745413"/>
            <a:chExt cx="434036" cy="434036"/>
          </a:xfrm>
        </p:grpSpPr>
        <p:sp>
          <p:nvSpPr>
            <p:cNvPr id="98" name="Oval 97">
              <a:extLst>
                <a:ext uri="{FF2B5EF4-FFF2-40B4-BE49-F238E27FC236}">
                  <a16:creationId xmlns:a16="http://schemas.microsoft.com/office/drawing/2014/main" id="{A6DAA034-5DDF-4153-AE1B-2FE15B13A253}"/>
                </a:ext>
              </a:extLst>
            </p:cNvPr>
            <p:cNvSpPr/>
            <p:nvPr>
              <p:custDataLst>
                <p:tags r:id="rId4"/>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99" name="Group 98">
              <a:extLst>
                <a:ext uri="{FF2B5EF4-FFF2-40B4-BE49-F238E27FC236}">
                  <a16:creationId xmlns:a16="http://schemas.microsoft.com/office/drawing/2014/main" id="{31B826F5-7922-45D3-9216-66231B989408}"/>
                </a:ext>
              </a:extLst>
            </p:cNvPr>
            <p:cNvGrpSpPr/>
            <p:nvPr/>
          </p:nvGrpSpPr>
          <p:grpSpPr>
            <a:xfrm>
              <a:off x="5451223" y="5808976"/>
              <a:ext cx="306910" cy="306910"/>
              <a:chOff x="5451223" y="5808976"/>
              <a:chExt cx="306910" cy="306910"/>
            </a:xfrm>
          </p:grpSpPr>
          <p:sp>
            <p:nvSpPr>
              <p:cNvPr id="100" name="Oval 14">
                <a:extLst>
                  <a:ext uri="{FF2B5EF4-FFF2-40B4-BE49-F238E27FC236}">
                    <a16:creationId xmlns:a16="http://schemas.microsoft.com/office/drawing/2014/main" id="{F4DA123C-8F14-4C16-9444-838F3D677DAD}"/>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5">
                <a:extLst>
                  <a:ext uri="{FF2B5EF4-FFF2-40B4-BE49-F238E27FC236}">
                    <a16:creationId xmlns:a16="http://schemas.microsoft.com/office/drawing/2014/main" id="{1D545F71-EDD5-4585-9942-1C220AEC99D8}"/>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102" name="Group 101">
            <a:extLst>
              <a:ext uri="{FF2B5EF4-FFF2-40B4-BE49-F238E27FC236}">
                <a16:creationId xmlns:a16="http://schemas.microsoft.com/office/drawing/2014/main" id="{4A0ADBFC-A450-44CB-93D8-B2D08E0D7AA3}"/>
              </a:ext>
            </a:extLst>
          </p:cNvPr>
          <p:cNvGrpSpPr/>
          <p:nvPr/>
        </p:nvGrpSpPr>
        <p:grpSpPr>
          <a:xfrm>
            <a:off x="6546848" y="4131056"/>
            <a:ext cx="600984" cy="601541"/>
            <a:chOff x="5387660" y="5745413"/>
            <a:chExt cx="434036" cy="434036"/>
          </a:xfrm>
        </p:grpSpPr>
        <p:sp>
          <p:nvSpPr>
            <p:cNvPr id="103" name="Oval 102">
              <a:extLst>
                <a:ext uri="{FF2B5EF4-FFF2-40B4-BE49-F238E27FC236}">
                  <a16:creationId xmlns:a16="http://schemas.microsoft.com/office/drawing/2014/main" id="{B907540E-8C08-41FE-BD63-C173DA74F10E}"/>
                </a:ext>
              </a:extLst>
            </p:cNvPr>
            <p:cNvSpPr/>
            <p:nvPr>
              <p:custDataLst>
                <p:tags r:id="rId3"/>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104" name="Group 103">
              <a:extLst>
                <a:ext uri="{FF2B5EF4-FFF2-40B4-BE49-F238E27FC236}">
                  <a16:creationId xmlns:a16="http://schemas.microsoft.com/office/drawing/2014/main" id="{F212E443-7EFD-4405-AD7C-2A90D8C5DBEC}"/>
                </a:ext>
              </a:extLst>
            </p:cNvPr>
            <p:cNvGrpSpPr/>
            <p:nvPr/>
          </p:nvGrpSpPr>
          <p:grpSpPr>
            <a:xfrm>
              <a:off x="5451223" y="5808976"/>
              <a:ext cx="306910" cy="306910"/>
              <a:chOff x="5451223" y="5808976"/>
              <a:chExt cx="306910" cy="306910"/>
            </a:xfrm>
          </p:grpSpPr>
          <p:sp>
            <p:nvSpPr>
              <p:cNvPr id="105" name="Oval 14">
                <a:extLst>
                  <a:ext uri="{FF2B5EF4-FFF2-40B4-BE49-F238E27FC236}">
                    <a16:creationId xmlns:a16="http://schemas.microsoft.com/office/drawing/2014/main" id="{9468B83A-C4E8-4971-9547-38B1279FA32E}"/>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15">
                <a:extLst>
                  <a:ext uri="{FF2B5EF4-FFF2-40B4-BE49-F238E27FC236}">
                    <a16:creationId xmlns:a16="http://schemas.microsoft.com/office/drawing/2014/main" id="{84B4005B-D63D-4409-B384-969A440B11D0}"/>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107" name="Group 106">
            <a:extLst>
              <a:ext uri="{FF2B5EF4-FFF2-40B4-BE49-F238E27FC236}">
                <a16:creationId xmlns:a16="http://schemas.microsoft.com/office/drawing/2014/main" id="{D235CEEE-C13A-4605-B410-834BB5ED50B9}"/>
              </a:ext>
            </a:extLst>
          </p:cNvPr>
          <p:cNvGrpSpPr/>
          <p:nvPr/>
        </p:nvGrpSpPr>
        <p:grpSpPr>
          <a:xfrm>
            <a:off x="6546848" y="5046975"/>
            <a:ext cx="600984" cy="601541"/>
            <a:chOff x="5387660" y="5745413"/>
            <a:chExt cx="434036" cy="434036"/>
          </a:xfrm>
        </p:grpSpPr>
        <p:sp>
          <p:nvSpPr>
            <p:cNvPr id="108" name="Oval 107">
              <a:extLst>
                <a:ext uri="{FF2B5EF4-FFF2-40B4-BE49-F238E27FC236}">
                  <a16:creationId xmlns:a16="http://schemas.microsoft.com/office/drawing/2014/main" id="{C0AC800C-BC42-49D4-A658-43790A10168F}"/>
                </a:ext>
              </a:extLst>
            </p:cNvPr>
            <p:cNvSpPr/>
            <p:nvPr>
              <p:custDataLst>
                <p:tags r:id="rId2"/>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109" name="Group 108">
              <a:extLst>
                <a:ext uri="{FF2B5EF4-FFF2-40B4-BE49-F238E27FC236}">
                  <a16:creationId xmlns:a16="http://schemas.microsoft.com/office/drawing/2014/main" id="{ADF917F5-0B79-4023-909C-80B37C577C62}"/>
                </a:ext>
              </a:extLst>
            </p:cNvPr>
            <p:cNvGrpSpPr/>
            <p:nvPr/>
          </p:nvGrpSpPr>
          <p:grpSpPr>
            <a:xfrm>
              <a:off x="5451223" y="5808976"/>
              <a:ext cx="306910" cy="306910"/>
              <a:chOff x="5451223" y="5808976"/>
              <a:chExt cx="306910" cy="306910"/>
            </a:xfrm>
          </p:grpSpPr>
          <p:sp>
            <p:nvSpPr>
              <p:cNvPr id="110" name="Oval 14">
                <a:extLst>
                  <a:ext uri="{FF2B5EF4-FFF2-40B4-BE49-F238E27FC236}">
                    <a16:creationId xmlns:a16="http://schemas.microsoft.com/office/drawing/2014/main" id="{ABDB58CB-F0A8-4DE8-AAE7-E118447B4251}"/>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15">
                <a:extLst>
                  <a:ext uri="{FF2B5EF4-FFF2-40B4-BE49-F238E27FC236}">
                    <a16:creationId xmlns:a16="http://schemas.microsoft.com/office/drawing/2014/main" id="{0E87D5B2-4CA7-4E7E-801D-3DA34B7FDDA7}"/>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92" name="Group 91">
            <a:extLst>
              <a:ext uri="{FF2B5EF4-FFF2-40B4-BE49-F238E27FC236}">
                <a16:creationId xmlns:a16="http://schemas.microsoft.com/office/drawing/2014/main" id="{4A231239-B9B6-4E6A-97E0-7DAABD9FB658}"/>
              </a:ext>
            </a:extLst>
          </p:cNvPr>
          <p:cNvGrpSpPr/>
          <p:nvPr/>
        </p:nvGrpSpPr>
        <p:grpSpPr>
          <a:xfrm>
            <a:off x="914307" y="4113520"/>
            <a:ext cx="600984" cy="601541"/>
            <a:chOff x="5387660" y="5745413"/>
            <a:chExt cx="434036" cy="434036"/>
          </a:xfrm>
        </p:grpSpPr>
        <p:sp>
          <p:nvSpPr>
            <p:cNvPr id="93" name="Oval 92">
              <a:extLst>
                <a:ext uri="{FF2B5EF4-FFF2-40B4-BE49-F238E27FC236}">
                  <a16:creationId xmlns:a16="http://schemas.microsoft.com/office/drawing/2014/main" id="{27B6C314-D6AD-493B-B3B1-4C0C4C5634DB}"/>
                </a:ext>
              </a:extLst>
            </p:cNvPr>
            <p:cNvSpPr/>
            <p:nvPr>
              <p:custDataLst>
                <p:tags r:id="rId1"/>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a:solidFill>
                  <a:srgbClr val="000000"/>
                </a:solidFill>
              </a:endParaRPr>
            </a:p>
          </p:txBody>
        </p:sp>
        <p:grpSp>
          <p:nvGrpSpPr>
            <p:cNvPr id="94" name="Group 93">
              <a:extLst>
                <a:ext uri="{FF2B5EF4-FFF2-40B4-BE49-F238E27FC236}">
                  <a16:creationId xmlns:a16="http://schemas.microsoft.com/office/drawing/2014/main" id="{53426E09-CE67-43EB-AA6D-C17206416510}"/>
                </a:ext>
              </a:extLst>
            </p:cNvPr>
            <p:cNvGrpSpPr/>
            <p:nvPr/>
          </p:nvGrpSpPr>
          <p:grpSpPr>
            <a:xfrm>
              <a:off x="5451223" y="5808976"/>
              <a:ext cx="306910" cy="306910"/>
              <a:chOff x="5451223" y="5808976"/>
              <a:chExt cx="306910" cy="306910"/>
            </a:xfrm>
          </p:grpSpPr>
          <p:sp>
            <p:nvSpPr>
              <p:cNvPr id="95" name="Oval 14">
                <a:extLst>
                  <a:ext uri="{FF2B5EF4-FFF2-40B4-BE49-F238E27FC236}">
                    <a16:creationId xmlns:a16="http://schemas.microsoft.com/office/drawing/2014/main" id="{9DB4F20B-878A-4BBE-A23F-E54D5D36B5AC}"/>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6" name="Freeform 15">
                <a:extLst>
                  <a:ext uri="{FF2B5EF4-FFF2-40B4-BE49-F238E27FC236}">
                    <a16:creationId xmlns:a16="http://schemas.microsoft.com/office/drawing/2014/main" id="{9CB25D8E-571D-42EA-91F5-8F4A7D61C6A2}"/>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pic>
        <p:nvPicPr>
          <p:cNvPr id="47" name="Picture 46" descr="A blue sign with white text&#10;&#10;Description automatically generated with low confidence">
            <a:extLst>
              <a:ext uri="{FF2B5EF4-FFF2-40B4-BE49-F238E27FC236}">
                <a16:creationId xmlns:a16="http://schemas.microsoft.com/office/drawing/2014/main" id="{D2356F53-EC88-47B1-A506-6A248C352BF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9424508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69793" y="339436"/>
            <a:ext cx="4971790" cy="6179127"/>
          </a:xfrm>
        </p:spPr>
        <p:txBody>
          <a:bodyPr>
            <a:normAutofit fontScale="90000"/>
          </a:bodyPr>
          <a:lstStyle/>
          <a:p>
            <a:pPr marL="0" marR="0" algn="ctr">
              <a:spcBef>
                <a:spcPts val="0"/>
              </a:spcBef>
              <a:spcAft>
                <a:spcPts val="0"/>
              </a:spcAft>
            </a:pPr>
            <a:br>
              <a:rPr lang="en-US" sz="2000" b="1" dirty="0">
                <a:effectLst/>
              </a:rPr>
            </a:br>
            <a:r>
              <a:rPr lang="en-US" sz="2000" b="1" dirty="0">
                <a:effectLst/>
              </a:rPr>
              <a:t>WEBINAR SERIES</a:t>
            </a:r>
            <a:br>
              <a:rPr lang="en-US" sz="2000" dirty="0"/>
            </a:br>
            <a:br>
              <a:rPr lang="en-US" sz="1600" dirty="0"/>
            </a:br>
            <a:br>
              <a:rPr lang="en-US" sz="1600" dirty="0">
                <a:latin typeface="+mn-lt"/>
                <a:ea typeface="Calibri" panose="020F0502020204030204" pitchFamily="34" charset="0"/>
              </a:rPr>
            </a:br>
            <a:r>
              <a:rPr lang="en-US" sz="1600" dirty="0">
                <a:solidFill>
                  <a:srgbClr val="FF0000"/>
                </a:solidFill>
                <a:latin typeface="+mn-lt"/>
                <a:ea typeface="Calibri" panose="020F0502020204030204" pitchFamily="34" charset="0"/>
              </a:rPr>
              <a:t>Webinar #3</a:t>
            </a:r>
            <a:r>
              <a:rPr lang="en-US" sz="1600" dirty="0">
                <a:latin typeface="+mn-lt"/>
                <a:ea typeface="Calibri" panose="020F0502020204030204" pitchFamily="34" charset="0"/>
              </a:rPr>
              <a:t>: Be Kind and Refurbish - Laptops Bundled with Financial &amp; Economic Inclusion Resources</a:t>
            </a:r>
            <a:br>
              <a:rPr lang="en-US" sz="1600" dirty="0">
                <a:latin typeface="+mn-lt"/>
                <a:ea typeface="Calibri" panose="020F0502020204030204" pitchFamily="34" charset="0"/>
              </a:rPr>
            </a:br>
            <a:r>
              <a:rPr lang="en-US" sz="1600" b="1" dirty="0">
                <a:latin typeface="+mn-lt"/>
                <a:ea typeface="Calibri" panose="020F0502020204030204" pitchFamily="34" charset="0"/>
              </a:rPr>
              <a:t>Wednesday, November 2, 2022</a:t>
            </a:r>
            <a:r>
              <a:rPr lang="en-US" sz="1600" dirty="0">
                <a:latin typeface="+mn-lt"/>
                <a:ea typeface="Calibri" panose="020F0502020204030204" pitchFamily="34" charset="0"/>
              </a:rPr>
              <a:t> – 1PM to 2PM (ET)</a:t>
            </a:r>
            <a:br>
              <a:rPr lang="en-US" sz="1600" dirty="0">
                <a:latin typeface="+mn-lt"/>
                <a:ea typeface="Calibri" panose="020F0502020204030204" pitchFamily="34" charset="0"/>
              </a:rPr>
            </a:br>
            <a:r>
              <a:rPr lang="en-US" sz="1600" dirty="0">
                <a:latin typeface="+mn-lt"/>
                <a:ea typeface="Calibri" panose="020F0502020204030204" pitchFamily="34" charset="0"/>
              </a:rPr>
              <a:t>Why and how to create sustainable statewide ecosystems for refurbishing and donating computers</a:t>
            </a:r>
            <a:br>
              <a:rPr lang="en-US" sz="1600" dirty="0">
                <a:latin typeface="+mn-lt"/>
                <a:ea typeface="Calibri" panose="020F0502020204030204" pitchFamily="34" charset="0"/>
              </a:rPr>
            </a:br>
            <a:r>
              <a:rPr lang="en-US" sz="1600" dirty="0">
                <a:latin typeface="+mn-lt"/>
                <a:ea typeface="Calibri" panose="020F0502020204030204" pitchFamily="34" charset="0"/>
              </a:rPr>
              <a:t> </a:t>
            </a:r>
            <a:br>
              <a:rPr lang="en-US" sz="1600" dirty="0">
                <a:latin typeface="+mn-lt"/>
                <a:ea typeface="Calibri" panose="020F0502020204030204" pitchFamily="34" charset="0"/>
              </a:rPr>
            </a:br>
            <a:r>
              <a:rPr lang="en-US" sz="1600" dirty="0">
                <a:solidFill>
                  <a:srgbClr val="FF0000"/>
                </a:solidFill>
                <a:latin typeface="+mn-lt"/>
                <a:ea typeface="Calibri" panose="020F0502020204030204" pitchFamily="34" charset="0"/>
              </a:rPr>
              <a:t>Webinar #4</a:t>
            </a:r>
            <a:r>
              <a:rPr lang="en-US" sz="1600" dirty="0">
                <a:latin typeface="+mn-lt"/>
                <a:ea typeface="Calibri" panose="020F0502020204030204" pitchFamily="34" charset="0"/>
              </a:rPr>
              <a:t>: Finding Free &amp; Low-Cost Broadband Bundled with Financial and Economic Inclusion Resources</a:t>
            </a:r>
            <a:br>
              <a:rPr lang="en-US" sz="1600" dirty="0">
                <a:latin typeface="+mn-lt"/>
                <a:ea typeface="Calibri" panose="020F0502020204030204" pitchFamily="34" charset="0"/>
              </a:rPr>
            </a:br>
            <a:r>
              <a:rPr lang="en-US" sz="1600" b="1" dirty="0">
                <a:latin typeface="+mn-lt"/>
                <a:ea typeface="Calibri" panose="020F0502020204030204" pitchFamily="34" charset="0"/>
              </a:rPr>
              <a:t>Wednesday, November 16, 2022</a:t>
            </a:r>
            <a:r>
              <a:rPr lang="en-US" sz="1600" dirty="0">
                <a:latin typeface="+mn-lt"/>
                <a:ea typeface="Calibri" panose="020F0502020204030204" pitchFamily="34" charset="0"/>
              </a:rPr>
              <a:t> – 4PM to 5PM (ET)</a:t>
            </a:r>
            <a:br>
              <a:rPr lang="en-US" sz="1600" dirty="0">
                <a:latin typeface="+mn-lt"/>
                <a:ea typeface="Calibri" panose="020F0502020204030204" pitchFamily="34" charset="0"/>
              </a:rPr>
            </a:br>
            <a:r>
              <a:rPr lang="en-US" sz="1600" dirty="0">
                <a:latin typeface="+mn-lt"/>
                <a:ea typeface="Calibri" panose="020F0502020204030204" pitchFamily="34" charset="0"/>
              </a:rPr>
              <a:t>How to leverage drive-imaging to offer inclusion apps and pointers with discounted broadband &amp; devices.</a:t>
            </a:r>
            <a:br>
              <a:rPr lang="en-US" sz="1600" dirty="0">
                <a:latin typeface="+mn-lt"/>
                <a:ea typeface="Calibri" panose="020F0502020204030204" pitchFamily="34" charset="0"/>
              </a:rPr>
            </a:br>
            <a:r>
              <a:rPr lang="en-US" sz="1600" dirty="0">
                <a:solidFill>
                  <a:srgbClr val="1F497D"/>
                </a:solidFill>
                <a:latin typeface="+mn-lt"/>
                <a:ea typeface="Calibri" panose="020F0502020204030204" pitchFamily="34" charset="0"/>
              </a:rPr>
              <a:t> </a:t>
            </a:r>
            <a:br>
              <a:rPr lang="en-US" sz="1600" dirty="0">
                <a:solidFill>
                  <a:srgbClr val="1F497D"/>
                </a:solidFill>
                <a:latin typeface="+mn-lt"/>
                <a:ea typeface="Calibri" panose="020F0502020204030204" pitchFamily="34" charset="0"/>
              </a:rPr>
            </a:br>
            <a:r>
              <a:rPr lang="en-US" sz="1600" dirty="0">
                <a:solidFill>
                  <a:srgbClr val="FF0000"/>
                </a:solidFill>
                <a:latin typeface="+mn-lt"/>
                <a:ea typeface="Calibri" panose="020F0502020204030204" pitchFamily="34" charset="0"/>
                <a:cs typeface="Times New Roman" panose="02020603050405020304" pitchFamily="18" charset="0"/>
              </a:rPr>
              <a:t>Webinar #5</a:t>
            </a:r>
            <a:r>
              <a:rPr lang="en-US" sz="1600" dirty="0">
                <a:solidFill>
                  <a:srgbClr val="1F497D"/>
                </a:solidFill>
                <a:latin typeface="+mn-lt"/>
                <a:ea typeface="Calibri" panose="020F0502020204030204" pitchFamily="34" charset="0"/>
                <a:cs typeface="Times New Roman" panose="02020603050405020304" pitchFamily="18" charset="0"/>
              </a:rPr>
              <a:t>: </a:t>
            </a:r>
            <a:r>
              <a:rPr lang="en-US" sz="1600" dirty="0">
                <a:latin typeface="+mn-lt"/>
                <a:ea typeface="Calibri" panose="020F0502020204030204" pitchFamily="34" charset="0"/>
                <a:cs typeface="Times New Roman" panose="02020603050405020304" pitchFamily="18" charset="0"/>
              </a:rPr>
              <a:t>Encouraging Youth Leadership Development - The Future of Digital and Financial Inclusion</a:t>
            </a:r>
            <a:br>
              <a:rPr lang="en-US" sz="1600" dirty="0">
                <a:latin typeface="+mn-lt"/>
                <a:ea typeface="Calibri" panose="020F0502020204030204" pitchFamily="34" charset="0"/>
                <a:cs typeface="Times New Roman" panose="02020603050405020304" pitchFamily="18" charset="0"/>
              </a:rPr>
            </a:br>
            <a:r>
              <a:rPr lang="en-US" sz="1600" b="1" dirty="0">
                <a:latin typeface="+mn-lt"/>
                <a:ea typeface="Calibri" panose="020F0502020204030204" pitchFamily="34" charset="0"/>
                <a:cs typeface="Times New Roman" panose="02020603050405020304" pitchFamily="18" charset="0"/>
              </a:rPr>
              <a:t>Mon</a:t>
            </a:r>
            <a:r>
              <a:rPr lang="en-US" sz="1600" b="1" dirty="0">
                <a:latin typeface="+mn-lt"/>
                <a:ea typeface="Calibri" panose="020F0502020204030204" pitchFamily="34" charset="0"/>
              </a:rPr>
              <a:t>day, November 28, 2022</a:t>
            </a:r>
            <a:r>
              <a:rPr lang="en-US" sz="1600" dirty="0">
                <a:latin typeface="+mn-lt"/>
                <a:ea typeface="Calibri" panose="020F0502020204030204" pitchFamily="34" charset="0"/>
              </a:rPr>
              <a:t> – 1PM to 2PM (ET)</a:t>
            </a:r>
            <a:br>
              <a:rPr lang="en-US" sz="1600" dirty="0">
                <a:latin typeface="+mn-lt"/>
                <a:ea typeface="Calibri" panose="020F0502020204030204" pitchFamily="34" charset="0"/>
              </a:rPr>
            </a:br>
            <a:r>
              <a:rPr lang="en-US" sz="1600" dirty="0">
                <a:latin typeface="+mn-lt"/>
                <a:ea typeface="Calibri" panose="020F0502020204030204" pitchFamily="34" charset="0"/>
              </a:rPr>
              <a:t>How youth can lead local digital equity needs-sensing and planning while building their own digital, media &amp; financial literacy skills.</a:t>
            </a:r>
            <a:br>
              <a:rPr lang="en-US" sz="1600" dirty="0">
                <a:latin typeface="+mn-lt"/>
                <a:ea typeface="Calibri" panose="020F0502020204030204" pitchFamily="34" charset="0"/>
              </a:rPr>
            </a:br>
            <a:br>
              <a:rPr lang="en-US" sz="1600" dirty="0">
                <a:latin typeface="+mn-lt"/>
                <a:ea typeface="Calibri" panose="020F0502020204030204" pitchFamily="34" charset="0"/>
              </a:rPr>
            </a:br>
            <a:r>
              <a:rPr lang="en-US" sz="1600" dirty="0">
                <a:solidFill>
                  <a:srgbClr val="FF0000"/>
                </a:solidFill>
                <a:latin typeface="+mn-lt"/>
                <a:ea typeface="Calibri" panose="020F0502020204030204" pitchFamily="34" charset="0"/>
                <a:cs typeface="Times New Roman" panose="02020603050405020304" pitchFamily="18" charset="0"/>
              </a:rPr>
              <a:t>Webinar #6</a:t>
            </a:r>
            <a:r>
              <a:rPr lang="en-US" sz="1600" dirty="0">
                <a:solidFill>
                  <a:srgbClr val="1F497D"/>
                </a:solidFill>
                <a:latin typeface="+mn-lt"/>
                <a:ea typeface="Calibri" panose="020F0502020204030204" pitchFamily="34" charset="0"/>
                <a:cs typeface="Times New Roman" panose="02020603050405020304" pitchFamily="18" charset="0"/>
              </a:rPr>
              <a:t>: </a:t>
            </a:r>
            <a:r>
              <a:rPr lang="en-US" sz="1600" dirty="0">
                <a:latin typeface="+mn-lt"/>
                <a:ea typeface="Calibri" panose="020F0502020204030204" pitchFamily="34" charset="0"/>
                <a:cs typeface="Times New Roman" panose="02020603050405020304" pitchFamily="18" charset="0"/>
              </a:rPr>
              <a:t>Uncovering Rural Systemic Inclusion Strategies - Outside the Urban Lines</a:t>
            </a:r>
            <a:br>
              <a:rPr lang="en-US" sz="1600" dirty="0">
                <a:latin typeface="+mn-lt"/>
                <a:ea typeface="Calibri" panose="020F0502020204030204" pitchFamily="34" charset="0"/>
                <a:cs typeface="Times New Roman" panose="02020603050405020304" pitchFamily="18" charset="0"/>
              </a:rPr>
            </a:br>
            <a:r>
              <a:rPr lang="en-US" sz="1600" b="1" dirty="0">
                <a:latin typeface="+mn-lt"/>
                <a:ea typeface="Calibri" panose="020F0502020204030204" pitchFamily="34" charset="0"/>
                <a:cs typeface="Times New Roman" panose="02020603050405020304" pitchFamily="18" charset="0"/>
              </a:rPr>
              <a:t>Thursd</a:t>
            </a:r>
            <a:r>
              <a:rPr lang="en-US" sz="1600" b="1" dirty="0">
                <a:latin typeface="+mn-lt"/>
                <a:ea typeface="Calibri" panose="020F0502020204030204" pitchFamily="34" charset="0"/>
              </a:rPr>
              <a:t>ay, December 15, 2022</a:t>
            </a:r>
            <a:r>
              <a:rPr lang="en-US" sz="1600" dirty="0">
                <a:latin typeface="+mn-lt"/>
                <a:ea typeface="Calibri" panose="020F0502020204030204" pitchFamily="34" charset="0"/>
              </a:rPr>
              <a:t> – 1PM to 2PM (ET)</a:t>
            </a:r>
            <a:br>
              <a:rPr lang="en-US" sz="1600" dirty="0">
                <a:latin typeface="+mn-lt"/>
                <a:ea typeface="Calibri" panose="020F0502020204030204" pitchFamily="34" charset="0"/>
              </a:rPr>
            </a:br>
            <a:r>
              <a:rPr lang="en-US" sz="1600" dirty="0">
                <a:latin typeface="+mn-lt"/>
                <a:ea typeface="Calibri" panose="020F0502020204030204" pitchFamily="34" charset="0"/>
              </a:rPr>
              <a:t>Challenges, opportunities and lessons learned thus far from systemic inclusion efforts in New Hampshire.</a:t>
            </a:r>
            <a:br>
              <a:rPr lang="en-US" sz="1600" dirty="0">
                <a:latin typeface="Times New Roman" panose="02020603050405020304" pitchFamily="18" charset="0"/>
                <a:ea typeface="Calibri" panose="020F0502020204030204" pitchFamily="34" charset="0"/>
                <a:cs typeface="Times New Roman" panose="02020603050405020304" pitchFamily="18" charset="0"/>
              </a:rPr>
            </a:br>
            <a:br>
              <a:rPr lang="en-US" sz="1800" dirty="0">
                <a:latin typeface="Calibri" panose="020F0502020204030204" pitchFamily="34" charset="0"/>
                <a:ea typeface="Calibri" panose="020F0502020204030204" pitchFamily="34" charset="0"/>
              </a:rPr>
            </a:br>
            <a:endParaRPr lang="en-US" sz="2000" dirty="0"/>
          </a:p>
        </p:txBody>
      </p:sp>
      <p:sp>
        <p:nvSpPr>
          <p:cNvPr id="2" name="Slide Number Placeholder 1"/>
          <p:cNvSpPr>
            <a:spLocks noGrp="1"/>
          </p:cNvSpPr>
          <p:nvPr>
            <p:ph type="sldNum" sz="quarter" idx="12"/>
          </p:nvPr>
        </p:nvSpPr>
        <p:spPr/>
        <p:txBody>
          <a:bodyPr/>
          <a:lstStyle/>
          <a:p>
            <a:fld id="{1267BF92-073C-4ECE-B084-A7F2B13135E2}" type="slidenum">
              <a:rPr lang="en-US" smtClean="0"/>
              <a:t>2</a:t>
            </a:fld>
            <a:endParaRPr lang="en-US"/>
          </a:p>
        </p:txBody>
      </p:sp>
    </p:spTree>
    <p:extLst>
      <p:ext uri="{BB962C8B-B14F-4D97-AF65-F5344CB8AC3E}">
        <p14:creationId xmlns:p14="http://schemas.microsoft.com/office/powerpoint/2010/main" val="36765608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AA3B8-AA3A-4419-AF8E-1358B3F1A903}"/>
              </a:ext>
            </a:extLst>
          </p:cNvPr>
          <p:cNvSpPr>
            <a:spLocks noGrp="1"/>
          </p:cNvSpPr>
          <p:nvPr>
            <p:ph type="title"/>
          </p:nvPr>
        </p:nvSpPr>
        <p:spPr/>
        <p:txBody>
          <a:bodyPr vert="horz">
            <a:normAutofit fontScale="90000"/>
          </a:bodyPr>
          <a:lstStyle/>
          <a:p>
            <a:r>
              <a:rPr lang="en-US" cap="none" dirty="0">
                <a:solidFill>
                  <a:srgbClr val="164484"/>
                </a:solidFill>
              </a:rPr>
              <a:t>Eligible entities are required to engage with key stakeholders as a part of developing digital equity plans</a:t>
            </a:r>
            <a:br>
              <a:rPr lang="en-US" cap="none" dirty="0">
                <a:solidFill>
                  <a:srgbClr val="164484"/>
                </a:solidFill>
              </a:rPr>
            </a:br>
            <a:endParaRPr lang="en-US" cap="none" dirty="0">
              <a:solidFill>
                <a:srgbClr val="164484"/>
              </a:solidFill>
            </a:endParaRPr>
          </a:p>
        </p:txBody>
      </p:sp>
      <p:graphicFrame>
        <p:nvGraphicFramePr>
          <p:cNvPr id="3" name="Table 4">
            <a:extLst>
              <a:ext uri="{FF2B5EF4-FFF2-40B4-BE49-F238E27FC236}">
                <a16:creationId xmlns:a16="http://schemas.microsoft.com/office/drawing/2014/main" id="{F405D7C3-8C5E-4AA5-B69A-97310B7ABBB1}"/>
              </a:ext>
            </a:extLst>
          </p:cNvPr>
          <p:cNvGraphicFramePr>
            <a:graphicFrameLocks noGrp="1"/>
          </p:cNvGraphicFramePr>
          <p:nvPr/>
        </p:nvGraphicFramePr>
        <p:xfrm>
          <a:off x="400051" y="1545034"/>
          <a:ext cx="10934493" cy="3939953"/>
        </p:xfrm>
        <a:graphic>
          <a:graphicData uri="http://schemas.openxmlformats.org/drawingml/2006/table">
            <a:tbl>
              <a:tblPr firstRow="1" bandRow="1">
                <a:tableStyleId>{5C22544A-7EE6-4342-B048-85BDC9FD1C3A}</a:tableStyleId>
              </a:tblPr>
              <a:tblGrid>
                <a:gridCol w="403817">
                  <a:extLst>
                    <a:ext uri="{9D8B030D-6E8A-4147-A177-3AD203B41FA5}">
                      <a16:colId xmlns:a16="http://schemas.microsoft.com/office/drawing/2014/main" val="1856943140"/>
                    </a:ext>
                  </a:extLst>
                </a:gridCol>
                <a:gridCol w="4983983">
                  <a:extLst>
                    <a:ext uri="{9D8B030D-6E8A-4147-A177-3AD203B41FA5}">
                      <a16:colId xmlns:a16="http://schemas.microsoft.com/office/drawing/2014/main" val="3659914897"/>
                    </a:ext>
                  </a:extLst>
                </a:gridCol>
                <a:gridCol w="643094">
                  <a:extLst>
                    <a:ext uri="{9D8B030D-6E8A-4147-A177-3AD203B41FA5}">
                      <a16:colId xmlns:a16="http://schemas.microsoft.com/office/drawing/2014/main" val="2316861636"/>
                    </a:ext>
                  </a:extLst>
                </a:gridCol>
                <a:gridCol w="4903599">
                  <a:extLst>
                    <a:ext uri="{9D8B030D-6E8A-4147-A177-3AD203B41FA5}">
                      <a16:colId xmlns:a16="http://schemas.microsoft.com/office/drawing/2014/main" val="2697539953"/>
                    </a:ext>
                  </a:extLst>
                </a:gridCol>
              </a:tblGrid>
              <a:tr h="568038">
                <a:tc>
                  <a:txBody>
                    <a:bodyPr/>
                    <a:lstStyle/>
                    <a:p>
                      <a:endParaRPr lang="en-US" sz="1600" dirty="0">
                        <a:solidFill>
                          <a:srgbClr val="29BA74"/>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rgbClr val="000000"/>
                          </a:solidFill>
                        </a:rPr>
                        <a:t>Key stakeholder groups may include:</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rgbClr val="29BA74"/>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rgbClr val="29BA74"/>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9031322"/>
                  </a:ext>
                </a:extLst>
              </a:tr>
              <a:tr h="674383">
                <a:tc>
                  <a:txBody>
                    <a:bodyPr/>
                    <a:lstStyle/>
                    <a:p>
                      <a:endParaRPr lang="en-US" sz="1600"/>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rgbClr val="000000"/>
                          </a:solidFill>
                          <a:latin typeface="+mn-lt"/>
                        </a:rPr>
                        <a:t>Community anchor institu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Organizations that represent covered populations</a:t>
                      </a:r>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1908821"/>
                  </a:ext>
                </a:extLst>
              </a:tr>
              <a:tr h="674383">
                <a:tc>
                  <a:txBody>
                    <a:bodyPr/>
                    <a:lstStyle/>
                    <a:p>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rPr>
                        <a:t>County and municipal govern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Civil rights organization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2274378"/>
                  </a:ext>
                </a:extLst>
              </a:tr>
              <a:tr h="674383">
                <a:tc>
                  <a:txBody>
                    <a:bodyPr/>
                    <a:lstStyle/>
                    <a:p>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Local educational agenc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Entities that carry out workforce development program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776535"/>
                  </a:ext>
                </a:extLst>
              </a:tr>
              <a:tr h="674383">
                <a:tc>
                  <a:txBody>
                    <a:bodyPr/>
                    <a:lstStyle/>
                    <a:p>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Indian Tribes, Alaska Native entities, or Native Hawaiian organizations, where applica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State agencies that administer or supervise adult education or literacy activitie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10691"/>
                  </a:ext>
                </a:extLst>
              </a:tr>
              <a:tr h="674383">
                <a:tc>
                  <a:txBody>
                    <a:bodyPr/>
                    <a:lstStyle/>
                    <a:p>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Nonprofit organiz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Public housing authoritie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869718"/>
                  </a:ext>
                </a:extLst>
              </a:tr>
            </a:tbl>
          </a:graphicData>
        </a:graphic>
      </p:graphicFrame>
      <p:grpSp>
        <p:nvGrpSpPr>
          <p:cNvPr id="34" name="Group 33">
            <a:extLst>
              <a:ext uri="{FF2B5EF4-FFF2-40B4-BE49-F238E27FC236}">
                <a16:creationId xmlns:a16="http://schemas.microsoft.com/office/drawing/2014/main" id="{85182F88-B307-4BBF-87CC-56D8482FBF29}"/>
              </a:ext>
            </a:extLst>
          </p:cNvPr>
          <p:cNvGrpSpPr>
            <a:grpSpLocks noChangeAspect="1"/>
          </p:cNvGrpSpPr>
          <p:nvPr/>
        </p:nvGrpSpPr>
        <p:grpSpPr>
          <a:xfrm>
            <a:off x="407846" y="2308524"/>
            <a:ext cx="306910" cy="306910"/>
            <a:chOff x="982662" y="1847850"/>
            <a:chExt cx="269875" cy="269875"/>
          </a:xfrm>
        </p:grpSpPr>
        <p:sp>
          <p:nvSpPr>
            <p:cNvPr id="35" name="Oval 50">
              <a:extLst>
                <a:ext uri="{FF2B5EF4-FFF2-40B4-BE49-F238E27FC236}">
                  <a16:creationId xmlns:a16="http://schemas.microsoft.com/office/drawing/2014/main" id="{2651D18D-6BC3-4991-9950-2DB77B71FA26}"/>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51">
              <a:extLst>
                <a:ext uri="{FF2B5EF4-FFF2-40B4-BE49-F238E27FC236}">
                  <a16:creationId xmlns:a16="http://schemas.microsoft.com/office/drawing/2014/main" id="{76112B59-08FC-47AD-AE6E-2FA88D34A46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7" name="Group 36">
            <a:extLst>
              <a:ext uri="{FF2B5EF4-FFF2-40B4-BE49-F238E27FC236}">
                <a16:creationId xmlns:a16="http://schemas.microsoft.com/office/drawing/2014/main" id="{30879F11-BB57-45EB-851E-F4A82D3C43A0}"/>
              </a:ext>
            </a:extLst>
          </p:cNvPr>
          <p:cNvGrpSpPr>
            <a:grpSpLocks noChangeAspect="1"/>
          </p:cNvGrpSpPr>
          <p:nvPr/>
        </p:nvGrpSpPr>
        <p:grpSpPr>
          <a:xfrm>
            <a:off x="407846" y="2982907"/>
            <a:ext cx="306910" cy="306910"/>
            <a:chOff x="982662" y="1847850"/>
            <a:chExt cx="269875" cy="269875"/>
          </a:xfrm>
        </p:grpSpPr>
        <p:sp>
          <p:nvSpPr>
            <p:cNvPr id="38" name="Oval 50">
              <a:extLst>
                <a:ext uri="{FF2B5EF4-FFF2-40B4-BE49-F238E27FC236}">
                  <a16:creationId xmlns:a16="http://schemas.microsoft.com/office/drawing/2014/main" id="{E70DF949-9872-4056-9C7D-C2FE2073D178}"/>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51">
              <a:extLst>
                <a:ext uri="{FF2B5EF4-FFF2-40B4-BE49-F238E27FC236}">
                  <a16:creationId xmlns:a16="http://schemas.microsoft.com/office/drawing/2014/main" id="{C8A35820-A890-45B2-BA72-1E46BB4074D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0" name="Group 39">
            <a:extLst>
              <a:ext uri="{FF2B5EF4-FFF2-40B4-BE49-F238E27FC236}">
                <a16:creationId xmlns:a16="http://schemas.microsoft.com/office/drawing/2014/main" id="{112CC7AB-2F0F-47B9-B1DB-974B7044A076}"/>
              </a:ext>
            </a:extLst>
          </p:cNvPr>
          <p:cNvGrpSpPr>
            <a:grpSpLocks noChangeAspect="1"/>
          </p:cNvGrpSpPr>
          <p:nvPr/>
        </p:nvGrpSpPr>
        <p:grpSpPr>
          <a:xfrm>
            <a:off x="407846" y="3657291"/>
            <a:ext cx="306910" cy="306910"/>
            <a:chOff x="982662" y="1847850"/>
            <a:chExt cx="269875" cy="269875"/>
          </a:xfrm>
        </p:grpSpPr>
        <p:sp>
          <p:nvSpPr>
            <p:cNvPr id="41" name="Oval 50">
              <a:extLst>
                <a:ext uri="{FF2B5EF4-FFF2-40B4-BE49-F238E27FC236}">
                  <a16:creationId xmlns:a16="http://schemas.microsoft.com/office/drawing/2014/main" id="{DA5AAEE2-4247-4078-B878-7FB00E3E66A5}"/>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51">
              <a:extLst>
                <a:ext uri="{FF2B5EF4-FFF2-40B4-BE49-F238E27FC236}">
                  <a16:creationId xmlns:a16="http://schemas.microsoft.com/office/drawing/2014/main" id="{3B77858D-9A33-4269-A2D0-BD7C151F6C0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3" name="Group 42">
            <a:extLst>
              <a:ext uri="{FF2B5EF4-FFF2-40B4-BE49-F238E27FC236}">
                <a16:creationId xmlns:a16="http://schemas.microsoft.com/office/drawing/2014/main" id="{640CA696-44BF-40AE-90CD-5B85CC147F18}"/>
              </a:ext>
            </a:extLst>
          </p:cNvPr>
          <p:cNvGrpSpPr>
            <a:grpSpLocks noChangeAspect="1"/>
          </p:cNvGrpSpPr>
          <p:nvPr/>
        </p:nvGrpSpPr>
        <p:grpSpPr>
          <a:xfrm>
            <a:off x="407846" y="4331673"/>
            <a:ext cx="306910" cy="306910"/>
            <a:chOff x="982662" y="1847850"/>
            <a:chExt cx="269875" cy="269875"/>
          </a:xfrm>
        </p:grpSpPr>
        <p:sp>
          <p:nvSpPr>
            <p:cNvPr id="44" name="Oval 50">
              <a:extLst>
                <a:ext uri="{FF2B5EF4-FFF2-40B4-BE49-F238E27FC236}">
                  <a16:creationId xmlns:a16="http://schemas.microsoft.com/office/drawing/2014/main" id="{F96777F9-873C-4F11-8F6A-863135C514F3}"/>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51">
              <a:extLst>
                <a:ext uri="{FF2B5EF4-FFF2-40B4-BE49-F238E27FC236}">
                  <a16:creationId xmlns:a16="http://schemas.microsoft.com/office/drawing/2014/main" id="{45E3DB94-0373-4724-8460-8012C01E672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1" name="Group 60">
            <a:extLst>
              <a:ext uri="{FF2B5EF4-FFF2-40B4-BE49-F238E27FC236}">
                <a16:creationId xmlns:a16="http://schemas.microsoft.com/office/drawing/2014/main" id="{389379B4-D33C-40D9-A491-94F90B2BC207}"/>
              </a:ext>
            </a:extLst>
          </p:cNvPr>
          <p:cNvGrpSpPr>
            <a:grpSpLocks noChangeAspect="1"/>
          </p:cNvGrpSpPr>
          <p:nvPr/>
        </p:nvGrpSpPr>
        <p:grpSpPr>
          <a:xfrm>
            <a:off x="407846" y="5006056"/>
            <a:ext cx="306910" cy="306910"/>
            <a:chOff x="982662" y="1847850"/>
            <a:chExt cx="269875" cy="269875"/>
          </a:xfrm>
        </p:grpSpPr>
        <p:sp>
          <p:nvSpPr>
            <p:cNvPr id="62" name="Oval 50">
              <a:extLst>
                <a:ext uri="{FF2B5EF4-FFF2-40B4-BE49-F238E27FC236}">
                  <a16:creationId xmlns:a16="http://schemas.microsoft.com/office/drawing/2014/main" id="{ACA25CA0-FEC4-4CDE-BCA5-93EB3E582426}"/>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 name="Freeform 51">
              <a:extLst>
                <a:ext uri="{FF2B5EF4-FFF2-40B4-BE49-F238E27FC236}">
                  <a16:creationId xmlns:a16="http://schemas.microsoft.com/office/drawing/2014/main" id="{1993CA3B-462E-44DF-BD8B-5C591657A39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6" name="Group 45">
            <a:extLst>
              <a:ext uri="{FF2B5EF4-FFF2-40B4-BE49-F238E27FC236}">
                <a16:creationId xmlns:a16="http://schemas.microsoft.com/office/drawing/2014/main" id="{EF8026F1-282C-4769-8535-4861DA7C1D39}"/>
              </a:ext>
            </a:extLst>
          </p:cNvPr>
          <p:cNvGrpSpPr>
            <a:grpSpLocks noChangeAspect="1"/>
          </p:cNvGrpSpPr>
          <p:nvPr/>
        </p:nvGrpSpPr>
        <p:grpSpPr>
          <a:xfrm>
            <a:off x="5977488" y="2308524"/>
            <a:ext cx="306910" cy="306910"/>
            <a:chOff x="982662" y="1847850"/>
            <a:chExt cx="269875" cy="269875"/>
          </a:xfrm>
        </p:grpSpPr>
        <p:sp>
          <p:nvSpPr>
            <p:cNvPr id="47" name="Oval 50">
              <a:extLst>
                <a:ext uri="{FF2B5EF4-FFF2-40B4-BE49-F238E27FC236}">
                  <a16:creationId xmlns:a16="http://schemas.microsoft.com/office/drawing/2014/main" id="{84CC3DDF-318E-4120-A5D0-B169CE6AD32D}"/>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a:extLst>
                <a:ext uri="{FF2B5EF4-FFF2-40B4-BE49-F238E27FC236}">
                  <a16:creationId xmlns:a16="http://schemas.microsoft.com/office/drawing/2014/main" id="{CA546A73-A2F9-489D-940F-15123321F74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a:extLst>
              <a:ext uri="{FF2B5EF4-FFF2-40B4-BE49-F238E27FC236}">
                <a16:creationId xmlns:a16="http://schemas.microsoft.com/office/drawing/2014/main" id="{50002183-06BD-4DA7-AC6A-5D24FAADB8AE}"/>
              </a:ext>
            </a:extLst>
          </p:cNvPr>
          <p:cNvGrpSpPr>
            <a:grpSpLocks noChangeAspect="1"/>
          </p:cNvGrpSpPr>
          <p:nvPr/>
        </p:nvGrpSpPr>
        <p:grpSpPr>
          <a:xfrm>
            <a:off x="5977488" y="2982907"/>
            <a:ext cx="306910" cy="306910"/>
            <a:chOff x="982662" y="1847850"/>
            <a:chExt cx="269875" cy="269875"/>
          </a:xfrm>
        </p:grpSpPr>
        <p:sp>
          <p:nvSpPr>
            <p:cNvPr id="50" name="Oval 50">
              <a:extLst>
                <a:ext uri="{FF2B5EF4-FFF2-40B4-BE49-F238E27FC236}">
                  <a16:creationId xmlns:a16="http://schemas.microsoft.com/office/drawing/2014/main" id="{5B715240-6B9E-4D1E-AA97-A288C04A0D6F}"/>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1" name="Freeform 51">
              <a:extLst>
                <a:ext uri="{FF2B5EF4-FFF2-40B4-BE49-F238E27FC236}">
                  <a16:creationId xmlns:a16="http://schemas.microsoft.com/office/drawing/2014/main" id="{44881833-86C9-4EE7-BFB8-448EE6A3F62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2" name="Group 51">
            <a:extLst>
              <a:ext uri="{FF2B5EF4-FFF2-40B4-BE49-F238E27FC236}">
                <a16:creationId xmlns:a16="http://schemas.microsoft.com/office/drawing/2014/main" id="{C4BD6644-61FD-46EA-AEBD-235459E1E158}"/>
              </a:ext>
            </a:extLst>
          </p:cNvPr>
          <p:cNvGrpSpPr>
            <a:grpSpLocks noChangeAspect="1"/>
          </p:cNvGrpSpPr>
          <p:nvPr/>
        </p:nvGrpSpPr>
        <p:grpSpPr>
          <a:xfrm>
            <a:off x="5977488" y="3657291"/>
            <a:ext cx="306910" cy="306910"/>
            <a:chOff x="982662" y="1847850"/>
            <a:chExt cx="269875" cy="269875"/>
          </a:xfrm>
        </p:grpSpPr>
        <p:sp>
          <p:nvSpPr>
            <p:cNvPr id="53" name="Oval 50">
              <a:extLst>
                <a:ext uri="{FF2B5EF4-FFF2-40B4-BE49-F238E27FC236}">
                  <a16:creationId xmlns:a16="http://schemas.microsoft.com/office/drawing/2014/main" id="{45B4802A-4205-4205-A84C-87366E4DBCA7}"/>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4" name="Freeform 51">
              <a:extLst>
                <a:ext uri="{FF2B5EF4-FFF2-40B4-BE49-F238E27FC236}">
                  <a16:creationId xmlns:a16="http://schemas.microsoft.com/office/drawing/2014/main" id="{9470B4B3-6F10-4116-9A5E-1E811CF280D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5" name="Group 54">
            <a:extLst>
              <a:ext uri="{FF2B5EF4-FFF2-40B4-BE49-F238E27FC236}">
                <a16:creationId xmlns:a16="http://schemas.microsoft.com/office/drawing/2014/main" id="{7AACF5FD-8A2C-473E-85EE-04140AADDAB4}"/>
              </a:ext>
            </a:extLst>
          </p:cNvPr>
          <p:cNvGrpSpPr>
            <a:grpSpLocks noChangeAspect="1"/>
          </p:cNvGrpSpPr>
          <p:nvPr/>
        </p:nvGrpSpPr>
        <p:grpSpPr>
          <a:xfrm>
            <a:off x="5977488" y="4331673"/>
            <a:ext cx="306910" cy="306910"/>
            <a:chOff x="982662" y="1847850"/>
            <a:chExt cx="269875" cy="269875"/>
          </a:xfrm>
        </p:grpSpPr>
        <p:sp>
          <p:nvSpPr>
            <p:cNvPr id="56" name="Oval 50">
              <a:extLst>
                <a:ext uri="{FF2B5EF4-FFF2-40B4-BE49-F238E27FC236}">
                  <a16:creationId xmlns:a16="http://schemas.microsoft.com/office/drawing/2014/main" id="{F5A14E9F-BF2E-45A2-A712-21B041F6B392}"/>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7" name="Freeform 51">
              <a:extLst>
                <a:ext uri="{FF2B5EF4-FFF2-40B4-BE49-F238E27FC236}">
                  <a16:creationId xmlns:a16="http://schemas.microsoft.com/office/drawing/2014/main" id="{E9A455F4-0ECB-4F07-BC60-B7DED51B2C9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8" name="Group 57">
            <a:extLst>
              <a:ext uri="{FF2B5EF4-FFF2-40B4-BE49-F238E27FC236}">
                <a16:creationId xmlns:a16="http://schemas.microsoft.com/office/drawing/2014/main" id="{6D256D52-0E73-43A4-8BED-F4646CD126B0}"/>
              </a:ext>
            </a:extLst>
          </p:cNvPr>
          <p:cNvGrpSpPr>
            <a:grpSpLocks noChangeAspect="1"/>
          </p:cNvGrpSpPr>
          <p:nvPr/>
        </p:nvGrpSpPr>
        <p:grpSpPr>
          <a:xfrm>
            <a:off x="5977488" y="5006056"/>
            <a:ext cx="306910" cy="306910"/>
            <a:chOff x="982662" y="1847850"/>
            <a:chExt cx="269875" cy="269875"/>
          </a:xfrm>
        </p:grpSpPr>
        <p:sp>
          <p:nvSpPr>
            <p:cNvPr id="59" name="Oval 50">
              <a:extLst>
                <a:ext uri="{FF2B5EF4-FFF2-40B4-BE49-F238E27FC236}">
                  <a16:creationId xmlns:a16="http://schemas.microsoft.com/office/drawing/2014/main" id="{09F8B6CB-688C-42A6-B366-09C7BF46904A}"/>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0" name="Freeform 51">
              <a:extLst>
                <a:ext uri="{FF2B5EF4-FFF2-40B4-BE49-F238E27FC236}">
                  <a16:creationId xmlns:a16="http://schemas.microsoft.com/office/drawing/2014/main" id="{7F8F36D7-77FB-43C5-ABCA-B9D03965909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64" name="Picture 63" descr="A blue sign with white text&#10;&#10;Description automatically generated with low confidence">
            <a:extLst>
              <a:ext uri="{FF2B5EF4-FFF2-40B4-BE49-F238E27FC236}">
                <a16:creationId xmlns:a16="http://schemas.microsoft.com/office/drawing/2014/main" id="{B3725404-1825-44A4-99FF-562E462D75E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1198183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E3ABB63-96D7-464E-A142-9AC81B01FE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473" imgH="476" progId="TCLayout.ActiveDocument.1">
                  <p:embed/>
                </p:oleObj>
              </mc:Choice>
              <mc:Fallback>
                <p:oleObj name="think-cell Slide" r:id="rId5" imgW="473" imgH="476" progId="TCLayout.ActiveDocument.1">
                  <p:embed/>
                  <p:pic>
                    <p:nvPicPr>
                      <p:cNvPr id="8" name="Object 7" hidden="1">
                        <a:extLst>
                          <a:ext uri="{FF2B5EF4-FFF2-40B4-BE49-F238E27FC236}">
                            <a16:creationId xmlns:a16="http://schemas.microsoft.com/office/drawing/2014/main" id="{5E3ABB63-96D7-464E-A142-9AC81B01F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00051" y="387882"/>
            <a:ext cx="10620374" cy="566735"/>
          </a:xfrm>
          <a:prstGeom prst="rect">
            <a:avLst/>
          </a:prstGeom>
        </p:spPr>
        <p:txBody>
          <a:bodyPr vert="horz">
            <a:normAutofit/>
          </a:bodyPr>
          <a:lstStyle/>
          <a:p>
            <a:r>
              <a:rPr lang="en-US" sz="2700" cap="none" dirty="0">
                <a:solidFill>
                  <a:srgbClr val="164484"/>
                </a:solidFill>
              </a:rPr>
              <a:t>Every stakeholder plays a role in the Digital Equity programs</a:t>
            </a:r>
          </a:p>
        </p:txBody>
      </p:sp>
      <p:sp>
        <p:nvSpPr>
          <p:cNvPr id="56" name="Freeform: Shape 55">
            <a:extLst>
              <a:ext uri="{FF2B5EF4-FFF2-40B4-BE49-F238E27FC236}">
                <a16:creationId xmlns:a16="http://schemas.microsoft.com/office/drawing/2014/main" id="{7FFC5A50-788D-4A97-8008-3556908A06D3}"/>
              </a:ext>
            </a:extLst>
          </p:cNvPr>
          <p:cNvSpPr/>
          <p:nvPr/>
        </p:nvSpPr>
        <p:spPr>
          <a:xfrm>
            <a:off x="1744246"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56">
            <a:extLst>
              <a:ext uri="{FF2B5EF4-FFF2-40B4-BE49-F238E27FC236}">
                <a16:creationId xmlns:a16="http://schemas.microsoft.com/office/drawing/2014/main" id="{18AADDCA-2E55-4288-8951-55D6737595D0}"/>
              </a:ext>
            </a:extLst>
          </p:cNvPr>
          <p:cNvSpPr/>
          <p:nvPr/>
        </p:nvSpPr>
        <p:spPr>
          <a:xfrm>
            <a:off x="3529684"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reeform: Shape 57">
            <a:extLst>
              <a:ext uri="{FF2B5EF4-FFF2-40B4-BE49-F238E27FC236}">
                <a16:creationId xmlns:a16="http://schemas.microsoft.com/office/drawing/2014/main" id="{99F334B0-84B1-4353-8A6C-985B15388BB4}"/>
              </a:ext>
            </a:extLst>
          </p:cNvPr>
          <p:cNvSpPr/>
          <p:nvPr/>
        </p:nvSpPr>
        <p:spPr>
          <a:xfrm>
            <a:off x="5315123"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Shape 59">
            <a:extLst>
              <a:ext uri="{FF2B5EF4-FFF2-40B4-BE49-F238E27FC236}">
                <a16:creationId xmlns:a16="http://schemas.microsoft.com/office/drawing/2014/main" id="{228DBAE5-746E-4613-826A-3DE0B80E0B24}"/>
              </a:ext>
            </a:extLst>
          </p:cNvPr>
          <p:cNvSpPr/>
          <p:nvPr/>
        </p:nvSpPr>
        <p:spPr>
          <a:xfrm>
            <a:off x="7100561"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eform: Shape 60">
            <a:extLst>
              <a:ext uri="{FF2B5EF4-FFF2-40B4-BE49-F238E27FC236}">
                <a16:creationId xmlns:a16="http://schemas.microsoft.com/office/drawing/2014/main" id="{8FB1020B-3FAB-44F1-9533-FF59098FFB51}"/>
              </a:ext>
            </a:extLst>
          </p:cNvPr>
          <p:cNvSpPr/>
          <p:nvPr/>
        </p:nvSpPr>
        <p:spPr>
          <a:xfrm>
            <a:off x="8885999"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25635219-B289-4A38-9D8F-F05DF9ADC13C}"/>
              </a:ext>
            </a:extLst>
          </p:cNvPr>
          <p:cNvSpPr txBox="1"/>
          <p:nvPr/>
        </p:nvSpPr>
        <p:spPr>
          <a:xfrm flipH="1">
            <a:off x="2435829" y="4897644"/>
            <a:ext cx="2236668" cy="1400383"/>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45795"/>
                </a:solidFill>
                <a:latin typeface="+mj-lt"/>
                <a:ea typeface="Open Sans" panose="020B0606030504020204" pitchFamily="34" charset="0"/>
                <a:cs typeface="Frutiger LT Arabic 45 Light" panose="01000000000000000000" pitchFamily="2" charset="-78"/>
              </a:rPr>
              <a:t>Tribal government</a:t>
            </a:r>
          </a:p>
          <a:p>
            <a:pPr marL="226800" lvl="1" indent="-1512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Submit a letter of intent to participate in the Planning Grant Program</a:t>
            </a:r>
          </a:p>
          <a:p>
            <a:pPr marL="226800" lvl="1" indent="-1512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ordinate with relevant State(s) to develop state-wide Plans</a:t>
            </a:r>
          </a:p>
        </p:txBody>
      </p:sp>
      <p:sp>
        <p:nvSpPr>
          <p:cNvPr id="63" name="TextBox 62">
            <a:extLst>
              <a:ext uri="{FF2B5EF4-FFF2-40B4-BE49-F238E27FC236}">
                <a16:creationId xmlns:a16="http://schemas.microsoft.com/office/drawing/2014/main" id="{AB1AA9AD-B6B4-41C2-A319-27833E9A9E2F}"/>
              </a:ext>
            </a:extLst>
          </p:cNvPr>
          <p:cNvSpPr txBox="1"/>
          <p:nvPr/>
        </p:nvSpPr>
        <p:spPr>
          <a:xfrm flipH="1">
            <a:off x="6021839" y="4897644"/>
            <a:ext cx="2259621" cy="1031051"/>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3EAD92"/>
                </a:solidFill>
                <a:latin typeface="+mj-lt"/>
                <a:ea typeface="Open Sans" panose="020B0606030504020204" pitchFamily="34" charset="0"/>
                <a:cs typeface="Frutiger LT Arabic 45 Light" panose="01000000000000000000" pitchFamily="2" charset="-78"/>
              </a:rPr>
              <a:t>Local governmen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llaborate with States, other territories, and Tribal / Native to develop State Digital Equity Plans</a:t>
            </a:r>
          </a:p>
        </p:txBody>
      </p:sp>
      <p:sp>
        <p:nvSpPr>
          <p:cNvPr id="64" name="TextBox 63">
            <a:extLst>
              <a:ext uri="{FF2B5EF4-FFF2-40B4-BE49-F238E27FC236}">
                <a16:creationId xmlns:a16="http://schemas.microsoft.com/office/drawing/2014/main" id="{6DD55E60-8C5F-4871-BB06-36D7ADE298F8}"/>
              </a:ext>
            </a:extLst>
          </p:cNvPr>
          <p:cNvSpPr txBox="1"/>
          <p:nvPr/>
        </p:nvSpPr>
        <p:spPr>
          <a:xfrm flipH="1">
            <a:off x="513106" y="1749615"/>
            <a:ext cx="2259621" cy="1169551"/>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A3161"/>
                </a:solidFill>
                <a:latin typeface="+mj-lt"/>
                <a:ea typeface="Open Sans" panose="020B0606030504020204" pitchFamily="34" charset="0"/>
                <a:cs typeface="Frutiger LT Arabic 45 Light" panose="01000000000000000000" pitchFamily="2" charset="-78"/>
              </a:rPr>
              <a:t>Telecom provider</a:t>
            </a:r>
          </a:p>
          <a:p>
            <a:pPr marL="226800" lvl="1" indent="-1512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Provide States, other territories, and Tribal / Native entities with background data on their baseline and digital equity needs</a:t>
            </a:r>
          </a:p>
        </p:txBody>
      </p:sp>
      <p:sp>
        <p:nvSpPr>
          <p:cNvPr id="65" name="TextBox 64">
            <a:extLst>
              <a:ext uri="{FF2B5EF4-FFF2-40B4-BE49-F238E27FC236}">
                <a16:creationId xmlns:a16="http://schemas.microsoft.com/office/drawing/2014/main" id="{2296D0EE-5A64-4E36-B3AD-CC31A179CCBF}"/>
              </a:ext>
            </a:extLst>
          </p:cNvPr>
          <p:cNvSpPr txBox="1"/>
          <p:nvPr/>
        </p:nvSpPr>
        <p:spPr>
          <a:xfrm flipH="1">
            <a:off x="4151121" y="1318728"/>
            <a:ext cx="2259621" cy="1600438"/>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F243E"/>
                </a:solidFill>
                <a:latin typeface="+mj-lt"/>
                <a:ea typeface="Open Sans" panose="020B0606030504020204" pitchFamily="34" charset="0"/>
                <a:cs typeface="Frutiger LT Arabic 45 Light" panose="01000000000000000000" pitchFamily="2" charset="-78"/>
              </a:rPr>
              <a:t>Community anchor institution</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Partner with States, other territories, and Tribal / Native entities to develop State Digital Equity Plan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nd needs</a:t>
            </a:r>
          </a:p>
        </p:txBody>
      </p:sp>
      <p:sp>
        <p:nvSpPr>
          <p:cNvPr id="66" name="TextBox 65">
            <a:extLst>
              <a:ext uri="{FF2B5EF4-FFF2-40B4-BE49-F238E27FC236}">
                <a16:creationId xmlns:a16="http://schemas.microsoft.com/office/drawing/2014/main" id="{AD39A192-4E3E-479D-A02B-B397A19EFD39}"/>
              </a:ext>
            </a:extLst>
          </p:cNvPr>
          <p:cNvSpPr txBox="1"/>
          <p:nvPr/>
        </p:nvSpPr>
        <p:spPr>
          <a:xfrm flipH="1">
            <a:off x="7637611" y="1564949"/>
            <a:ext cx="2259621" cy="1354217"/>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30C1D7"/>
                </a:solidFill>
                <a:latin typeface="+mj-lt"/>
                <a:ea typeface="Open Sans" panose="020B0606030504020204" pitchFamily="34" charset="0"/>
                <a:cs typeface="Frutiger LT Arabic 45 Light" panose="01000000000000000000" pitchFamily="2" charset="-78"/>
              </a:rPr>
              <a:t>Community org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Serve as a thought partner as States, other territories, and Tribal / Native entities design their outreach strategie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nd needs</a:t>
            </a:r>
          </a:p>
        </p:txBody>
      </p:sp>
      <p:sp>
        <p:nvSpPr>
          <p:cNvPr id="67" name="TextBox 66">
            <a:extLst>
              <a:ext uri="{FF2B5EF4-FFF2-40B4-BE49-F238E27FC236}">
                <a16:creationId xmlns:a16="http://schemas.microsoft.com/office/drawing/2014/main" id="{E16E356E-5823-4923-8434-DCC0E7D61B1F}"/>
              </a:ext>
            </a:extLst>
          </p:cNvPr>
          <p:cNvSpPr txBox="1"/>
          <p:nvPr/>
        </p:nvSpPr>
        <p:spPr>
          <a:xfrm flipH="1">
            <a:off x="9615229" y="4897644"/>
            <a:ext cx="2144884" cy="846386"/>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95E7E"/>
                </a:solidFill>
                <a:latin typeface="+mj-lt"/>
                <a:ea typeface="Open Sans" panose="020B0606030504020204" pitchFamily="34" charset="0"/>
                <a:cs typeface="Frutiger LT Arabic 45 Light" panose="01000000000000000000" pitchFamily="2" charset="-78"/>
              </a:rPr>
              <a:t>Individual</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Participate in the planning process of your local jurisdiction</a:t>
            </a:r>
          </a:p>
        </p:txBody>
      </p:sp>
      <p:sp>
        <p:nvSpPr>
          <p:cNvPr id="68" name="AutoShape 3">
            <a:extLst>
              <a:ext uri="{FF2B5EF4-FFF2-40B4-BE49-F238E27FC236}">
                <a16:creationId xmlns:a16="http://schemas.microsoft.com/office/drawing/2014/main" id="{DDE608F3-F6C3-43F1-BB55-6A474F19B08B}"/>
              </a:ext>
            </a:extLst>
          </p:cNvPr>
          <p:cNvSpPr>
            <a:spLocks noChangeAspect="1" noChangeArrowheads="1" noTextEdit="1"/>
          </p:cNvSpPr>
          <p:nvPr/>
        </p:nvSpPr>
        <p:spPr bwMode="auto">
          <a:xfrm>
            <a:off x="5326227" y="2691460"/>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9" name="Group 68">
            <a:extLst>
              <a:ext uri="{FF2B5EF4-FFF2-40B4-BE49-F238E27FC236}">
                <a16:creationId xmlns:a16="http://schemas.microsoft.com/office/drawing/2014/main" id="{9E068907-BED5-4A1B-BE69-C9E65CD6BCB4}"/>
              </a:ext>
            </a:extLst>
          </p:cNvPr>
          <p:cNvGrpSpPr/>
          <p:nvPr/>
        </p:nvGrpSpPr>
        <p:grpSpPr>
          <a:xfrm>
            <a:off x="976165" y="4083751"/>
            <a:ext cx="1417584" cy="1417584"/>
            <a:chOff x="13026276" y="5474047"/>
            <a:chExt cx="1417584" cy="1417584"/>
          </a:xfrm>
        </p:grpSpPr>
        <p:sp>
          <p:nvSpPr>
            <p:cNvPr id="70" name="Oval 69">
              <a:extLst>
                <a:ext uri="{FF2B5EF4-FFF2-40B4-BE49-F238E27FC236}">
                  <a16:creationId xmlns:a16="http://schemas.microsoft.com/office/drawing/2014/main" id="{450B4701-5636-4729-9B89-3BAD91E5B89C}"/>
                </a:ext>
              </a:extLst>
            </p:cNvPr>
            <p:cNvSpPr/>
            <p:nvPr/>
          </p:nvSpPr>
          <p:spPr>
            <a:xfrm>
              <a:off x="13026276" y="5474047"/>
              <a:ext cx="1417584" cy="14175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1" name="Group 14">
              <a:extLst>
                <a:ext uri="{FF2B5EF4-FFF2-40B4-BE49-F238E27FC236}">
                  <a16:creationId xmlns:a16="http://schemas.microsoft.com/office/drawing/2014/main" id="{73E84F51-BAA9-454A-8C8C-83007836AA66}"/>
                </a:ext>
              </a:extLst>
            </p:cNvPr>
            <p:cNvGrpSpPr>
              <a:grpSpLocks noChangeAspect="1"/>
            </p:cNvGrpSpPr>
            <p:nvPr/>
          </p:nvGrpSpPr>
          <p:grpSpPr bwMode="auto">
            <a:xfrm>
              <a:off x="13264412" y="5712182"/>
              <a:ext cx="941313" cy="941313"/>
              <a:chOff x="1158" y="972"/>
              <a:chExt cx="288" cy="288"/>
            </a:xfrm>
          </p:grpSpPr>
          <p:sp>
            <p:nvSpPr>
              <p:cNvPr id="72" name="AutoShape 13">
                <a:extLst>
                  <a:ext uri="{FF2B5EF4-FFF2-40B4-BE49-F238E27FC236}">
                    <a16:creationId xmlns:a16="http://schemas.microsoft.com/office/drawing/2014/main" id="{3930280D-3BE3-4934-81DF-A15BF3F8A695}"/>
                  </a:ext>
                </a:extLst>
              </p:cNvPr>
              <p:cNvSpPr>
                <a:spLocks noChangeAspect="1" noChangeArrowheads="1" noTextEdit="1"/>
              </p:cNvSpPr>
              <p:nvPr/>
            </p:nvSpPr>
            <p:spPr bwMode="auto">
              <a:xfrm>
                <a:off x="1158"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5">
                <a:extLst>
                  <a:ext uri="{FF2B5EF4-FFF2-40B4-BE49-F238E27FC236}">
                    <a16:creationId xmlns:a16="http://schemas.microsoft.com/office/drawing/2014/main" id="{F576CE3D-BB98-432B-9E59-3507170AC533}"/>
                  </a:ext>
                </a:extLst>
              </p:cNvPr>
              <p:cNvSpPr>
                <a:spLocks noEditPoints="1"/>
              </p:cNvSpPr>
              <p:nvPr/>
            </p:nvSpPr>
            <p:spPr bwMode="auto">
              <a:xfrm>
                <a:off x="1175" y="989"/>
                <a:ext cx="249" cy="254"/>
              </a:xfrm>
              <a:custGeom>
                <a:avLst/>
                <a:gdLst>
                  <a:gd name="T0" fmla="*/ 474 w 861"/>
                  <a:gd name="T1" fmla="*/ 189 h 880"/>
                  <a:gd name="T2" fmla="*/ 486 w 861"/>
                  <a:gd name="T3" fmla="*/ 252 h 880"/>
                  <a:gd name="T4" fmla="*/ 527 w 861"/>
                  <a:gd name="T5" fmla="*/ 263 h 880"/>
                  <a:gd name="T6" fmla="*/ 328 w 861"/>
                  <a:gd name="T7" fmla="*/ 193 h 880"/>
                  <a:gd name="T8" fmla="*/ 385 w 861"/>
                  <a:gd name="T9" fmla="*/ 267 h 880"/>
                  <a:gd name="T10" fmla="*/ 373 w 861"/>
                  <a:gd name="T11" fmla="*/ 193 h 880"/>
                  <a:gd name="T12" fmla="*/ 491 w 861"/>
                  <a:gd name="T13" fmla="*/ 235 h 880"/>
                  <a:gd name="T14" fmla="*/ 339 w 861"/>
                  <a:gd name="T15" fmla="*/ 319 h 880"/>
                  <a:gd name="T16" fmla="*/ 440 w 861"/>
                  <a:gd name="T17" fmla="*/ 47 h 880"/>
                  <a:gd name="T18" fmla="*/ 539 w 861"/>
                  <a:gd name="T19" fmla="*/ 320 h 880"/>
                  <a:gd name="T20" fmla="*/ 580 w 861"/>
                  <a:gd name="T21" fmla="*/ 336 h 880"/>
                  <a:gd name="T22" fmla="*/ 242 w 861"/>
                  <a:gd name="T23" fmla="*/ 197 h 880"/>
                  <a:gd name="T24" fmla="*/ 676 w 861"/>
                  <a:gd name="T25" fmla="*/ 855 h 880"/>
                  <a:gd name="T26" fmla="*/ 460 w 861"/>
                  <a:gd name="T27" fmla="*/ 260 h 880"/>
                  <a:gd name="T28" fmla="*/ 435 w 861"/>
                  <a:gd name="T29" fmla="*/ 265 h 880"/>
                  <a:gd name="T30" fmla="*/ 407 w 861"/>
                  <a:gd name="T31" fmla="*/ 266 h 880"/>
                  <a:gd name="T32" fmla="*/ 221 w 861"/>
                  <a:gd name="T33" fmla="*/ 880 h 880"/>
                  <a:gd name="T34" fmla="*/ 602 w 861"/>
                  <a:gd name="T35" fmla="*/ 753 h 880"/>
                  <a:gd name="T36" fmla="*/ 665 w 861"/>
                  <a:gd name="T37" fmla="*/ 879 h 880"/>
                  <a:gd name="T38" fmla="*/ 538 w 861"/>
                  <a:gd name="T39" fmla="*/ 569 h 880"/>
                  <a:gd name="T40" fmla="*/ 538 w 861"/>
                  <a:gd name="T41" fmla="*/ 569 h 880"/>
                  <a:gd name="T42" fmla="*/ 499 w 861"/>
                  <a:gd name="T43" fmla="*/ 589 h 880"/>
                  <a:gd name="T44" fmla="*/ 440 w 861"/>
                  <a:gd name="T45" fmla="*/ 641 h 880"/>
                  <a:gd name="T46" fmla="*/ 421 w 861"/>
                  <a:gd name="T47" fmla="*/ 500 h 880"/>
                  <a:gd name="T48" fmla="*/ 421 w 861"/>
                  <a:gd name="T49" fmla="*/ 500 h 880"/>
                  <a:gd name="T50" fmla="*/ 423 w 861"/>
                  <a:gd name="T51" fmla="*/ 335 h 880"/>
                  <a:gd name="T52" fmla="*/ 470 w 861"/>
                  <a:gd name="T53" fmla="*/ 373 h 880"/>
                  <a:gd name="T54" fmla="*/ 410 w 861"/>
                  <a:gd name="T55" fmla="*/ 373 h 880"/>
                  <a:gd name="T56" fmla="*/ 342 w 861"/>
                  <a:gd name="T57" fmla="*/ 569 h 880"/>
                  <a:gd name="T58" fmla="*/ 391 w 861"/>
                  <a:gd name="T59" fmla="*/ 661 h 880"/>
                  <a:gd name="T60" fmla="*/ 358 w 861"/>
                  <a:gd name="T61" fmla="*/ 716 h 880"/>
                  <a:gd name="T62" fmla="*/ 358 w 861"/>
                  <a:gd name="T63" fmla="*/ 716 h 880"/>
                  <a:gd name="T64" fmla="*/ 583 w 861"/>
                  <a:gd name="T65" fmla="*/ 701 h 880"/>
                  <a:gd name="T66" fmla="*/ 220 w 861"/>
                  <a:gd name="T67" fmla="*/ 650 h 880"/>
                  <a:gd name="T68" fmla="*/ 35 w 861"/>
                  <a:gd name="T69" fmla="*/ 635 h 880"/>
                  <a:gd name="T70" fmla="*/ 35 w 861"/>
                  <a:gd name="T71" fmla="*/ 418 h 880"/>
                  <a:gd name="T72" fmla="*/ 11 w 861"/>
                  <a:gd name="T73" fmla="*/ 387 h 880"/>
                  <a:gd name="T74" fmla="*/ 11 w 861"/>
                  <a:gd name="T75" fmla="*/ 706 h 880"/>
                  <a:gd name="T76" fmla="*/ 138 w 861"/>
                  <a:gd name="T77" fmla="*/ 749 h 880"/>
                  <a:gd name="T78" fmla="*/ 186 w 861"/>
                  <a:gd name="T79" fmla="*/ 771 h 880"/>
                  <a:gd name="T80" fmla="*/ 850 w 861"/>
                  <a:gd name="T81" fmla="*/ 357 h 880"/>
                  <a:gd name="T82" fmla="*/ 617 w 861"/>
                  <a:gd name="T83" fmla="*/ 549 h 880"/>
                  <a:gd name="T84" fmla="*/ 654 w 861"/>
                  <a:gd name="T85" fmla="*/ 388 h 880"/>
                  <a:gd name="T86" fmla="*/ 832 w 861"/>
                  <a:gd name="T87" fmla="*/ 685 h 880"/>
                  <a:gd name="T88" fmla="*/ 703 w 861"/>
                  <a:gd name="T89" fmla="*/ 798 h 880"/>
                  <a:gd name="T90" fmla="*/ 861 w 861"/>
                  <a:gd name="T91" fmla="*/ 368 h 880"/>
                  <a:gd name="T92" fmla="*/ 717 w 861"/>
                  <a:gd name="T93" fmla="*/ 744 h 880"/>
                  <a:gd name="T94" fmla="*/ 739 w 861"/>
                  <a:gd name="T95" fmla="*/ 7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880">
                    <a:moveTo>
                      <a:pt x="406" y="189"/>
                    </a:moveTo>
                    <a:cubicBezTo>
                      <a:pt x="406" y="208"/>
                      <a:pt x="421" y="223"/>
                      <a:pt x="440" y="223"/>
                    </a:cubicBezTo>
                    <a:cubicBezTo>
                      <a:pt x="458" y="223"/>
                      <a:pt x="474" y="208"/>
                      <a:pt x="474" y="189"/>
                    </a:cubicBezTo>
                    <a:cubicBezTo>
                      <a:pt x="474" y="170"/>
                      <a:pt x="458" y="154"/>
                      <a:pt x="440" y="154"/>
                    </a:cubicBezTo>
                    <a:cubicBezTo>
                      <a:pt x="421" y="154"/>
                      <a:pt x="406" y="170"/>
                      <a:pt x="406" y="189"/>
                    </a:cubicBezTo>
                    <a:close/>
                    <a:moveTo>
                      <a:pt x="486" y="252"/>
                    </a:moveTo>
                    <a:cubicBezTo>
                      <a:pt x="487" y="258"/>
                      <a:pt x="490" y="263"/>
                      <a:pt x="494" y="267"/>
                    </a:cubicBezTo>
                    <a:cubicBezTo>
                      <a:pt x="498" y="270"/>
                      <a:pt x="503" y="272"/>
                      <a:pt x="509" y="272"/>
                    </a:cubicBezTo>
                    <a:cubicBezTo>
                      <a:pt x="516" y="272"/>
                      <a:pt x="523" y="269"/>
                      <a:pt x="527" y="263"/>
                    </a:cubicBezTo>
                    <a:cubicBezTo>
                      <a:pt x="542" y="244"/>
                      <a:pt x="551" y="219"/>
                      <a:pt x="551" y="193"/>
                    </a:cubicBezTo>
                    <a:cubicBezTo>
                      <a:pt x="551" y="130"/>
                      <a:pt x="501" y="79"/>
                      <a:pt x="440" y="79"/>
                    </a:cubicBezTo>
                    <a:cubicBezTo>
                      <a:pt x="378" y="79"/>
                      <a:pt x="328" y="130"/>
                      <a:pt x="328" y="193"/>
                    </a:cubicBezTo>
                    <a:cubicBezTo>
                      <a:pt x="328" y="219"/>
                      <a:pt x="337" y="244"/>
                      <a:pt x="353" y="264"/>
                    </a:cubicBezTo>
                    <a:cubicBezTo>
                      <a:pt x="357" y="269"/>
                      <a:pt x="364" y="272"/>
                      <a:pt x="370" y="272"/>
                    </a:cubicBezTo>
                    <a:cubicBezTo>
                      <a:pt x="375" y="272"/>
                      <a:pt x="380" y="270"/>
                      <a:pt x="385" y="267"/>
                    </a:cubicBezTo>
                    <a:cubicBezTo>
                      <a:pt x="389" y="263"/>
                      <a:pt x="392" y="258"/>
                      <a:pt x="393" y="252"/>
                    </a:cubicBezTo>
                    <a:cubicBezTo>
                      <a:pt x="394" y="246"/>
                      <a:pt x="392" y="240"/>
                      <a:pt x="388" y="235"/>
                    </a:cubicBezTo>
                    <a:cubicBezTo>
                      <a:pt x="378" y="223"/>
                      <a:pt x="373" y="208"/>
                      <a:pt x="373" y="193"/>
                    </a:cubicBezTo>
                    <a:cubicBezTo>
                      <a:pt x="373" y="155"/>
                      <a:pt x="403" y="125"/>
                      <a:pt x="440" y="125"/>
                    </a:cubicBezTo>
                    <a:cubicBezTo>
                      <a:pt x="476" y="125"/>
                      <a:pt x="506" y="155"/>
                      <a:pt x="506" y="193"/>
                    </a:cubicBezTo>
                    <a:cubicBezTo>
                      <a:pt x="506" y="208"/>
                      <a:pt x="501" y="223"/>
                      <a:pt x="491" y="235"/>
                    </a:cubicBezTo>
                    <a:cubicBezTo>
                      <a:pt x="487" y="240"/>
                      <a:pt x="485" y="246"/>
                      <a:pt x="486" y="252"/>
                    </a:cubicBezTo>
                    <a:close/>
                    <a:moveTo>
                      <a:pt x="332" y="335"/>
                    </a:moveTo>
                    <a:cubicBezTo>
                      <a:pt x="336" y="331"/>
                      <a:pt x="339" y="325"/>
                      <a:pt x="339" y="319"/>
                    </a:cubicBezTo>
                    <a:cubicBezTo>
                      <a:pt x="339" y="312"/>
                      <a:pt x="336" y="306"/>
                      <a:pt x="332" y="302"/>
                    </a:cubicBezTo>
                    <a:cubicBezTo>
                      <a:pt x="304" y="274"/>
                      <a:pt x="289" y="237"/>
                      <a:pt x="289" y="197"/>
                    </a:cubicBezTo>
                    <a:cubicBezTo>
                      <a:pt x="289" y="114"/>
                      <a:pt x="357" y="47"/>
                      <a:pt x="440" y="47"/>
                    </a:cubicBezTo>
                    <a:cubicBezTo>
                      <a:pt x="523" y="47"/>
                      <a:pt x="590" y="114"/>
                      <a:pt x="590" y="197"/>
                    </a:cubicBezTo>
                    <a:cubicBezTo>
                      <a:pt x="590" y="237"/>
                      <a:pt x="575" y="275"/>
                      <a:pt x="546" y="303"/>
                    </a:cubicBezTo>
                    <a:cubicBezTo>
                      <a:pt x="542" y="308"/>
                      <a:pt x="539" y="314"/>
                      <a:pt x="539" y="320"/>
                    </a:cubicBezTo>
                    <a:cubicBezTo>
                      <a:pt x="539" y="326"/>
                      <a:pt x="542" y="332"/>
                      <a:pt x="546" y="336"/>
                    </a:cubicBezTo>
                    <a:cubicBezTo>
                      <a:pt x="550" y="340"/>
                      <a:pt x="556" y="343"/>
                      <a:pt x="562" y="343"/>
                    </a:cubicBezTo>
                    <a:cubicBezTo>
                      <a:pt x="569" y="343"/>
                      <a:pt x="575" y="340"/>
                      <a:pt x="580" y="336"/>
                    </a:cubicBezTo>
                    <a:cubicBezTo>
                      <a:pt x="617" y="299"/>
                      <a:pt x="637" y="250"/>
                      <a:pt x="637" y="197"/>
                    </a:cubicBezTo>
                    <a:cubicBezTo>
                      <a:pt x="637" y="88"/>
                      <a:pt x="548" y="0"/>
                      <a:pt x="440" y="0"/>
                    </a:cubicBezTo>
                    <a:cubicBezTo>
                      <a:pt x="331" y="0"/>
                      <a:pt x="242" y="88"/>
                      <a:pt x="242" y="197"/>
                    </a:cubicBezTo>
                    <a:cubicBezTo>
                      <a:pt x="242" y="249"/>
                      <a:pt x="262" y="298"/>
                      <a:pt x="299" y="335"/>
                    </a:cubicBezTo>
                    <a:cubicBezTo>
                      <a:pt x="308" y="344"/>
                      <a:pt x="323" y="344"/>
                      <a:pt x="332" y="335"/>
                    </a:cubicBezTo>
                    <a:close/>
                    <a:moveTo>
                      <a:pt x="676" y="855"/>
                    </a:moveTo>
                    <a:cubicBezTo>
                      <a:pt x="473" y="266"/>
                      <a:pt x="473" y="266"/>
                      <a:pt x="473" y="266"/>
                    </a:cubicBezTo>
                    <a:cubicBezTo>
                      <a:pt x="472" y="263"/>
                      <a:pt x="470" y="261"/>
                      <a:pt x="468" y="260"/>
                    </a:cubicBezTo>
                    <a:cubicBezTo>
                      <a:pt x="465" y="259"/>
                      <a:pt x="462" y="259"/>
                      <a:pt x="460" y="260"/>
                    </a:cubicBezTo>
                    <a:cubicBezTo>
                      <a:pt x="455" y="263"/>
                      <a:pt x="450" y="264"/>
                      <a:pt x="445" y="265"/>
                    </a:cubicBezTo>
                    <a:cubicBezTo>
                      <a:pt x="443" y="265"/>
                      <a:pt x="441" y="266"/>
                      <a:pt x="440" y="268"/>
                    </a:cubicBezTo>
                    <a:cubicBezTo>
                      <a:pt x="439" y="266"/>
                      <a:pt x="437" y="265"/>
                      <a:pt x="435" y="265"/>
                    </a:cubicBezTo>
                    <a:cubicBezTo>
                      <a:pt x="430" y="264"/>
                      <a:pt x="425" y="263"/>
                      <a:pt x="420" y="260"/>
                    </a:cubicBezTo>
                    <a:cubicBezTo>
                      <a:pt x="418" y="259"/>
                      <a:pt x="415" y="259"/>
                      <a:pt x="412" y="260"/>
                    </a:cubicBezTo>
                    <a:cubicBezTo>
                      <a:pt x="410" y="261"/>
                      <a:pt x="408" y="263"/>
                      <a:pt x="407" y="266"/>
                    </a:cubicBezTo>
                    <a:cubicBezTo>
                      <a:pt x="204" y="855"/>
                      <a:pt x="204" y="855"/>
                      <a:pt x="204" y="855"/>
                    </a:cubicBezTo>
                    <a:cubicBezTo>
                      <a:pt x="200" y="865"/>
                      <a:pt x="206" y="876"/>
                      <a:pt x="215" y="879"/>
                    </a:cubicBezTo>
                    <a:cubicBezTo>
                      <a:pt x="217" y="880"/>
                      <a:pt x="219" y="880"/>
                      <a:pt x="221" y="880"/>
                    </a:cubicBezTo>
                    <a:cubicBezTo>
                      <a:pt x="229" y="880"/>
                      <a:pt x="237" y="875"/>
                      <a:pt x="239" y="867"/>
                    </a:cubicBezTo>
                    <a:cubicBezTo>
                      <a:pt x="278" y="753"/>
                      <a:pt x="278" y="753"/>
                      <a:pt x="278" y="753"/>
                    </a:cubicBezTo>
                    <a:cubicBezTo>
                      <a:pt x="602" y="753"/>
                      <a:pt x="602" y="753"/>
                      <a:pt x="602" y="753"/>
                    </a:cubicBezTo>
                    <a:cubicBezTo>
                      <a:pt x="641" y="867"/>
                      <a:pt x="641" y="867"/>
                      <a:pt x="641" y="867"/>
                    </a:cubicBezTo>
                    <a:cubicBezTo>
                      <a:pt x="643" y="875"/>
                      <a:pt x="650" y="880"/>
                      <a:pt x="659" y="880"/>
                    </a:cubicBezTo>
                    <a:cubicBezTo>
                      <a:pt x="660" y="880"/>
                      <a:pt x="662" y="880"/>
                      <a:pt x="665" y="879"/>
                    </a:cubicBezTo>
                    <a:cubicBezTo>
                      <a:pt x="675" y="875"/>
                      <a:pt x="680" y="865"/>
                      <a:pt x="676" y="855"/>
                    </a:cubicBezTo>
                    <a:cubicBezTo>
                      <a:pt x="676" y="855"/>
                      <a:pt x="676" y="855"/>
                      <a:pt x="676" y="855"/>
                    </a:cubicBezTo>
                    <a:close/>
                    <a:moveTo>
                      <a:pt x="538" y="569"/>
                    </a:moveTo>
                    <a:cubicBezTo>
                      <a:pt x="477" y="533"/>
                      <a:pt x="477" y="533"/>
                      <a:pt x="477" y="533"/>
                    </a:cubicBezTo>
                    <a:cubicBezTo>
                      <a:pt x="517" y="509"/>
                      <a:pt x="517" y="509"/>
                      <a:pt x="517" y="509"/>
                    </a:cubicBezTo>
                    <a:lnTo>
                      <a:pt x="538" y="569"/>
                    </a:lnTo>
                    <a:close/>
                    <a:moveTo>
                      <a:pt x="381" y="589"/>
                    </a:moveTo>
                    <a:cubicBezTo>
                      <a:pt x="440" y="554"/>
                      <a:pt x="440" y="554"/>
                      <a:pt x="440" y="554"/>
                    </a:cubicBezTo>
                    <a:cubicBezTo>
                      <a:pt x="499" y="589"/>
                      <a:pt x="499" y="589"/>
                      <a:pt x="499" y="589"/>
                    </a:cubicBezTo>
                    <a:lnTo>
                      <a:pt x="381" y="589"/>
                    </a:lnTo>
                    <a:close/>
                    <a:moveTo>
                      <a:pt x="474" y="626"/>
                    </a:moveTo>
                    <a:cubicBezTo>
                      <a:pt x="440" y="641"/>
                      <a:pt x="440" y="641"/>
                      <a:pt x="440" y="641"/>
                    </a:cubicBezTo>
                    <a:cubicBezTo>
                      <a:pt x="406" y="626"/>
                      <a:pt x="406" y="626"/>
                      <a:pt x="406" y="626"/>
                    </a:cubicBezTo>
                    <a:lnTo>
                      <a:pt x="474" y="626"/>
                    </a:lnTo>
                    <a:close/>
                    <a:moveTo>
                      <a:pt x="421" y="500"/>
                    </a:moveTo>
                    <a:cubicBezTo>
                      <a:pt x="459" y="500"/>
                      <a:pt x="459" y="500"/>
                      <a:pt x="459" y="500"/>
                    </a:cubicBezTo>
                    <a:cubicBezTo>
                      <a:pt x="440" y="511"/>
                      <a:pt x="440" y="511"/>
                      <a:pt x="440" y="511"/>
                    </a:cubicBezTo>
                    <a:lnTo>
                      <a:pt x="421" y="500"/>
                    </a:lnTo>
                    <a:close/>
                    <a:moveTo>
                      <a:pt x="440" y="285"/>
                    </a:moveTo>
                    <a:cubicBezTo>
                      <a:pt x="457" y="335"/>
                      <a:pt x="457" y="335"/>
                      <a:pt x="457" y="335"/>
                    </a:cubicBezTo>
                    <a:cubicBezTo>
                      <a:pt x="423" y="335"/>
                      <a:pt x="423" y="335"/>
                      <a:pt x="423" y="335"/>
                    </a:cubicBezTo>
                    <a:lnTo>
                      <a:pt x="440" y="285"/>
                    </a:lnTo>
                    <a:close/>
                    <a:moveTo>
                      <a:pt x="410" y="373"/>
                    </a:moveTo>
                    <a:cubicBezTo>
                      <a:pt x="470" y="373"/>
                      <a:pt x="470" y="373"/>
                      <a:pt x="470" y="373"/>
                    </a:cubicBezTo>
                    <a:cubicBezTo>
                      <a:pt x="501" y="462"/>
                      <a:pt x="501" y="462"/>
                      <a:pt x="501" y="462"/>
                    </a:cubicBezTo>
                    <a:cubicBezTo>
                      <a:pt x="379" y="462"/>
                      <a:pt x="379" y="462"/>
                      <a:pt x="379" y="462"/>
                    </a:cubicBezTo>
                    <a:lnTo>
                      <a:pt x="410" y="373"/>
                    </a:lnTo>
                    <a:close/>
                    <a:moveTo>
                      <a:pt x="363" y="509"/>
                    </a:moveTo>
                    <a:cubicBezTo>
                      <a:pt x="403" y="533"/>
                      <a:pt x="403" y="533"/>
                      <a:pt x="403" y="533"/>
                    </a:cubicBezTo>
                    <a:cubicBezTo>
                      <a:pt x="342" y="569"/>
                      <a:pt x="342" y="569"/>
                      <a:pt x="342" y="569"/>
                    </a:cubicBezTo>
                    <a:lnTo>
                      <a:pt x="363" y="509"/>
                    </a:lnTo>
                    <a:close/>
                    <a:moveTo>
                      <a:pt x="321" y="631"/>
                    </a:moveTo>
                    <a:cubicBezTo>
                      <a:pt x="391" y="661"/>
                      <a:pt x="391" y="661"/>
                      <a:pt x="391" y="661"/>
                    </a:cubicBezTo>
                    <a:cubicBezTo>
                      <a:pt x="297" y="701"/>
                      <a:pt x="297" y="701"/>
                      <a:pt x="297" y="701"/>
                    </a:cubicBezTo>
                    <a:lnTo>
                      <a:pt x="321" y="631"/>
                    </a:lnTo>
                    <a:close/>
                    <a:moveTo>
                      <a:pt x="358" y="716"/>
                    </a:moveTo>
                    <a:cubicBezTo>
                      <a:pt x="440" y="681"/>
                      <a:pt x="440" y="681"/>
                      <a:pt x="440" y="681"/>
                    </a:cubicBezTo>
                    <a:cubicBezTo>
                      <a:pt x="522" y="716"/>
                      <a:pt x="522" y="716"/>
                      <a:pt x="522" y="716"/>
                    </a:cubicBezTo>
                    <a:lnTo>
                      <a:pt x="358" y="716"/>
                    </a:lnTo>
                    <a:close/>
                    <a:moveTo>
                      <a:pt x="489" y="661"/>
                    </a:moveTo>
                    <a:cubicBezTo>
                      <a:pt x="559" y="631"/>
                      <a:pt x="559" y="631"/>
                      <a:pt x="559" y="631"/>
                    </a:cubicBezTo>
                    <a:cubicBezTo>
                      <a:pt x="583" y="701"/>
                      <a:pt x="583" y="701"/>
                      <a:pt x="583" y="701"/>
                    </a:cubicBezTo>
                    <a:lnTo>
                      <a:pt x="489" y="661"/>
                    </a:lnTo>
                    <a:close/>
                    <a:moveTo>
                      <a:pt x="202" y="668"/>
                    </a:moveTo>
                    <a:cubicBezTo>
                      <a:pt x="202" y="658"/>
                      <a:pt x="210" y="650"/>
                      <a:pt x="220" y="650"/>
                    </a:cubicBezTo>
                    <a:cubicBezTo>
                      <a:pt x="223" y="650"/>
                      <a:pt x="225" y="650"/>
                      <a:pt x="227" y="652"/>
                    </a:cubicBezTo>
                    <a:cubicBezTo>
                      <a:pt x="233" y="635"/>
                      <a:pt x="233" y="635"/>
                      <a:pt x="233" y="635"/>
                    </a:cubicBezTo>
                    <a:cubicBezTo>
                      <a:pt x="35" y="635"/>
                      <a:pt x="35" y="635"/>
                      <a:pt x="35" y="635"/>
                    </a:cubicBezTo>
                    <a:cubicBezTo>
                      <a:pt x="32" y="635"/>
                      <a:pt x="30" y="633"/>
                      <a:pt x="30" y="630"/>
                    </a:cubicBezTo>
                    <a:cubicBezTo>
                      <a:pt x="30" y="423"/>
                      <a:pt x="30" y="423"/>
                      <a:pt x="30" y="423"/>
                    </a:cubicBezTo>
                    <a:cubicBezTo>
                      <a:pt x="30" y="420"/>
                      <a:pt x="32" y="418"/>
                      <a:pt x="35" y="418"/>
                    </a:cubicBezTo>
                    <a:cubicBezTo>
                      <a:pt x="308" y="418"/>
                      <a:pt x="308" y="418"/>
                      <a:pt x="308" y="418"/>
                    </a:cubicBezTo>
                    <a:cubicBezTo>
                      <a:pt x="318" y="387"/>
                      <a:pt x="318" y="387"/>
                      <a:pt x="318" y="387"/>
                    </a:cubicBezTo>
                    <a:cubicBezTo>
                      <a:pt x="11" y="387"/>
                      <a:pt x="11" y="387"/>
                      <a:pt x="11" y="387"/>
                    </a:cubicBezTo>
                    <a:cubicBezTo>
                      <a:pt x="5" y="387"/>
                      <a:pt x="0" y="392"/>
                      <a:pt x="0" y="398"/>
                    </a:cubicBezTo>
                    <a:cubicBezTo>
                      <a:pt x="0" y="695"/>
                      <a:pt x="0" y="695"/>
                      <a:pt x="0" y="695"/>
                    </a:cubicBezTo>
                    <a:cubicBezTo>
                      <a:pt x="0" y="701"/>
                      <a:pt x="5" y="706"/>
                      <a:pt x="11" y="706"/>
                    </a:cubicBezTo>
                    <a:cubicBezTo>
                      <a:pt x="168" y="706"/>
                      <a:pt x="168" y="706"/>
                      <a:pt x="168" y="706"/>
                    </a:cubicBezTo>
                    <a:cubicBezTo>
                      <a:pt x="168" y="749"/>
                      <a:pt x="168" y="749"/>
                      <a:pt x="168" y="749"/>
                    </a:cubicBezTo>
                    <a:cubicBezTo>
                      <a:pt x="138" y="749"/>
                      <a:pt x="138" y="749"/>
                      <a:pt x="138" y="749"/>
                    </a:cubicBezTo>
                    <a:cubicBezTo>
                      <a:pt x="132" y="749"/>
                      <a:pt x="127" y="753"/>
                      <a:pt x="127" y="760"/>
                    </a:cubicBezTo>
                    <a:cubicBezTo>
                      <a:pt x="127" y="766"/>
                      <a:pt x="132" y="771"/>
                      <a:pt x="138" y="771"/>
                    </a:cubicBezTo>
                    <a:cubicBezTo>
                      <a:pt x="186" y="771"/>
                      <a:pt x="186" y="771"/>
                      <a:pt x="186" y="771"/>
                    </a:cubicBezTo>
                    <a:cubicBezTo>
                      <a:pt x="216" y="685"/>
                      <a:pt x="216" y="685"/>
                      <a:pt x="216" y="685"/>
                    </a:cubicBezTo>
                    <a:cubicBezTo>
                      <a:pt x="208" y="683"/>
                      <a:pt x="202" y="676"/>
                      <a:pt x="202" y="668"/>
                    </a:cubicBezTo>
                    <a:close/>
                    <a:moveTo>
                      <a:pt x="850" y="357"/>
                    </a:moveTo>
                    <a:cubicBezTo>
                      <a:pt x="628" y="357"/>
                      <a:pt x="628" y="357"/>
                      <a:pt x="628" y="357"/>
                    </a:cubicBezTo>
                    <a:cubicBezTo>
                      <a:pt x="622" y="357"/>
                      <a:pt x="617" y="362"/>
                      <a:pt x="617" y="368"/>
                    </a:cubicBezTo>
                    <a:cubicBezTo>
                      <a:pt x="617" y="549"/>
                      <a:pt x="617" y="549"/>
                      <a:pt x="617" y="549"/>
                    </a:cubicBezTo>
                    <a:cubicBezTo>
                      <a:pt x="649" y="640"/>
                      <a:pt x="649" y="640"/>
                      <a:pt x="649" y="640"/>
                    </a:cubicBezTo>
                    <a:cubicBezTo>
                      <a:pt x="649" y="393"/>
                      <a:pt x="649" y="393"/>
                      <a:pt x="649" y="393"/>
                    </a:cubicBezTo>
                    <a:cubicBezTo>
                      <a:pt x="649" y="390"/>
                      <a:pt x="651" y="388"/>
                      <a:pt x="654" y="388"/>
                    </a:cubicBezTo>
                    <a:cubicBezTo>
                      <a:pt x="827" y="388"/>
                      <a:pt x="827" y="388"/>
                      <a:pt x="827" y="388"/>
                    </a:cubicBezTo>
                    <a:cubicBezTo>
                      <a:pt x="830" y="388"/>
                      <a:pt x="832" y="390"/>
                      <a:pt x="832" y="393"/>
                    </a:cubicBezTo>
                    <a:cubicBezTo>
                      <a:pt x="832" y="685"/>
                      <a:pt x="832" y="685"/>
                      <a:pt x="832" y="685"/>
                    </a:cubicBezTo>
                    <a:cubicBezTo>
                      <a:pt x="832" y="687"/>
                      <a:pt x="830" y="690"/>
                      <a:pt x="827" y="690"/>
                    </a:cubicBezTo>
                    <a:cubicBezTo>
                      <a:pt x="666" y="690"/>
                      <a:pt x="666" y="690"/>
                      <a:pt x="666" y="690"/>
                    </a:cubicBezTo>
                    <a:cubicBezTo>
                      <a:pt x="703" y="798"/>
                      <a:pt x="703" y="798"/>
                      <a:pt x="703" y="798"/>
                    </a:cubicBezTo>
                    <a:cubicBezTo>
                      <a:pt x="850" y="798"/>
                      <a:pt x="850" y="798"/>
                      <a:pt x="850" y="798"/>
                    </a:cubicBezTo>
                    <a:cubicBezTo>
                      <a:pt x="856" y="798"/>
                      <a:pt x="861" y="793"/>
                      <a:pt x="861" y="787"/>
                    </a:cubicBezTo>
                    <a:cubicBezTo>
                      <a:pt x="861" y="368"/>
                      <a:pt x="861" y="368"/>
                      <a:pt x="861" y="368"/>
                    </a:cubicBezTo>
                    <a:cubicBezTo>
                      <a:pt x="861" y="362"/>
                      <a:pt x="856" y="357"/>
                      <a:pt x="850" y="357"/>
                    </a:cubicBezTo>
                    <a:close/>
                    <a:moveTo>
                      <a:pt x="739" y="766"/>
                    </a:moveTo>
                    <a:cubicBezTo>
                      <a:pt x="727" y="766"/>
                      <a:pt x="717" y="756"/>
                      <a:pt x="717" y="744"/>
                    </a:cubicBezTo>
                    <a:cubicBezTo>
                      <a:pt x="717" y="731"/>
                      <a:pt x="727" y="721"/>
                      <a:pt x="739" y="721"/>
                    </a:cubicBezTo>
                    <a:cubicBezTo>
                      <a:pt x="752" y="721"/>
                      <a:pt x="762" y="731"/>
                      <a:pt x="762" y="744"/>
                    </a:cubicBezTo>
                    <a:cubicBezTo>
                      <a:pt x="762" y="756"/>
                      <a:pt x="752" y="766"/>
                      <a:pt x="739" y="76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Group 73">
            <a:extLst>
              <a:ext uri="{FF2B5EF4-FFF2-40B4-BE49-F238E27FC236}">
                <a16:creationId xmlns:a16="http://schemas.microsoft.com/office/drawing/2014/main" id="{E18DEA4A-6CF8-41CE-8398-5E755EB5BA5D}"/>
              </a:ext>
            </a:extLst>
          </p:cNvPr>
          <p:cNvGrpSpPr/>
          <p:nvPr/>
        </p:nvGrpSpPr>
        <p:grpSpPr>
          <a:xfrm>
            <a:off x="2761603" y="2307284"/>
            <a:ext cx="1417584" cy="1417584"/>
            <a:chOff x="12755250" y="1733430"/>
            <a:chExt cx="1417584" cy="1417584"/>
          </a:xfrm>
        </p:grpSpPr>
        <p:sp>
          <p:nvSpPr>
            <p:cNvPr id="75" name="Oval 74">
              <a:extLst>
                <a:ext uri="{FF2B5EF4-FFF2-40B4-BE49-F238E27FC236}">
                  <a16:creationId xmlns:a16="http://schemas.microsoft.com/office/drawing/2014/main" id="{09C810C7-1AFC-4772-A103-161691D69D54}"/>
                </a:ext>
              </a:extLst>
            </p:cNvPr>
            <p:cNvSpPr/>
            <p:nvPr/>
          </p:nvSpPr>
          <p:spPr>
            <a:xfrm>
              <a:off x="12755250" y="1733430"/>
              <a:ext cx="1417584" cy="14175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9DCD88CC-2D94-41C0-B40A-96AA700DDF49}"/>
                </a:ext>
              </a:extLst>
            </p:cNvPr>
            <p:cNvGrpSpPr>
              <a:grpSpLocks noChangeAspect="1"/>
            </p:cNvGrpSpPr>
            <p:nvPr/>
          </p:nvGrpSpPr>
          <p:grpSpPr>
            <a:xfrm>
              <a:off x="13013023" y="1991203"/>
              <a:ext cx="902038" cy="902038"/>
              <a:chOff x="5867400" y="3200400"/>
              <a:chExt cx="457200" cy="457200"/>
            </a:xfrm>
          </p:grpSpPr>
          <p:sp>
            <p:nvSpPr>
              <p:cNvPr id="127" name="AutoShape 7">
                <a:extLst>
                  <a:ext uri="{FF2B5EF4-FFF2-40B4-BE49-F238E27FC236}">
                    <a16:creationId xmlns:a16="http://schemas.microsoft.com/office/drawing/2014/main" id="{C43B9C60-A45D-4A75-AE1B-A1C4F30FA55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9">
                <a:extLst>
                  <a:ext uri="{FF2B5EF4-FFF2-40B4-BE49-F238E27FC236}">
                    <a16:creationId xmlns:a16="http://schemas.microsoft.com/office/drawing/2014/main" id="{ADDF10CB-3DC5-4305-AC93-189EE61B1F80}"/>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29" name="Group 128">
            <a:extLst>
              <a:ext uri="{FF2B5EF4-FFF2-40B4-BE49-F238E27FC236}">
                <a16:creationId xmlns:a16="http://schemas.microsoft.com/office/drawing/2014/main" id="{DD6BE80D-B357-4F86-8953-0C7C187E2DBB}"/>
              </a:ext>
            </a:extLst>
          </p:cNvPr>
          <p:cNvGrpSpPr/>
          <p:nvPr/>
        </p:nvGrpSpPr>
        <p:grpSpPr>
          <a:xfrm>
            <a:off x="4547041" y="4083751"/>
            <a:ext cx="1417584" cy="1417584"/>
            <a:chOff x="12925719" y="3569863"/>
            <a:chExt cx="1417584" cy="1417584"/>
          </a:xfrm>
        </p:grpSpPr>
        <p:sp>
          <p:nvSpPr>
            <p:cNvPr id="130" name="Oval 129">
              <a:extLst>
                <a:ext uri="{FF2B5EF4-FFF2-40B4-BE49-F238E27FC236}">
                  <a16:creationId xmlns:a16="http://schemas.microsoft.com/office/drawing/2014/main" id="{02A7175E-D99C-4B3C-8F36-6C8AC15B1A32}"/>
                </a:ext>
              </a:extLst>
            </p:cNvPr>
            <p:cNvSpPr/>
            <p:nvPr/>
          </p:nvSpPr>
          <p:spPr>
            <a:xfrm>
              <a:off x="12925719" y="3569863"/>
              <a:ext cx="1417584" cy="14175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1" name="Group 130">
              <a:extLst>
                <a:ext uri="{FF2B5EF4-FFF2-40B4-BE49-F238E27FC236}">
                  <a16:creationId xmlns:a16="http://schemas.microsoft.com/office/drawing/2014/main" id="{5652DFB6-3389-4C21-BF91-E6AC2E9D2026}"/>
                </a:ext>
              </a:extLst>
            </p:cNvPr>
            <p:cNvGrpSpPr>
              <a:grpSpLocks noChangeAspect="1"/>
            </p:cNvGrpSpPr>
            <p:nvPr/>
          </p:nvGrpSpPr>
          <p:grpSpPr>
            <a:xfrm>
              <a:off x="13179933" y="3824077"/>
              <a:ext cx="909156" cy="909156"/>
              <a:chOff x="7324950" y="3200401"/>
              <a:chExt cx="457200" cy="457200"/>
            </a:xfrm>
          </p:grpSpPr>
          <p:sp>
            <p:nvSpPr>
              <p:cNvPr id="132" name="AutoShape 28">
                <a:extLst>
                  <a:ext uri="{FF2B5EF4-FFF2-40B4-BE49-F238E27FC236}">
                    <a16:creationId xmlns:a16="http://schemas.microsoft.com/office/drawing/2014/main" id="{E390B376-D066-44F5-9E45-1DA6D249F618}"/>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0">
                <a:extLst>
                  <a:ext uri="{FF2B5EF4-FFF2-40B4-BE49-F238E27FC236}">
                    <a16:creationId xmlns:a16="http://schemas.microsoft.com/office/drawing/2014/main" id="{F0BFF29E-B7F2-46C8-B9F2-14C69A4F9C87}"/>
                  </a:ext>
                </a:extLst>
              </p:cNvPr>
              <p:cNvSpPr>
                <a:spLocks noEditPoints="1"/>
              </p:cNvSpPr>
              <p:nvPr/>
            </p:nvSpPr>
            <p:spPr bwMode="auto">
              <a:xfrm>
                <a:off x="7351120" y="3253895"/>
                <a:ext cx="405438" cy="350212"/>
              </a:xfrm>
              <a:custGeom>
                <a:avLst/>
                <a:gdLst>
                  <a:gd name="T0" fmla="*/ 773 w 886"/>
                  <a:gd name="T1" fmla="*/ 390 h 765"/>
                  <a:gd name="T2" fmla="*/ 811 w 886"/>
                  <a:gd name="T3" fmla="*/ 428 h 765"/>
                  <a:gd name="T4" fmla="*/ 763 w 886"/>
                  <a:gd name="T5" fmla="*/ 428 h 765"/>
                  <a:gd name="T6" fmla="*/ 576 w 886"/>
                  <a:gd name="T7" fmla="*/ 203 h 765"/>
                  <a:gd name="T8" fmla="*/ 879 w 886"/>
                  <a:gd name="T9" fmla="*/ 308 h 765"/>
                  <a:gd name="T10" fmla="*/ 453 w 886"/>
                  <a:gd name="T11" fmla="*/ 119 h 765"/>
                  <a:gd name="T12" fmla="*/ 562 w 886"/>
                  <a:gd name="T13" fmla="*/ 68 h 765"/>
                  <a:gd name="T14" fmla="*/ 535 w 886"/>
                  <a:gd name="T15" fmla="*/ 33 h 765"/>
                  <a:gd name="T16" fmla="*/ 451 w 886"/>
                  <a:gd name="T17" fmla="*/ 0 h 765"/>
                  <a:gd name="T18" fmla="*/ 435 w 886"/>
                  <a:gd name="T19" fmla="*/ 2 h 765"/>
                  <a:gd name="T20" fmla="*/ 435 w 886"/>
                  <a:gd name="T21" fmla="*/ 119 h 765"/>
                  <a:gd name="T22" fmla="*/ 7 w 886"/>
                  <a:gd name="T23" fmla="*/ 308 h 765"/>
                  <a:gd name="T24" fmla="*/ 311 w 886"/>
                  <a:gd name="T25" fmla="*/ 203 h 765"/>
                  <a:gd name="T26" fmla="*/ 801 w 886"/>
                  <a:gd name="T27" fmla="*/ 505 h 765"/>
                  <a:gd name="T28" fmla="*/ 801 w 886"/>
                  <a:gd name="T29" fmla="*/ 457 h 765"/>
                  <a:gd name="T30" fmla="*/ 763 w 886"/>
                  <a:gd name="T31" fmla="*/ 495 h 765"/>
                  <a:gd name="T32" fmla="*/ 75 w 886"/>
                  <a:gd name="T33" fmla="*/ 467 h 765"/>
                  <a:gd name="T34" fmla="*/ 113 w 886"/>
                  <a:gd name="T35" fmla="*/ 505 h 765"/>
                  <a:gd name="T36" fmla="*/ 113 w 886"/>
                  <a:gd name="T37" fmla="*/ 457 h 765"/>
                  <a:gd name="T38" fmla="*/ 85 w 886"/>
                  <a:gd name="T39" fmla="*/ 390 h 765"/>
                  <a:gd name="T40" fmla="*/ 85 w 886"/>
                  <a:gd name="T41" fmla="*/ 438 h 765"/>
                  <a:gd name="T42" fmla="*/ 123 w 886"/>
                  <a:gd name="T43" fmla="*/ 400 h 765"/>
                  <a:gd name="T44" fmla="*/ 471 w 886"/>
                  <a:gd name="T45" fmla="*/ 342 h 765"/>
                  <a:gd name="T46" fmla="*/ 449 w 886"/>
                  <a:gd name="T47" fmla="*/ 326 h 765"/>
                  <a:gd name="T48" fmla="*/ 437 w 886"/>
                  <a:gd name="T49" fmla="*/ 316 h 765"/>
                  <a:gd name="T50" fmla="*/ 443 w 886"/>
                  <a:gd name="T51" fmla="*/ 348 h 765"/>
                  <a:gd name="T52" fmla="*/ 732 w 886"/>
                  <a:gd name="T53" fmla="*/ 608 h 765"/>
                  <a:gd name="T54" fmla="*/ 873 w 886"/>
                  <a:gd name="T55" fmla="*/ 359 h 765"/>
                  <a:gd name="T56" fmla="*/ 713 w 886"/>
                  <a:gd name="T57" fmla="*/ 713 h 765"/>
                  <a:gd name="T58" fmla="*/ 678 w 886"/>
                  <a:gd name="T59" fmla="*/ 692 h 765"/>
                  <a:gd name="T60" fmla="*/ 208 w 886"/>
                  <a:gd name="T61" fmla="*/ 692 h 765"/>
                  <a:gd name="T62" fmla="*/ 173 w 886"/>
                  <a:gd name="T63" fmla="*/ 713 h 765"/>
                  <a:gd name="T64" fmla="*/ 173 w 886"/>
                  <a:gd name="T65" fmla="*/ 765 h 765"/>
                  <a:gd name="T66" fmla="*/ 722 w 886"/>
                  <a:gd name="T67" fmla="*/ 722 h 765"/>
                  <a:gd name="T68" fmla="*/ 13 w 886"/>
                  <a:gd name="T69" fmla="*/ 359 h 765"/>
                  <a:gd name="T70" fmla="*/ 154 w 886"/>
                  <a:gd name="T71" fmla="*/ 608 h 765"/>
                  <a:gd name="T72" fmla="*/ 57 w 886"/>
                  <a:gd name="T73" fmla="*/ 359 h 765"/>
                  <a:gd name="T74" fmla="*/ 430 w 886"/>
                  <a:gd name="T75" fmla="*/ 167 h 765"/>
                  <a:gd name="T76" fmla="*/ 662 w 886"/>
                  <a:gd name="T77" fmla="*/ 326 h 765"/>
                  <a:gd name="T78" fmla="*/ 688 w 886"/>
                  <a:gd name="T79" fmla="*/ 378 h 765"/>
                  <a:gd name="T80" fmla="*/ 688 w 886"/>
                  <a:gd name="T81" fmla="*/ 648 h 765"/>
                  <a:gd name="T82" fmla="*/ 600 w 886"/>
                  <a:gd name="T83" fmla="*/ 648 h 765"/>
                  <a:gd name="T84" fmla="*/ 493 w 886"/>
                  <a:gd name="T85" fmla="*/ 465 h 765"/>
                  <a:gd name="T86" fmla="*/ 393 w 886"/>
                  <a:gd name="T87" fmla="*/ 465 h 765"/>
                  <a:gd name="T88" fmla="*/ 286 w 886"/>
                  <a:gd name="T89" fmla="*/ 648 h 765"/>
                  <a:gd name="T90" fmla="*/ 198 w 886"/>
                  <a:gd name="T91" fmla="*/ 648 h 765"/>
                  <a:gd name="T92" fmla="*/ 198 w 886"/>
                  <a:gd name="T93" fmla="*/ 378 h 765"/>
                  <a:gd name="T94" fmla="*/ 224 w 886"/>
                  <a:gd name="T95" fmla="*/ 326 h 765"/>
                  <a:gd name="T96" fmla="*/ 616 w 886"/>
                  <a:gd name="T97" fmla="*/ 574 h 765"/>
                  <a:gd name="T98" fmla="*/ 577 w 886"/>
                  <a:gd name="T99" fmla="*/ 403 h 765"/>
                  <a:gd name="T100" fmla="*/ 539 w 886"/>
                  <a:gd name="T101" fmla="*/ 574 h 765"/>
                  <a:gd name="T102" fmla="*/ 484 w 886"/>
                  <a:gd name="T103" fmla="*/ 338 h 765"/>
                  <a:gd name="T104" fmla="*/ 443 w 886"/>
                  <a:gd name="T105" fmla="*/ 297 h 765"/>
                  <a:gd name="T106" fmla="*/ 402 w 886"/>
                  <a:gd name="T107" fmla="*/ 338 h 765"/>
                  <a:gd name="T108" fmla="*/ 347 w 886"/>
                  <a:gd name="T109" fmla="*/ 574 h 765"/>
                  <a:gd name="T110" fmla="*/ 286 w 886"/>
                  <a:gd name="T111" fmla="*/ 41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6" h="765">
                    <a:moveTo>
                      <a:pt x="763" y="428"/>
                    </a:moveTo>
                    <a:cubicBezTo>
                      <a:pt x="763" y="400"/>
                      <a:pt x="763" y="400"/>
                      <a:pt x="763" y="400"/>
                    </a:cubicBezTo>
                    <a:cubicBezTo>
                      <a:pt x="763" y="394"/>
                      <a:pt x="767" y="390"/>
                      <a:pt x="773" y="390"/>
                    </a:cubicBezTo>
                    <a:cubicBezTo>
                      <a:pt x="801" y="390"/>
                      <a:pt x="801" y="390"/>
                      <a:pt x="801" y="390"/>
                    </a:cubicBezTo>
                    <a:cubicBezTo>
                      <a:pt x="806" y="390"/>
                      <a:pt x="811" y="394"/>
                      <a:pt x="811" y="400"/>
                    </a:cubicBezTo>
                    <a:cubicBezTo>
                      <a:pt x="811" y="428"/>
                      <a:pt x="811" y="428"/>
                      <a:pt x="811" y="428"/>
                    </a:cubicBezTo>
                    <a:cubicBezTo>
                      <a:pt x="811" y="433"/>
                      <a:pt x="806" y="438"/>
                      <a:pt x="801" y="438"/>
                    </a:cubicBezTo>
                    <a:cubicBezTo>
                      <a:pt x="773" y="438"/>
                      <a:pt x="773" y="438"/>
                      <a:pt x="773" y="438"/>
                    </a:cubicBezTo>
                    <a:cubicBezTo>
                      <a:pt x="767" y="438"/>
                      <a:pt x="763" y="433"/>
                      <a:pt x="763" y="428"/>
                    </a:cubicBezTo>
                    <a:close/>
                    <a:moveTo>
                      <a:pt x="879" y="308"/>
                    </a:moveTo>
                    <a:cubicBezTo>
                      <a:pt x="747" y="203"/>
                      <a:pt x="747" y="203"/>
                      <a:pt x="747" y="203"/>
                    </a:cubicBezTo>
                    <a:cubicBezTo>
                      <a:pt x="576" y="203"/>
                      <a:pt x="576" y="203"/>
                      <a:pt x="576" y="203"/>
                    </a:cubicBezTo>
                    <a:cubicBezTo>
                      <a:pt x="736" y="326"/>
                      <a:pt x="736" y="326"/>
                      <a:pt x="736" y="326"/>
                    </a:cubicBezTo>
                    <a:cubicBezTo>
                      <a:pt x="874" y="326"/>
                      <a:pt x="874" y="326"/>
                      <a:pt x="874" y="326"/>
                    </a:cubicBezTo>
                    <a:cubicBezTo>
                      <a:pt x="883" y="326"/>
                      <a:pt x="886" y="314"/>
                      <a:pt x="879" y="308"/>
                    </a:cubicBezTo>
                    <a:close/>
                    <a:moveTo>
                      <a:pt x="435" y="119"/>
                    </a:moveTo>
                    <a:cubicBezTo>
                      <a:pt x="438" y="118"/>
                      <a:pt x="440" y="118"/>
                      <a:pt x="443" y="118"/>
                    </a:cubicBezTo>
                    <a:cubicBezTo>
                      <a:pt x="446" y="118"/>
                      <a:pt x="450" y="118"/>
                      <a:pt x="453" y="119"/>
                    </a:cubicBezTo>
                    <a:cubicBezTo>
                      <a:pt x="453" y="70"/>
                      <a:pt x="453" y="70"/>
                      <a:pt x="453" y="70"/>
                    </a:cubicBezTo>
                    <a:cubicBezTo>
                      <a:pt x="453" y="69"/>
                      <a:pt x="454" y="68"/>
                      <a:pt x="456" y="68"/>
                    </a:cubicBezTo>
                    <a:cubicBezTo>
                      <a:pt x="562" y="68"/>
                      <a:pt x="562" y="68"/>
                      <a:pt x="562" y="68"/>
                    </a:cubicBezTo>
                    <a:cubicBezTo>
                      <a:pt x="564" y="68"/>
                      <a:pt x="565" y="66"/>
                      <a:pt x="564" y="64"/>
                    </a:cubicBezTo>
                    <a:cubicBezTo>
                      <a:pt x="535" y="36"/>
                      <a:pt x="535" y="36"/>
                      <a:pt x="535" y="36"/>
                    </a:cubicBezTo>
                    <a:cubicBezTo>
                      <a:pt x="534" y="35"/>
                      <a:pt x="534" y="33"/>
                      <a:pt x="535" y="33"/>
                    </a:cubicBezTo>
                    <a:cubicBezTo>
                      <a:pt x="564" y="4"/>
                      <a:pt x="564" y="4"/>
                      <a:pt x="564" y="4"/>
                    </a:cubicBezTo>
                    <a:cubicBezTo>
                      <a:pt x="565" y="3"/>
                      <a:pt x="564" y="0"/>
                      <a:pt x="562" y="0"/>
                    </a:cubicBezTo>
                    <a:cubicBezTo>
                      <a:pt x="451" y="0"/>
                      <a:pt x="451" y="0"/>
                      <a:pt x="451" y="0"/>
                    </a:cubicBezTo>
                    <a:cubicBezTo>
                      <a:pt x="437" y="0"/>
                      <a:pt x="437" y="0"/>
                      <a:pt x="437" y="0"/>
                    </a:cubicBezTo>
                    <a:cubicBezTo>
                      <a:pt x="437" y="0"/>
                      <a:pt x="437" y="0"/>
                      <a:pt x="437" y="0"/>
                    </a:cubicBezTo>
                    <a:cubicBezTo>
                      <a:pt x="436" y="0"/>
                      <a:pt x="435" y="1"/>
                      <a:pt x="435" y="2"/>
                    </a:cubicBezTo>
                    <a:cubicBezTo>
                      <a:pt x="435" y="68"/>
                      <a:pt x="435" y="68"/>
                      <a:pt x="435" y="68"/>
                    </a:cubicBezTo>
                    <a:cubicBezTo>
                      <a:pt x="435" y="68"/>
                      <a:pt x="435" y="68"/>
                      <a:pt x="435" y="68"/>
                    </a:cubicBezTo>
                    <a:lnTo>
                      <a:pt x="435" y="119"/>
                    </a:lnTo>
                    <a:close/>
                    <a:moveTo>
                      <a:pt x="311" y="203"/>
                    </a:moveTo>
                    <a:cubicBezTo>
                      <a:pt x="139" y="203"/>
                      <a:pt x="139" y="203"/>
                      <a:pt x="139" y="203"/>
                    </a:cubicBezTo>
                    <a:cubicBezTo>
                      <a:pt x="7" y="308"/>
                      <a:pt x="7" y="308"/>
                      <a:pt x="7" y="308"/>
                    </a:cubicBezTo>
                    <a:cubicBezTo>
                      <a:pt x="0" y="314"/>
                      <a:pt x="3" y="326"/>
                      <a:pt x="12" y="326"/>
                    </a:cubicBezTo>
                    <a:cubicBezTo>
                      <a:pt x="152" y="326"/>
                      <a:pt x="152" y="326"/>
                      <a:pt x="152" y="326"/>
                    </a:cubicBezTo>
                    <a:lnTo>
                      <a:pt x="311" y="203"/>
                    </a:lnTo>
                    <a:close/>
                    <a:moveTo>
                      <a:pt x="763" y="495"/>
                    </a:moveTo>
                    <a:cubicBezTo>
                      <a:pt x="763" y="501"/>
                      <a:pt x="767" y="505"/>
                      <a:pt x="773" y="505"/>
                    </a:cubicBezTo>
                    <a:cubicBezTo>
                      <a:pt x="801" y="505"/>
                      <a:pt x="801" y="505"/>
                      <a:pt x="801" y="505"/>
                    </a:cubicBezTo>
                    <a:cubicBezTo>
                      <a:pt x="806" y="505"/>
                      <a:pt x="811" y="501"/>
                      <a:pt x="811" y="495"/>
                    </a:cubicBezTo>
                    <a:cubicBezTo>
                      <a:pt x="811" y="467"/>
                      <a:pt x="811" y="467"/>
                      <a:pt x="811" y="467"/>
                    </a:cubicBezTo>
                    <a:cubicBezTo>
                      <a:pt x="811" y="462"/>
                      <a:pt x="806" y="457"/>
                      <a:pt x="801" y="457"/>
                    </a:cubicBezTo>
                    <a:cubicBezTo>
                      <a:pt x="773" y="457"/>
                      <a:pt x="773" y="457"/>
                      <a:pt x="773" y="457"/>
                    </a:cubicBezTo>
                    <a:cubicBezTo>
                      <a:pt x="767" y="457"/>
                      <a:pt x="763" y="462"/>
                      <a:pt x="763" y="467"/>
                    </a:cubicBezTo>
                    <a:lnTo>
                      <a:pt x="763" y="495"/>
                    </a:lnTo>
                    <a:close/>
                    <a:moveTo>
                      <a:pt x="113" y="457"/>
                    </a:moveTo>
                    <a:cubicBezTo>
                      <a:pt x="85" y="457"/>
                      <a:pt x="85" y="457"/>
                      <a:pt x="85" y="457"/>
                    </a:cubicBezTo>
                    <a:cubicBezTo>
                      <a:pt x="80" y="457"/>
                      <a:pt x="75" y="462"/>
                      <a:pt x="75" y="467"/>
                    </a:cubicBezTo>
                    <a:cubicBezTo>
                      <a:pt x="75" y="495"/>
                      <a:pt x="75" y="495"/>
                      <a:pt x="75" y="495"/>
                    </a:cubicBezTo>
                    <a:cubicBezTo>
                      <a:pt x="75" y="501"/>
                      <a:pt x="80" y="505"/>
                      <a:pt x="85" y="505"/>
                    </a:cubicBezTo>
                    <a:cubicBezTo>
                      <a:pt x="113" y="505"/>
                      <a:pt x="113" y="505"/>
                      <a:pt x="113" y="505"/>
                    </a:cubicBezTo>
                    <a:cubicBezTo>
                      <a:pt x="119" y="505"/>
                      <a:pt x="123" y="501"/>
                      <a:pt x="123" y="495"/>
                    </a:cubicBezTo>
                    <a:cubicBezTo>
                      <a:pt x="123" y="467"/>
                      <a:pt x="123" y="467"/>
                      <a:pt x="123" y="467"/>
                    </a:cubicBezTo>
                    <a:cubicBezTo>
                      <a:pt x="123" y="462"/>
                      <a:pt x="119" y="457"/>
                      <a:pt x="113" y="457"/>
                    </a:cubicBezTo>
                    <a:close/>
                    <a:moveTo>
                      <a:pt x="123" y="400"/>
                    </a:moveTo>
                    <a:cubicBezTo>
                      <a:pt x="123" y="394"/>
                      <a:pt x="119" y="390"/>
                      <a:pt x="113" y="390"/>
                    </a:cubicBezTo>
                    <a:cubicBezTo>
                      <a:pt x="85" y="390"/>
                      <a:pt x="85" y="390"/>
                      <a:pt x="85" y="390"/>
                    </a:cubicBezTo>
                    <a:cubicBezTo>
                      <a:pt x="80" y="390"/>
                      <a:pt x="75" y="394"/>
                      <a:pt x="75" y="400"/>
                    </a:cubicBezTo>
                    <a:cubicBezTo>
                      <a:pt x="75" y="428"/>
                      <a:pt x="75" y="428"/>
                      <a:pt x="75" y="428"/>
                    </a:cubicBezTo>
                    <a:cubicBezTo>
                      <a:pt x="75" y="433"/>
                      <a:pt x="80" y="438"/>
                      <a:pt x="85" y="438"/>
                    </a:cubicBezTo>
                    <a:cubicBezTo>
                      <a:pt x="113" y="438"/>
                      <a:pt x="113" y="438"/>
                      <a:pt x="113" y="438"/>
                    </a:cubicBezTo>
                    <a:cubicBezTo>
                      <a:pt x="119" y="438"/>
                      <a:pt x="123" y="433"/>
                      <a:pt x="123" y="428"/>
                    </a:cubicBezTo>
                    <a:lnTo>
                      <a:pt x="123" y="400"/>
                    </a:lnTo>
                    <a:close/>
                    <a:moveTo>
                      <a:pt x="443" y="348"/>
                    </a:moveTo>
                    <a:cubicBezTo>
                      <a:pt x="465" y="348"/>
                      <a:pt x="465" y="348"/>
                      <a:pt x="465" y="348"/>
                    </a:cubicBezTo>
                    <a:cubicBezTo>
                      <a:pt x="468" y="348"/>
                      <a:pt x="471" y="345"/>
                      <a:pt x="471" y="342"/>
                    </a:cubicBezTo>
                    <a:cubicBezTo>
                      <a:pt x="471" y="338"/>
                      <a:pt x="468" y="336"/>
                      <a:pt x="465" y="336"/>
                    </a:cubicBezTo>
                    <a:cubicBezTo>
                      <a:pt x="449" y="336"/>
                      <a:pt x="449" y="336"/>
                      <a:pt x="449" y="336"/>
                    </a:cubicBezTo>
                    <a:cubicBezTo>
                      <a:pt x="449" y="326"/>
                      <a:pt x="449" y="326"/>
                      <a:pt x="449" y="326"/>
                    </a:cubicBezTo>
                    <a:cubicBezTo>
                      <a:pt x="449" y="316"/>
                      <a:pt x="449" y="316"/>
                      <a:pt x="449" y="316"/>
                    </a:cubicBezTo>
                    <a:cubicBezTo>
                      <a:pt x="449" y="312"/>
                      <a:pt x="446" y="310"/>
                      <a:pt x="443" y="310"/>
                    </a:cubicBezTo>
                    <a:cubicBezTo>
                      <a:pt x="440" y="310"/>
                      <a:pt x="437" y="312"/>
                      <a:pt x="437" y="316"/>
                    </a:cubicBezTo>
                    <a:cubicBezTo>
                      <a:pt x="437" y="326"/>
                      <a:pt x="437" y="326"/>
                      <a:pt x="437" y="326"/>
                    </a:cubicBezTo>
                    <a:cubicBezTo>
                      <a:pt x="437" y="342"/>
                      <a:pt x="437" y="342"/>
                      <a:pt x="437" y="342"/>
                    </a:cubicBezTo>
                    <a:cubicBezTo>
                      <a:pt x="437" y="345"/>
                      <a:pt x="440" y="348"/>
                      <a:pt x="443" y="348"/>
                    </a:cubicBezTo>
                    <a:close/>
                    <a:moveTo>
                      <a:pt x="829" y="564"/>
                    </a:moveTo>
                    <a:cubicBezTo>
                      <a:pt x="732" y="564"/>
                      <a:pt x="732" y="564"/>
                      <a:pt x="732" y="564"/>
                    </a:cubicBezTo>
                    <a:cubicBezTo>
                      <a:pt x="732" y="608"/>
                      <a:pt x="732" y="608"/>
                      <a:pt x="732" y="608"/>
                    </a:cubicBezTo>
                    <a:cubicBezTo>
                      <a:pt x="851" y="608"/>
                      <a:pt x="851" y="608"/>
                      <a:pt x="851" y="608"/>
                    </a:cubicBezTo>
                    <a:cubicBezTo>
                      <a:pt x="863" y="608"/>
                      <a:pt x="873" y="598"/>
                      <a:pt x="873" y="586"/>
                    </a:cubicBezTo>
                    <a:cubicBezTo>
                      <a:pt x="873" y="359"/>
                      <a:pt x="873" y="359"/>
                      <a:pt x="873" y="359"/>
                    </a:cubicBezTo>
                    <a:cubicBezTo>
                      <a:pt x="829" y="359"/>
                      <a:pt x="829" y="359"/>
                      <a:pt x="829" y="359"/>
                    </a:cubicBezTo>
                    <a:lnTo>
                      <a:pt x="829" y="564"/>
                    </a:lnTo>
                    <a:close/>
                    <a:moveTo>
                      <a:pt x="713" y="713"/>
                    </a:moveTo>
                    <a:cubicBezTo>
                      <a:pt x="687" y="713"/>
                      <a:pt x="687" y="713"/>
                      <a:pt x="687" y="713"/>
                    </a:cubicBezTo>
                    <a:cubicBezTo>
                      <a:pt x="687" y="701"/>
                      <a:pt x="687" y="701"/>
                      <a:pt x="687" y="701"/>
                    </a:cubicBezTo>
                    <a:cubicBezTo>
                      <a:pt x="687" y="696"/>
                      <a:pt x="683" y="692"/>
                      <a:pt x="678" y="692"/>
                    </a:cubicBezTo>
                    <a:cubicBezTo>
                      <a:pt x="600" y="692"/>
                      <a:pt x="600" y="692"/>
                      <a:pt x="600" y="692"/>
                    </a:cubicBezTo>
                    <a:cubicBezTo>
                      <a:pt x="286" y="692"/>
                      <a:pt x="286" y="692"/>
                      <a:pt x="286" y="692"/>
                    </a:cubicBezTo>
                    <a:cubicBezTo>
                      <a:pt x="208" y="692"/>
                      <a:pt x="208" y="692"/>
                      <a:pt x="208" y="692"/>
                    </a:cubicBezTo>
                    <a:cubicBezTo>
                      <a:pt x="203" y="692"/>
                      <a:pt x="199" y="696"/>
                      <a:pt x="199" y="701"/>
                    </a:cubicBezTo>
                    <a:cubicBezTo>
                      <a:pt x="199" y="713"/>
                      <a:pt x="199" y="713"/>
                      <a:pt x="199" y="713"/>
                    </a:cubicBezTo>
                    <a:cubicBezTo>
                      <a:pt x="173" y="713"/>
                      <a:pt x="173" y="713"/>
                      <a:pt x="173" y="713"/>
                    </a:cubicBezTo>
                    <a:cubicBezTo>
                      <a:pt x="168" y="713"/>
                      <a:pt x="164" y="717"/>
                      <a:pt x="164" y="722"/>
                    </a:cubicBezTo>
                    <a:cubicBezTo>
                      <a:pt x="164" y="756"/>
                      <a:pt x="164" y="756"/>
                      <a:pt x="164" y="756"/>
                    </a:cubicBezTo>
                    <a:cubicBezTo>
                      <a:pt x="164" y="761"/>
                      <a:pt x="168" y="765"/>
                      <a:pt x="173" y="765"/>
                    </a:cubicBezTo>
                    <a:cubicBezTo>
                      <a:pt x="713" y="765"/>
                      <a:pt x="713" y="765"/>
                      <a:pt x="713" y="765"/>
                    </a:cubicBezTo>
                    <a:cubicBezTo>
                      <a:pt x="718" y="765"/>
                      <a:pt x="722" y="761"/>
                      <a:pt x="722" y="756"/>
                    </a:cubicBezTo>
                    <a:cubicBezTo>
                      <a:pt x="722" y="722"/>
                      <a:pt x="722" y="722"/>
                      <a:pt x="722" y="722"/>
                    </a:cubicBezTo>
                    <a:cubicBezTo>
                      <a:pt x="722" y="717"/>
                      <a:pt x="718" y="713"/>
                      <a:pt x="713" y="713"/>
                    </a:cubicBezTo>
                    <a:close/>
                    <a:moveTo>
                      <a:pt x="57" y="359"/>
                    </a:moveTo>
                    <a:cubicBezTo>
                      <a:pt x="13" y="359"/>
                      <a:pt x="13" y="359"/>
                      <a:pt x="13" y="359"/>
                    </a:cubicBezTo>
                    <a:cubicBezTo>
                      <a:pt x="13" y="586"/>
                      <a:pt x="13" y="586"/>
                      <a:pt x="13" y="586"/>
                    </a:cubicBezTo>
                    <a:cubicBezTo>
                      <a:pt x="13" y="598"/>
                      <a:pt x="23" y="608"/>
                      <a:pt x="35" y="608"/>
                    </a:cubicBezTo>
                    <a:cubicBezTo>
                      <a:pt x="154" y="608"/>
                      <a:pt x="154" y="608"/>
                      <a:pt x="154" y="608"/>
                    </a:cubicBezTo>
                    <a:cubicBezTo>
                      <a:pt x="154" y="564"/>
                      <a:pt x="154" y="564"/>
                      <a:pt x="154" y="564"/>
                    </a:cubicBezTo>
                    <a:cubicBezTo>
                      <a:pt x="57" y="564"/>
                      <a:pt x="57" y="564"/>
                      <a:pt x="57" y="564"/>
                    </a:cubicBezTo>
                    <a:lnTo>
                      <a:pt x="57" y="359"/>
                    </a:lnTo>
                    <a:close/>
                    <a:moveTo>
                      <a:pt x="224" y="326"/>
                    </a:moveTo>
                    <a:cubicBezTo>
                      <a:pt x="383" y="203"/>
                      <a:pt x="383" y="203"/>
                      <a:pt x="383" y="203"/>
                    </a:cubicBezTo>
                    <a:cubicBezTo>
                      <a:pt x="430" y="167"/>
                      <a:pt x="430" y="167"/>
                      <a:pt x="430" y="167"/>
                    </a:cubicBezTo>
                    <a:cubicBezTo>
                      <a:pt x="437" y="161"/>
                      <a:pt x="449" y="161"/>
                      <a:pt x="456" y="167"/>
                    </a:cubicBezTo>
                    <a:cubicBezTo>
                      <a:pt x="503" y="203"/>
                      <a:pt x="503" y="203"/>
                      <a:pt x="503" y="203"/>
                    </a:cubicBezTo>
                    <a:cubicBezTo>
                      <a:pt x="662" y="326"/>
                      <a:pt x="662" y="326"/>
                      <a:pt x="662" y="326"/>
                    </a:cubicBezTo>
                    <a:cubicBezTo>
                      <a:pt x="679" y="340"/>
                      <a:pt x="679" y="340"/>
                      <a:pt x="679" y="340"/>
                    </a:cubicBezTo>
                    <a:cubicBezTo>
                      <a:pt x="685" y="344"/>
                      <a:pt x="688" y="350"/>
                      <a:pt x="688" y="357"/>
                    </a:cubicBezTo>
                    <a:cubicBezTo>
                      <a:pt x="688" y="378"/>
                      <a:pt x="688" y="378"/>
                      <a:pt x="688" y="378"/>
                    </a:cubicBezTo>
                    <a:cubicBezTo>
                      <a:pt x="688" y="564"/>
                      <a:pt x="688" y="564"/>
                      <a:pt x="688" y="564"/>
                    </a:cubicBezTo>
                    <a:cubicBezTo>
                      <a:pt x="688" y="608"/>
                      <a:pt x="688" y="608"/>
                      <a:pt x="688" y="608"/>
                    </a:cubicBezTo>
                    <a:cubicBezTo>
                      <a:pt x="688" y="648"/>
                      <a:pt x="688" y="648"/>
                      <a:pt x="688" y="648"/>
                    </a:cubicBezTo>
                    <a:cubicBezTo>
                      <a:pt x="644" y="648"/>
                      <a:pt x="644" y="648"/>
                      <a:pt x="644" y="648"/>
                    </a:cubicBezTo>
                    <a:cubicBezTo>
                      <a:pt x="638" y="648"/>
                      <a:pt x="638" y="648"/>
                      <a:pt x="638" y="648"/>
                    </a:cubicBezTo>
                    <a:cubicBezTo>
                      <a:pt x="600" y="648"/>
                      <a:pt x="600" y="648"/>
                      <a:pt x="600" y="648"/>
                    </a:cubicBezTo>
                    <a:cubicBezTo>
                      <a:pt x="493" y="648"/>
                      <a:pt x="493" y="648"/>
                      <a:pt x="493" y="648"/>
                    </a:cubicBezTo>
                    <a:cubicBezTo>
                      <a:pt x="493" y="648"/>
                      <a:pt x="493" y="648"/>
                      <a:pt x="493" y="648"/>
                    </a:cubicBezTo>
                    <a:cubicBezTo>
                      <a:pt x="493" y="465"/>
                      <a:pt x="493" y="465"/>
                      <a:pt x="493" y="465"/>
                    </a:cubicBezTo>
                    <a:cubicBezTo>
                      <a:pt x="493" y="463"/>
                      <a:pt x="491" y="461"/>
                      <a:pt x="489" y="461"/>
                    </a:cubicBezTo>
                    <a:cubicBezTo>
                      <a:pt x="397" y="461"/>
                      <a:pt x="397" y="461"/>
                      <a:pt x="397" y="461"/>
                    </a:cubicBezTo>
                    <a:cubicBezTo>
                      <a:pt x="395" y="461"/>
                      <a:pt x="393" y="463"/>
                      <a:pt x="393" y="465"/>
                    </a:cubicBezTo>
                    <a:cubicBezTo>
                      <a:pt x="393" y="648"/>
                      <a:pt x="393" y="648"/>
                      <a:pt x="393" y="648"/>
                    </a:cubicBezTo>
                    <a:cubicBezTo>
                      <a:pt x="393" y="648"/>
                      <a:pt x="393" y="648"/>
                      <a:pt x="393" y="648"/>
                    </a:cubicBezTo>
                    <a:cubicBezTo>
                      <a:pt x="286" y="648"/>
                      <a:pt x="286" y="648"/>
                      <a:pt x="286" y="648"/>
                    </a:cubicBezTo>
                    <a:cubicBezTo>
                      <a:pt x="248" y="648"/>
                      <a:pt x="248" y="648"/>
                      <a:pt x="248" y="648"/>
                    </a:cubicBezTo>
                    <a:cubicBezTo>
                      <a:pt x="242" y="648"/>
                      <a:pt x="242" y="648"/>
                      <a:pt x="242" y="648"/>
                    </a:cubicBezTo>
                    <a:cubicBezTo>
                      <a:pt x="198" y="648"/>
                      <a:pt x="198" y="648"/>
                      <a:pt x="198" y="648"/>
                    </a:cubicBezTo>
                    <a:cubicBezTo>
                      <a:pt x="198" y="608"/>
                      <a:pt x="198" y="608"/>
                      <a:pt x="198" y="608"/>
                    </a:cubicBezTo>
                    <a:cubicBezTo>
                      <a:pt x="198" y="564"/>
                      <a:pt x="198" y="564"/>
                      <a:pt x="198" y="564"/>
                    </a:cubicBezTo>
                    <a:cubicBezTo>
                      <a:pt x="198" y="378"/>
                      <a:pt x="198" y="378"/>
                      <a:pt x="198" y="378"/>
                    </a:cubicBezTo>
                    <a:cubicBezTo>
                      <a:pt x="198" y="357"/>
                      <a:pt x="198" y="357"/>
                      <a:pt x="198" y="357"/>
                    </a:cubicBezTo>
                    <a:cubicBezTo>
                      <a:pt x="198" y="350"/>
                      <a:pt x="201" y="344"/>
                      <a:pt x="207" y="340"/>
                    </a:cubicBezTo>
                    <a:lnTo>
                      <a:pt x="224" y="326"/>
                    </a:lnTo>
                    <a:close/>
                    <a:moveTo>
                      <a:pt x="539" y="574"/>
                    </a:moveTo>
                    <a:cubicBezTo>
                      <a:pt x="600" y="574"/>
                      <a:pt x="600" y="574"/>
                      <a:pt x="600" y="574"/>
                    </a:cubicBezTo>
                    <a:cubicBezTo>
                      <a:pt x="616" y="574"/>
                      <a:pt x="616" y="574"/>
                      <a:pt x="616" y="574"/>
                    </a:cubicBezTo>
                    <a:cubicBezTo>
                      <a:pt x="616" y="442"/>
                      <a:pt x="616" y="442"/>
                      <a:pt x="616" y="442"/>
                    </a:cubicBezTo>
                    <a:cubicBezTo>
                      <a:pt x="616" y="429"/>
                      <a:pt x="610" y="417"/>
                      <a:pt x="600" y="410"/>
                    </a:cubicBezTo>
                    <a:cubicBezTo>
                      <a:pt x="593" y="406"/>
                      <a:pt x="586" y="403"/>
                      <a:pt x="577" y="403"/>
                    </a:cubicBezTo>
                    <a:cubicBezTo>
                      <a:pt x="577" y="403"/>
                      <a:pt x="577" y="403"/>
                      <a:pt x="577" y="403"/>
                    </a:cubicBezTo>
                    <a:cubicBezTo>
                      <a:pt x="556" y="403"/>
                      <a:pt x="539" y="421"/>
                      <a:pt x="539" y="442"/>
                    </a:cubicBezTo>
                    <a:lnTo>
                      <a:pt x="539" y="574"/>
                    </a:lnTo>
                    <a:close/>
                    <a:moveTo>
                      <a:pt x="402" y="338"/>
                    </a:moveTo>
                    <a:cubicBezTo>
                      <a:pt x="402" y="360"/>
                      <a:pt x="421" y="378"/>
                      <a:pt x="443" y="378"/>
                    </a:cubicBezTo>
                    <a:cubicBezTo>
                      <a:pt x="465" y="378"/>
                      <a:pt x="484" y="360"/>
                      <a:pt x="484" y="338"/>
                    </a:cubicBezTo>
                    <a:cubicBezTo>
                      <a:pt x="484" y="334"/>
                      <a:pt x="483" y="330"/>
                      <a:pt x="482" y="326"/>
                    </a:cubicBezTo>
                    <a:cubicBezTo>
                      <a:pt x="480" y="321"/>
                      <a:pt x="478" y="316"/>
                      <a:pt x="474" y="311"/>
                    </a:cubicBezTo>
                    <a:cubicBezTo>
                      <a:pt x="467" y="303"/>
                      <a:pt x="455" y="297"/>
                      <a:pt x="443" y="297"/>
                    </a:cubicBezTo>
                    <a:cubicBezTo>
                      <a:pt x="431" y="297"/>
                      <a:pt x="419" y="303"/>
                      <a:pt x="412" y="311"/>
                    </a:cubicBezTo>
                    <a:cubicBezTo>
                      <a:pt x="408" y="316"/>
                      <a:pt x="406" y="321"/>
                      <a:pt x="404" y="326"/>
                    </a:cubicBezTo>
                    <a:cubicBezTo>
                      <a:pt x="403" y="330"/>
                      <a:pt x="402" y="334"/>
                      <a:pt x="402" y="338"/>
                    </a:cubicBezTo>
                    <a:close/>
                    <a:moveTo>
                      <a:pt x="270" y="574"/>
                    </a:moveTo>
                    <a:cubicBezTo>
                      <a:pt x="286" y="574"/>
                      <a:pt x="286" y="574"/>
                      <a:pt x="286" y="574"/>
                    </a:cubicBezTo>
                    <a:cubicBezTo>
                      <a:pt x="347" y="574"/>
                      <a:pt x="347" y="574"/>
                      <a:pt x="347" y="574"/>
                    </a:cubicBezTo>
                    <a:cubicBezTo>
                      <a:pt x="347" y="442"/>
                      <a:pt x="347" y="442"/>
                      <a:pt x="347" y="442"/>
                    </a:cubicBezTo>
                    <a:cubicBezTo>
                      <a:pt x="347" y="421"/>
                      <a:pt x="330" y="403"/>
                      <a:pt x="309" y="403"/>
                    </a:cubicBezTo>
                    <a:cubicBezTo>
                      <a:pt x="300" y="403"/>
                      <a:pt x="293" y="406"/>
                      <a:pt x="286" y="410"/>
                    </a:cubicBezTo>
                    <a:cubicBezTo>
                      <a:pt x="276" y="417"/>
                      <a:pt x="270" y="429"/>
                      <a:pt x="270" y="442"/>
                    </a:cubicBezTo>
                    <a:lnTo>
                      <a:pt x="270" y="5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34" name="Group 133">
            <a:extLst>
              <a:ext uri="{FF2B5EF4-FFF2-40B4-BE49-F238E27FC236}">
                <a16:creationId xmlns:a16="http://schemas.microsoft.com/office/drawing/2014/main" id="{D578545B-1022-4A80-BADF-F0750B7D327A}"/>
              </a:ext>
            </a:extLst>
          </p:cNvPr>
          <p:cNvGrpSpPr/>
          <p:nvPr/>
        </p:nvGrpSpPr>
        <p:grpSpPr>
          <a:xfrm>
            <a:off x="8117917" y="4083751"/>
            <a:ext cx="1417584" cy="1417584"/>
            <a:chOff x="13242330" y="1494222"/>
            <a:chExt cx="1417584" cy="1417584"/>
          </a:xfrm>
        </p:grpSpPr>
        <p:sp>
          <p:nvSpPr>
            <p:cNvPr id="135" name="Oval 134">
              <a:extLst>
                <a:ext uri="{FF2B5EF4-FFF2-40B4-BE49-F238E27FC236}">
                  <a16:creationId xmlns:a16="http://schemas.microsoft.com/office/drawing/2014/main" id="{94FF8059-53A4-4ED5-98D0-CF88E91D3336}"/>
                </a:ext>
              </a:extLst>
            </p:cNvPr>
            <p:cNvSpPr/>
            <p:nvPr/>
          </p:nvSpPr>
          <p:spPr>
            <a:xfrm>
              <a:off x="13242330" y="1494222"/>
              <a:ext cx="1417584" cy="1417584"/>
            </a:xfrm>
            <a:prstGeom prst="ellipse">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4">
              <a:extLst>
                <a:ext uri="{FF2B5EF4-FFF2-40B4-BE49-F238E27FC236}">
                  <a16:creationId xmlns:a16="http://schemas.microsoft.com/office/drawing/2014/main" id="{8CE1B636-2975-4765-AFB0-08C6554810DB}"/>
                </a:ext>
              </a:extLst>
            </p:cNvPr>
            <p:cNvGrpSpPr>
              <a:grpSpLocks noChangeAspect="1"/>
            </p:cNvGrpSpPr>
            <p:nvPr/>
          </p:nvGrpSpPr>
          <p:grpSpPr bwMode="auto">
            <a:xfrm>
              <a:off x="13485602" y="1737494"/>
              <a:ext cx="931041" cy="931041"/>
              <a:chOff x="2652" y="972"/>
              <a:chExt cx="2376" cy="2376"/>
            </a:xfrm>
          </p:grpSpPr>
          <p:sp>
            <p:nvSpPr>
              <p:cNvPr id="137" name="AutoShape 3">
                <a:extLst>
                  <a:ext uri="{FF2B5EF4-FFF2-40B4-BE49-F238E27FC236}">
                    <a16:creationId xmlns:a16="http://schemas.microsoft.com/office/drawing/2014/main" id="{6C7A0B8B-D194-4A40-965D-556BC73E9768}"/>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5">
                <a:extLst>
                  <a:ext uri="{FF2B5EF4-FFF2-40B4-BE49-F238E27FC236}">
                    <a16:creationId xmlns:a16="http://schemas.microsoft.com/office/drawing/2014/main" id="{BFBA9AAD-1105-406A-B7E5-35C59AA64F0A}"/>
                  </a:ext>
                </a:extLst>
              </p:cNvPr>
              <p:cNvSpPr>
                <a:spLocks noEditPoints="1"/>
              </p:cNvSpPr>
              <p:nvPr/>
            </p:nvSpPr>
            <p:spPr bwMode="auto">
              <a:xfrm>
                <a:off x="2738" y="1357"/>
                <a:ext cx="2257" cy="1608"/>
              </a:xfrm>
              <a:custGeom>
                <a:avLst/>
                <a:gdLst>
                  <a:gd name="T0" fmla="*/ 329 w 949"/>
                  <a:gd name="T1" fmla="*/ 466 h 676"/>
                  <a:gd name="T2" fmla="*/ 341 w 949"/>
                  <a:gd name="T3" fmla="*/ 423 h 676"/>
                  <a:gd name="T4" fmla="*/ 377 w 949"/>
                  <a:gd name="T5" fmla="*/ 352 h 676"/>
                  <a:gd name="T6" fmla="*/ 356 w 949"/>
                  <a:gd name="T7" fmla="*/ 315 h 676"/>
                  <a:gd name="T8" fmla="*/ 339 w 949"/>
                  <a:gd name="T9" fmla="*/ 270 h 676"/>
                  <a:gd name="T10" fmla="*/ 331 w 949"/>
                  <a:gd name="T11" fmla="*/ 220 h 676"/>
                  <a:gd name="T12" fmla="*/ 353 w 949"/>
                  <a:gd name="T13" fmla="*/ 151 h 676"/>
                  <a:gd name="T14" fmla="*/ 38 w 949"/>
                  <a:gd name="T15" fmla="*/ 225 h 676"/>
                  <a:gd name="T16" fmla="*/ 93 w 949"/>
                  <a:gd name="T17" fmla="*/ 443 h 676"/>
                  <a:gd name="T18" fmla="*/ 93 w 949"/>
                  <a:gd name="T19" fmla="*/ 509 h 676"/>
                  <a:gd name="T20" fmla="*/ 245 w 949"/>
                  <a:gd name="T21" fmla="*/ 543 h 676"/>
                  <a:gd name="T22" fmla="*/ 254 w 949"/>
                  <a:gd name="T23" fmla="*/ 534 h 676"/>
                  <a:gd name="T24" fmla="*/ 263 w 949"/>
                  <a:gd name="T25" fmla="*/ 87 h 676"/>
                  <a:gd name="T26" fmla="*/ 464 w 949"/>
                  <a:gd name="T27" fmla="*/ 18 h 676"/>
                  <a:gd name="T28" fmla="*/ 625 w 949"/>
                  <a:gd name="T29" fmla="*/ 70 h 676"/>
                  <a:gd name="T30" fmla="*/ 626 w 949"/>
                  <a:gd name="T31" fmla="*/ 88 h 676"/>
                  <a:gd name="T32" fmla="*/ 666 w 949"/>
                  <a:gd name="T33" fmla="*/ 87 h 676"/>
                  <a:gd name="T34" fmla="*/ 667 w 949"/>
                  <a:gd name="T35" fmla="*/ 86 h 676"/>
                  <a:gd name="T36" fmla="*/ 668 w 949"/>
                  <a:gd name="T37" fmla="*/ 86 h 676"/>
                  <a:gd name="T38" fmla="*/ 671 w 949"/>
                  <a:gd name="T39" fmla="*/ 84 h 676"/>
                  <a:gd name="T40" fmla="*/ 673 w 949"/>
                  <a:gd name="T41" fmla="*/ 83 h 676"/>
                  <a:gd name="T42" fmla="*/ 674 w 949"/>
                  <a:gd name="T43" fmla="*/ 81 h 676"/>
                  <a:gd name="T44" fmla="*/ 675 w 949"/>
                  <a:gd name="T45" fmla="*/ 78 h 676"/>
                  <a:gd name="T46" fmla="*/ 675 w 949"/>
                  <a:gd name="T47" fmla="*/ 76 h 676"/>
                  <a:gd name="T48" fmla="*/ 661 w 949"/>
                  <a:gd name="T49" fmla="*/ 37 h 676"/>
                  <a:gd name="T50" fmla="*/ 644 w 949"/>
                  <a:gd name="T51" fmla="*/ 43 h 676"/>
                  <a:gd name="T52" fmla="*/ 464 w 949"/>
                  <a:gd name="T53" fmla="*/ 0 h 676"/>
                  <a:gd name="T54" fmla="*/ 255 w 949"/>
                  <a:gd name="T55" fmla="*/ 83 h 676"/>
                  <a:gd name="T56" fmla="*/ 660 w 949"/>
                  <a:gd name="T57" fmla="*/ 591 h 676"/>
                  <a:gd name="T58" fmla="*/ 290 w 949"/>
                  <a:gd name="T59" fmla="*/ 607 h 676"/>
                  <a:gd name="T60" fmla="*/ 311 w 949"/>
                  <a:gd name="T61" fmla="*/ 597 h 676"/>
                  <a:gd name="T62" fmla="*/ 262 w 949"/>
                  <a:gd name="T63" fmla="*/ 589 h 676"/>
                  <a:gd name="T64" fmla="*/ 261 w 949"/>
                  <a:gd name="T65" fmla="*/ 590 h 676"/>
                  <a:gd name="T66" fmla="*/ 260 w 949"/>
                  <a:gd name="T67" fmla="*/ 590 h 676"/>
                  <a:gd name="T68" fmla="*/ 257 w 949"/>
                  <a:gd name="T69" fmla="*/ 592 h 676"/>
                  <a:gd name="T70" fmla="*/ 255 w 949"/>
                  <a:gd name="T71" fmla="*/ 593 h 676"/>
                  <a:gd name="T72" fmla="*/ 254 w 949"/>
                  <a:gd name="T73" fmla="*/ 596 h 676"/>
                  <a:gd name="T74" fmla="*/ 253 w 949"/>
                  <a:gd name="T75" fmla="*/ 600 h 676"/>
                  <a:gd name="T76" fmla="*/ 254 w 949"/>
                  <a:gd name="T77" fmla="*/ 601 h 676"/>
                  <a:gd name="T78" fmla="*/ 276 w 949"/>
                  <a:gd name="T79" fmla="*/ 645 h 676"/>
                  <a:gd name="T80" fmla="*/ 284 w 949"/>
                  <a:gd name="T81" fmla="*/ 633 h 676"/>
                  <a:gd name="T82" fmla="*/ 464 w 949"/>
                  <a:gd name="T83" fmla="*/ 676 h 676"/>
                  <a:gd name="T84" fmla="*/ 673 w 949"/>
                  <a:gd name="T85" fmla="*/ 593 h 676"/>
                  <a:gd name="T86" fmla="*/ 876 w 949"/>
                  <a:gd name="T87" fmla="*/ 228 h 676"/>
                  <a:gd name="T88" fmla="*/ 583 w 949"/>
                  <a:gd name="T89" fmla="*/ 202 h 676"/>
                  <a:gd name="T90" fmla="*/ 586 w 949"/>
                  <a:gd name="T91" fmla="*/ 206 h 676"/>
                  <a:gd name="T92" fmla="*/ 578 w 949"/>
                  <a:gd name="T93" fmla="*/ 258 h 676"/>
                  <a:gd name="T94" fmla="*/ 575 w 949"/>
                  <a:gd name="T95" fmla="*/ 300 h 676"/>
                  <a:gd name="T96" fmla="*/ 542 w 949"/>
                  <a:gd name="T97" fmla="*/ 362 h 676"/>
                  <a:gd name="T98" fmla="*/ 579 w 949"/>
                  <a:gd name="T99" fmla="*/ 408 h 676"/>
                  <a:gd name="T100" fmla="*/ 639 w 949"/>
                  <a:gd name="T101" fmla="*/ 471 h 676"/>
                  <a:gd name="T102" fmla="*/ 668 w 949"/>
                  <a:gd name="T103" fmla="*/ 538 h 676"/>
                  <a:gd name="T104" fmla="*/ 685 w 949"/>
                  <a:gd name="T105" fmla="*/ 548 h 676"/>
                  <a:gd name="T106" fmla="*/ 792 w 949"/>
                  <a:gd name="T107" fmla="*/ 515 h 676"/>
                  <a:gd name="T108" fmla="*/ 792 w 949"/>
                  <a:gd name="T109" fmla="*/ 47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9" h="676">
                    <a:moveTo>
                      <a:pt x="254" y="470"/>
                    </a:moveTo>
                    <a:cubicBezTo>
                      <a:pt x="292" y="474"/>
                      <a:pt x="321" y="470"/>
                      <a:pt x="329" y="466"/>
                    </a:cubicBezTo>
                    <a:cubicBezTo>
                      <a:pt x="339" y="461"/>
                      <a:pt x="339" y="448"/>
                      <a:pt x="341" y="425"/>
                    </a:cubicBezTo>
                    <a:cubicBezTo>
                      <a:pt x="341" y="425"/>
                      <a:pt x="341" y="425"/>
                      <a:pt x="341" y="423"/>
                    </a:cubicBezTo>
                    <a:cubicBezTo>
                      <a:pt x="342" y="408"/>
                      <a:pt x="340" y="385"/>
                      <a:pt x="339" y="372"/>
                    </a:cubicBezTo>
                    <a:cubicBezTo>
                      <a:pt x="367" y="371"/>
                      <a:pt x="375" y="357"/>
                      <a:pt x="377" y="352"/>
                    </a:cubicBezTo>
                    <a:cubicBezTo>
                      <a:pt x="380" y="341"/>
                      <a:pt x="370" y="330"/>
                      <a:pt x="359" y="319"/>
                    </a:cubicBezTo>
                    <a:cubicBezTo>
                      <a:pt x="358" y="317"/>
                      <a:pt x="357" y="316"/>
                      <a:pt x="356" y="315"/>
                    </a:cubicBezTo>
                    <a:cubicBezTo>
                      <a:pt x="351" y="310"/>
                      <a:pt x="346" y="299"/>
                      <a:pt x="341" y="284"/>
                    </a:cubicBezTo>
                    <a:cubicBezTo>
                      <a:pt x="339" y="282"/>
                      <a:pt x="339" y="276"/>
                      <a:pt x="339" y="270"/>
                    </a:cubicBezTo>
                    <a:cubicBezTo>
                      <a:pt x="338" y="262"/>
                      <a:pt x="337" y="252"/>
                      <a:pt x="335" y="245"/>
                    </a:cubicBezTo>
                    <a:cubicBezTo>
                      <a:pt x="332" y="239"/>
                      <a:pt x="332" y="228"/>
                      <a:pt x="331" y="220"/>
                    </a:cubicBezTo>
                    <a:cubicBezTo>
                      <a:pt x="330" y="203"/>
                      <a:pt x="330" y="203"/>
                      <a:pt x="330" y="203"/>
                    </a:cubicBezTo>
                    <a:cubicBezTo>
                      <a:pt x="335" y="182"/>
                      <a:pt x="363" y="151"/>
                      <a:pt x="353" y="151"/>
                    </a:cubicBezTo>
                    <a:cubicBezTo>
                      <a:pt x="260" y="153"/>
                      <a:pt x="293" y="127"/>
                      <a:pt x="192" y="127"/>
                    </a:cubicBezTo>
                    <a:cubicBezTo>
                      <a:pt x="104" y="127"/>
                      <a:pt x="60" y="180"/>
                      <a:pt x="38" y="225"/>
                    </a:cubicBezTo>
                    <a:cubicBezTo>
                      <a:pt x="0" y="306"/>
                      <a:pt x="62" y="387"/>
                      <a:pt x="93" y="419"/>
                    </a:cubicBezTo>
                    <a:cubicBezTo>
                      <a:pt x="93" y="443"/>
                      <a:pt x="93" y="443"/>
                      <a:pt x="93" y="443"/>
                    </a:cubicBezTo>
                    <a:cubicBezTo>
                      <a:pt x="93" y="443"/>
                      <a:pt x="93" y="443"/>
                      <a:pt x="93" y="473"/>
                    </a:cubicBezTo>
                    <a:cubicBezTo>
                      <a:pt x="93" y="509"/>
                      <a:pt x="93" y="509"/>
                      <a:pt x="93" y="509"/>
                    </a:cubicBezTo>
                    <a:cubicBezTo>
                      <a:pt x="93" y="513"/>
                      <a:pt x="95" y="516"/>
                      <a:pt x="99" y="518"/>
                    </a:cubicBezTo>
                    <a:cubicBezTo>
                      <a:pt x="160" y="543"/>
                      <a:pt x="238" y="543"/>
                      <a:pt x="245" y="543"/>
                    </a:cubicBezTo>
                    <a:cubicBezTo>
                      <a:pt x="245" y="543"/>
                      <a:pt x="245" y="543"/>
                      <a:pt x="245" y="543"/>
                    </a:cubicBezTo>
                    <a:cubicBezTo>
                      <a:pt x="250" y="543"/>
                      <a:pt x="254" y="539"/>
                      <a:pt x="254" y="534"/>
                    </a:cubicBezTo>
                    <a:cubicBezTo>
                      <a:pt x="254" y="534"/>
                      <a:pt x="254" y="534"/>
                      <a:pt x="254" y="470"/>
                    </a:cubicBezTo>
                    <a:close/>
                    <a:moveTo>
                      <a:pt x="263" y="87"/>
                    </a:moveTo>
                    <a:cubicBezTo>
                      <a:pt x="265" y="87"/>
                      <a:pt x="267" y="86"/>
                      <a:pt x="268" y="85"/>
                    </a:cubicBezTo>
                    <a:cubicBezTo>
                      <a:pt x="325" y="41"/>
                      <a:pt x="392" y="18"/>
                      <a:pt x="464" y="18"/>
                    </a:cubicBezTo>
                    <a:cubicBezTo>
                      <a:pt x="527" y="18"/>
                      <a:pt x="586" y="36"/>
                      <a:pt x="638" y="69"/>
                    </a:cubicBezTo>
                    <a:cubicBezTo>
                      <a:pt x="625" y="70"/>
                      <a:pt x="625" y="70"/>
                      <a:pt x="625" y="70"/>
                    </a:cubicBezTo>
                    <a:cubicBezTo>
                      <a:pt x="620" y="70"/>
                      <a:pt x="616" y="74"/>
                      <a:pt x="617" y="79"/>
                    </a:cubicBezTo>
                    <a:cubicBezTo>
                      <a:pt x="617" y="84"/>
                      <a:pt x="621" y="88"/>
                      <a:pt x="626" y="88"/>
                    </a:cubicBezTo>
                    <a:cubicBezTo>
                      <a:pt x="626" y="88"/>
                      <a:pt x="626" y="88"/>
                      <a:pt x="626" y="88"/>
                    </a:cubicBezTo>
                    <a:cubicBezTo>
                      <a:pt x="666" y="87"/>
                      <a:pt x="666" y="87"/>
                      <a:pt x="666" y="87"/>
                    </a:cubicBezTo>
                    <a:cubicBezTo>
                      <a:pt x="666" y="87"/>
                      <a:pt x="666" y="87"/>
                      <a:pt x="666" y="86"/>
                    </a:cubicBezTo>
                    <a:cubicBezTo>
                      <a:pt x="667" y="86"/>
                      <a:pt x="667" y="86"/>
                      <a:pt x="667" y="86"/>
                    </a:cubicBezTo>
                    <a:cubicBezTo>
                      <a:pt x="668" y="86"/>
                      <a:pt x="668" y="86"/>
                      <a:pt x="668" y="86"/>
                    </a:cubicBezTo>
                    <a:cubicBezTo>
                      <a:pt x="668" y="86"/>
                      <a:pt x="668" y="86"/>
                      <a:pt x="668" y="86"/>
                    </a:cubicBezTo>
                    <a:cubicBezTo>
                      <a:pt x="669" y="86"/>
                      <a:pt x="669" y="85"/>
                      <a:pt x="670" y="85"/>
                    </a:cubicBezTo>
                    <a:cubicBezTo>
                      <a:pt x="670" y="85"/>
                      <a:pt x="671" y="85"/>
                      <a:pt x="671" y="84"/>
                    </a:cubicBezTo>
                    <a:cubicBezTo>
                      <a:pt x="672" y="84"/>
                      <a:pt x="672" y="83"/>
                      <a:pt x="672" y="83"/>
                    </a:cubicBezTo>
                    <a:cubicBezTo>
                      <a:pt x="673" y="83"/>
                      <a:pt x="673" y="83"/>
                      <a:pt x="673" y="83"/>
                    </a:cubicBezTo>
                    <a:cubicBezTo>
                      <a:pt x="673" y="82"/>
                      <a:pt x="673" y="82"/>
                      <a:pt x="673" y="81"/>
                    </a:cubicBezTo>
                    <a:cubicBezTo>
                      <a:pt x="674" y="81"/>
                      <a:pt x="674" y="81"/>
                      <a:pt x="674" y="81"/>
                    </a:cubicBezTo>
                    <a:cubicBezTo>
                      <a:pt x="674" y="81"/>
                      <a:pt x="674" y="80"/>
                      <a:pt x="674" y="80"/>
                    </a:cubicBezTo>
                    <a:cubicBezTo>
                      <a:pt x="674" y="79"/>
                      <a:pt x="675" y="79"/>
                      <a:pt x="675" y="78"/>
                    </a:cubicBezTo>
                    <a:cubicBezTo>
                      <a:pt x="675" y="76"/>
                      <a:pt x="675" y="76"/>
                      <a:pt x="675" y="76"/>
                    </a:cubicBezTo>
                    <a:cubicBezTo>
                      <a:pt x="675" y="76"/>
                      <a:pt x="675" y="76"/>
                      <a:pt x="675" y="76"/>
                    </a:cubicBezTo>
                    <a:cubicBezTo>
                      <a:pt x="674" y="76"/>
                      <a:pt x="674" y="75"/>
                      <a:pt x="674" y="75"/>
                    </a:cubicBezTo>
                    <a:cubicBezTo>
                      <a:pt x="661" y="37"/>
                      <a:pt x="661" y="37"/>
                      <a:pt x="661" y="37"/>
                    </a:cubicBezTo>
                    <a:cubicBezTo>
                      <a:pt x="660" y="32"/>
                      <a:pt x="655" y="30"/>
                      <a:pt x="650" y="32"/>
                    </a:cubicBezTo>
                    <a:cubicBezTo>
                      <a:pt x="645" y="33"/>
                      <a:pt x="642" y="38"/>
                      <a:pt x="644" y="43"/>
                    </a:cubicBezTo>
                    <a:cubicBezTo>
                      <a:pt x="647" y="54"/>
                      <a:pt x="647" y="54"/>
                      <a:pt x="647" y="54"/>
                    </a:cubicBezTo>
                    <a:cubicBezTo>
                      <a:pt x="593" y="18"/>
                      <a:pt x="530" y="0"/>
                      <a:pt x="464" y="0"/>
                    </a:cubicBezTo>
                    <a:cubicBezTo>
                      <a:pt x="388" y="0"/>
                      <a:pt x="317" y="24"/>
                      <a:pt x="257" y="70"/>
                    </a:cubicBezTo>
                    <a:cubicBezTo>
                      <a:pt x="253" y="73"/>
                      <a:pt x="252" y="79"/>
                      <a:pt x="255" y="83"/>
                    </a:cubicBezTo>
                    <a:cubicBezTo>
                      <a:pt x="257" y="85"/>
                      <a:pt x="260" y="87"/>
                      <a:pt x="263" y="87"/>
                    </a:cubicBezTo>
                    <a:close/>
                    <a:moveTo>
                      <a:pt x="660" y="591"/>
                    </a:moveTo>
                    <a:cubicBezTo>
                      <a:pt x="603" y="635"/>
                      <a:pt x="536" y="658"/>
                      <a:pt x="464" y="658"/>
                    </a:cubicBezTo>
                    <a:cubicBezTo>
                      <a:pt x="401" y="658"/>
                      <a:pt x="342" y="640"/>
                      <a:pt x="290" y="607"/>
                    </a:cubicBezTo>
                    <a:cubicBezTo>
                      <a:pt x="303" y="606"/>
                      <a:pt x="303" y="606"/>
                      <a:pt x="303" y="606"/>
                    </a:cubicBezTo>
                    <a:cubicBezTo>
                      <a:pt x="308" y="606"/>
                      <a:pt x="312" y="602"/>
                      <a:pt x="311" y="597"/>
                    </a:cubicBezTo>
                    <a:cubicBezTo>
                      <a:pt x="311" y="592"/>
                      <a:pt x="307" y="587"/>
                      <a:pt x="302" y="588"/>
                    </a:cubicBezTo>
                    <a:cubicBezTo>
                      <a:pt x="262" y="589"/>
                      <a:pt x="262" y="589"/>
                      <a:pt x="262" y="589"/>
                    </a:cubicBezTo>
                    <a:cubicBezTo>
                      <a:pt x="262" y="589"/>
                      <a:pt x="262" y="589"/>
                      <a:pt x="262" y="590"/>
                    </a:cubicBezTo>
                    <a:cubicBezTo>
                      <a:pt x="261" y="590"/>
                      <a:pt x="261" y="590"/>
                      <a:pt x="261" y="590"/>
                    </a:cubicBezTo>
                    <a:cubicBezTo>
                      <a:pt x="260" y="590"/>
                      <a:pt x="260" y="590"/>
                      <a:pt x="260" y="590"/>
                    </a:cubicBezTo>
                    <a:cubicBezTo>
                      <a:pt x="260" y="590"/>
                      <a:pt x="260" y="590"/>
                      <a:pt x="260" y="590"/>
                    </a:cubicBezTo>
                    <a:cubicBezTo>
                      <a:pt x="259" y="590"/>
                      <a:pt x="259" y="590"/>
                      <a:pt x="258" y="590"/>
                    </a:cubicBezTo>
                    <a:cubicBezTo>
                      <a:pt x="258" y="591"/>
                      <a:pt x="257" y="591"/>
                      <a:pt x="257" y="592"/>
                    </a:cubicBezTo>
                    <a:cubicBezTo>
                      <a:pt x="256" y="592"/>
                      <a:pt x="256" y="592"/>
                      <a:pt x="256" y="593"/>
                    </a:cubicBezTo>
                    <a:cubicBezTo>
                      <a:pt x="255" y="593"/>
                      <a:pt x="255" y="593"/>
                      <a:pt x="255" y="593"/>
                    </a:cubicBezTo>
                    <a:cubicBezTo>
                      <a:pt x="255" y="594"/>
                      <a:pt x="255" y="594"/>
                      <a:pt x="254" y="595"/>
                    </a:cubicBezTo>
                    <a:cubicBezTo>
                      <a:pt x="254" y="595"/>
                      <a:pt x="254" y="595"/>
                      <a:pt x="254" y="596"/>
                    </a:cubicBezTo>
                    <a:cubicBezTo>
                      <a:pt x="254" y="597"/>
                      <a:pt x="253" y="597"/>
                      <a:pt x="253" y="598"/>
                    </a:cubicBezTo>
                    <a:cubicBezTo>
                      <a:pt x="253" y="600"/>
                      <a:pt x="253" y="600"/>
                      <a:pt x="253" y="600"/>
                    </a:cubicBezTo>
                    <a:cubicBezTo>
                      <a:pt x="253" y="600"/>
                      <a:pt x="253" y="600"/>
                      <a:pt x="253" y="600"/>
                    </a:cubicBezTo>
                    <a:cubicBezTo>
                      <a:pt x="254" y="600"/>
                      <a:pt x="254" y="601"/>
                      <a:pt x="254" y="601"/>
                    </a:cubicBezTo>
                    <a:cubicBezTo>
                      <a:pt x="267" y="639"/>
                      <a:pt x="267" y="639"/>
                      <a:pt x="267" y="639"/>
                    </a:cubicBezTo>
                    <a:cubicBezTo>
                      <a:pt x="268" y="643"/>
                      <a:pt x="271" y="645"/>
                      <a:pt x="276" y="645"/>
                    </a:cubicBezTo>
                    <a:cubicBezTo>
                      <a:pt x="276" y="645"/>
                      <a:pt x="277" y="645"/>
                      <a:pt x="278" y="644"/>
                    </a:cubicBezTo>
                    <a:cubicBezTo>
                      <a:pt x="283" y="643"/>
                      <a:pt x="286" y="638"/>
                      <a:pt x="284" y="633"/>
                    </a:cubicBezTo>
                    <a:cubicBezTo>
                      <a:pt x="281" y="622"/>
                      <a:pt x="281" y="622"/>
                      <a:pt x="281" y="622"/>
                    </a:cubicBezTo>
                    <a:cubicBezTo>
                      <a:pt x="335" y="658"/>
                      <a:pt x="398" y="676"/>
                      <a:pt x="464" y="676"/>
                    </a:cubicBezTo>
                    <a:cubicBezTo>
                      <a:pt x="540" y="676"/>
                      <a:pt x="611" y="652"/>
                      <a:pt x="671" y="606"/>
                    </a:cubicBezTo>
                    <a:cubicBezTo>
                      <a:pt x="675" y="602"/>
                      <a:pt x="676" y="597"/>
                      <a:pt x="673" y="593"/>
                    </a:cubicBezTo>
                    <a:cubicBezTo>
                      <a:pt x="670" y="589"/>
                      <a:pt x="664" y="588"/>
                      <a:pt x="660" y="591"/>
                    </a:cubicBezTo>
                    <a:close/>
                    <a:moveTo>
                      <a:pt x="876" y="228"/>
                    </a:moveTo>
                    <a:cubicBezTo>
                      <a:pt x="855" y="183"/>
                      <a:pt x="803" y="136"/>
                      <a:pt x="717" y="136"/>
                    </a:cubicBezTo>
                    <a:cubicBezTo>
                      <a:pt x="620" y="136"/>
                      <a:pt x="579" y="181"/>
                      <a:pt x="583" y="202"/>
                    </a:cubicBezTo>
                    <a:cubicBezTo>
                      <a:pt x="584" y="203"/>
                      <a:pt x="585" y="205"/>
                      <a:pt x="586" y="206"/>
                    </a:cubicBezTo>
                    <a:cubicBezTo>
                      <a:pt x="586" y="206"/>
                      <a:pt x="586" y="206"/>
                      <a:pt x="586" y="206"/>
                    </a:cubicBezTo>
                    <a:cubicBezTo>
                      <a:pt x="582" y="232"/>
                      <a:pt x="582" y="232"/>
                      <a:pt x="582" y="232"/>
                    </a:cubicBezTo>
                    <a:cubicBezTo>
                      <a:pt x="580" y="240"/>
                      <a:pt x="578" y="251"/>
                      <a:pt x="578" y="258"/>
                    </a:cubicBezTo>
                    <a:cubicBezTo>
                      <a:pt x="577" y="262"/>
                      <a:pt x="577" y="268"/>
                      <a:pt x="577" y="275"/>
                    </a:cubicBezTo>
                    <a:cubicBezTo>
                      <a:pt x="577" y="283"/>
                      <a:pt x="576" y="297"/>
                      <a:pt x="575" y="300"/>
                    </a:cubicBezTo>
                    <a:cubicBezTo>
                      <a:pt x="571" y="308"/>
                      <a:pt x="565" y="320"/>
                      <a:pt x="558" y="327"/>
                    </a:cubicBezTo>
                    <a:cubicBezTo>
                      <a:pt x="550" y="335"/>
                      <a:pt x="538" y="351"/>
                      <a:pt x="542" y="362"/>
                    </a:cubicBezTo>
                    <a:cubicBezTo>
                      <a:pt x="545" y="368"/>
                      <a:pt x="556" y="380"/>
                      <a:pt x="580" y="380"/>
                    </a:cubicBezTo>
                    <a:cubicBezTo>
                      <a:pt x="580" y="388"/>
                      <a:pt x="579" y="397"/>
                      <a:pt x="579" y="408"/>
                    </a:cubicBezTo>
                    <a:cubicBezTo>
                      <a:pt x="579" y="446"/>
                      <a:pt x="584" y="456"/>
                      <a:pt x="588" y="461"/>
                    </a:cubicBezTo>
                    <a:cubicBezTo>
                      <a:pt x="593" y="466"/>
                      <a:pt x="603" y="471"/>
                      <a:pt x="639" y="471"/>
                    </a:cubicBezTo>
                    <a:cubicBezTo>
                      <a:pt x="645" y="471"/>
                      <a:pt x="658" y="470"/>
                      <a:pt x="668" y="469"/>
                    </a:cubicBezTo>
                    <a:cubicBezTo>
                      <a:pt x="668" y="538"/>
                      <a:pt x="668" y="538"/>
                      <a:pt x="668" y="538"/>
                    </a:cubicBezTo>
                    <a:cubicBezTo>
                      <a:pt x="668" y="543"/>
                      <a:pt x="671" y="547"/>
                      <a:pt x="676" y="547"/>
                    </a:cubicBezTo>
                    <a:cubicBezTo>
                      <a:pt x="676" y="547"/>
                      <a:pt x="680" y="548"/>
                      <a:pt x="685" y="548"/>
                    </a:cubicBezTo>
                    <a:cubicBezTo>
                      <a:pt x="705" y="548"/>
                      <a:pt x="751" y="545"/>
                      <a:pt x="788" y="523"/>
                    </a:cubicBezTo>
                    <a:cubicBezTo>
                      <a:pt x="790" y="521"/>
                      <a:pt x="792" y="518"/>
                      <a:pt x="792" y="515"/>
                    </a:cubicBezTo>
                    <a:cubicBezTo>
                      <a:pt x="792" y="490"/>
                      <a:pt x="792" y="490"/>
                      <a:pt x="792" y="490"/>
                    </a:cubicBezTo>
                    <a:cubicBezTo>
                      <a:pt x="792" y="472"/>
                      <a:pt x="792" y="472"/>
                      <a:pt x="792" y="472"/>
                    </a:cubicBezTo>
                    <a:cubicBezTo>
                      <a:pt x="851" y="449"/>
                      <a:pt x="949" y="379"/>
                      <a:pt x="876" y="2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9" name="Group 138">
            <a:extLst>
              <a:ext uri="{FF2B5EF4-FFF2-40B4-BE49-F238E27FC236}">
                <a16:creationId xmlns:a16="http://schemas.microsoft.com/office/drawing/2014/main" id="{00B34EE8-4830-47AC-BCA4-885979E8D656}"/>
              </a:ext>
            </a:extLst>
          </p:cNvPr>
          <p:cNvGrpSpPr/>
          <p:nvPr/>
        </p:nvGrpSpPr>
        <p:grpSpPr>
          <a:xfrm>
            <a:off x="9903355" y="2307284"/>
            <a:ext cx="1417584" cy="1417584"/>
            <a:chOff x="12431725" y="2974076"/>
            <a:chExt cx="1417584" cy="1417584"/>
          </a:xfrm>
        </p:grpSpPr>
        <p:sp>
          <p:nvSpPr>
            <p:cNvPr id="140" name="Oval 139">
              <a:extLst>
                <a:ext uri="{FF2B5EF4-FFF2-40B4-BE49-F238E27FC236}">
                  <a16:creationId xmlns:a16="http://schemas.microsoft.com/office/drawing/2014/main" id="{3337A042-8631-4A93-A6A1-D6E60A4D6C9B}"/>
                </a:ext>
              </a:extLst>
            </p:cNvPr>
            <p:cNvSpPr/>
            <p:nvPr/>
          </p:nvSpPr>
          <p:spPr>
            <a:xfrm>
              <a:off x="12431725" y="2974076"/>
              <a:ext cx="1417584" cy="1417584"/>
            </a:xfrm>
            <a:prstGeom prst="ellipse">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1" name="Group 140">
              <a:extLst>
                <a:ext uri="{FF2B5EF4-FFF2-40B4-BE49-F238E27FC236}">
                  <a16:creationId xmlns:a16="http://schemas.microsoft.com/office/drawing/2014/main" id="{B49A966F-348A-4CCD-B717-A8ED6842761A}"/>
                </a:ext>
              </a:extLst>
            </p:cNvPr>
            <p:cNvGrpSpPr>
              <a:grpSpLocks noChangeAspect="1"/>
            </p:cNvGrpSpPr>
            <p:nvPr/>
          </p:nvGrpSpPr>
          <p:grpSpPr>
            <a:xfrm>
              <a:off x="12608662" y="3151014"/>
              <a:ext cx="1063708" cy="1063708"/>
              <a:chOff x="7324949" y="3200401"/>
              <a:chExt cx="457200" cy="457200"/>
            </a:xfrm>
          </p:grpSpPr>
          <p:sp>
            <p:nvSpPr>
              <p:cNvPr id="142" name="AutoShape 6">
                <a:extLst>
                  <a:ext uri="{FF2B5EF4-FFF2-40B4-BE49-F238E27FC236}">
                    <a16:creationId xmlns:a16="http://schemas.microsoft.com/office/drawing/2014/main" id="{E3CBEFFD-14AE-4F6F-941A-35A8786A2B14}"/>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8">
                <a:extLst>
                  <a:ext uri="{FF2B5EF4-FFF2-40B4-BE49-F238E27FC236}">
                    <a16:creationId xmlns:a16="http://schemas.microsoft.com/office/drawing/2014/main" id="{B8DD9E8E-3649-4C5D-9254-CF7D77634FD0}"/>
                  </a:ext>
                </a:extLst>
              </p:cNvPr>
              <p:cNvSpPr>
                <a:spLocks noEditPoints="1"/>
              </p:cNvSpPr>
              <p:nvPr/>
            </p:nvSpPr>
            <p:spPr bwMode="auto">
              <a:xfrm>
                <a:off x="7336494" y="3227918"/>
                <a:ext cx="434686" cy="402744"/>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4" name="Group 143">
            <a:extLst>
              <a:ext uri="{FF2B5EF4-FFF2-40B4-BE49-F238E27FC236}">
                <a16:creationId xmlns:a16="http://schemas.microsoft.com/office/drawing/2014/main" id="{4A4A8B1A-567A-477D-B2ED-E20B89BFE47E}"/>
              </a:ext>
            </a:extLst>
          </p:cNvPr>
          <p:cNvGrpSpPr/>
          <p:nvPr/>
        </p:nvGrpSpPr>
        <p:grpSpPr>
          <a:xfrm>
            <a:off x="6332479" y="2307284"/>
            <a:ext cx="1417584" cy="1417584"/>
            <a:chOff x="12801596" y="0"/>
            <a:chExt cx="1417584" cy="1417584"/>
          </a:xfrm>
        </p:grpSpPr>
        <p:sp>
          <p:nvSpPr>
            <p:cNvPr id="145" name="Oval 144">
              <a:extLst>
                <a:ext uri="{FF2B5EF4-FFF2-40B4-BE49-F238E27FC236}">
                  <a16:creationId xmlns:a16="http://schemas.microsoft.com/office/drawing/2014/main" id="{AB69A457-5897-4CFA-952A-2220473BF375}"/>
                </a:ext>
              </a:extLst>
            </p:cNvPr>
            <p:cNvSpPr/>
            <p:nvPr/>
          </p:nvSpPr>
          <p:spPr>
            <a:xfrm>
              <a:off x="12801596" y="0"/>
              <a:ext cx="1417584" cy="1417584"/>
            </a:xfrm>
            <a:prstGeom prst="ellipse">
              <a:avLst/>
            </a:pr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6" name="Group 145">
              <a:extLst>
                <a:ext uri="{FF2B5EF4-FFF2-40B4-BE49-F238E27FC236}">
                  <a16:creationId xmlns:a16="http://schemas.microsoft.com/office/drawing/2014/main" id="{93D5F4F1-6621-44E5-8C00-95A0B00DFD13}"/>
                </a:ext>
              </a:extLst>
            </p:cNvPr>
            <p:cNvGrpSpPr>
              <a:grpSpLocks noChangeAspect="1"/>
            </p:cNvGrpSpPr>
            <p:nvPr/>
          </p:nvGrpSpPr>
          <p:grpSpPr>
            <a:xfrm>
              <a:off x="13103509" y="301913"/>
              <a:ext cx="813759" cy="813759"/>
              <a:chOff x="7324948" y="3200401"/>
              <a:chExt cx="457198" cy="457198"/>
            </a:xfrm>
          </p:grpSpPr>
          <p:sp>
            <p:nvSpPr>
              <p:cNvPr id="147" name="AutoShape 51">
                <a:extLst>
                  <a:ext uri="{FF2B5EF4-FFF2-40B4-BE49-F238E27FC236}">
                    <a16:creationId xmlns:a16="http://schemas.microsoft.com/office/drawing/2014/main" id="{2C08D836-3A0F-44D8-B7CD-3AD18AEDB873}"/>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53">
                <a:extLst>
                  <a:ext uri="{FF2B5EF4-FFF2-40B4-BE49-F238E27FC236}">
                    <a16:creationId xmlns:a16="http://schemas.microsoft.com/office/drawing/2014/main" id="{A6036421-EBEA-4CBA-905A-C94555CF7D54}"/>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cxnSp>
        <p:nvCxnSpPr>
          <p:cNvPr id="149" name="Straight Arrow Connector 148">
            <a:extLst>
              <a:ext uri="{FF2B5EF4-FFF2-40B4-BE49-F238E27FC236}">
                <a16:creationId xmlns:a16="http://schemas.microsoft.com/office/drawing/2014/main" id="{48C3FB05-427D-4B5D-92B0-BC3EC48808DC}"/>
              </a:ext>
            </a:extLst>
          </p:cNvPr>
          <p:cNvCxnSpPr>
            <a:cxnSpLocks/>
          </p:cNvCxnSpPr>
          <p:nvPr/>
        </p:nvCxnSpPr>
        <p:spPr>
          <a:xfrm>
            <a:off x="10612146" y="3698792"/>
            <a:ext cx="0" cy="1067675"/>
          </a:xfrm>
          <a:prstGeom prst="straightConnector1">
            <a:avLst/>
          </a:prstGeom>
          <a:ln w="19050" cap="flat" cmpd="sng" algn="ctr">
            <a:solidFill>
              <a:srgbClr val="295E7E"/>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008B2B21-72F5-4672-AEFE-F58B0A76DBA2}"/>
              </a:ext>
            </a:extLst>
          </p:cNvPr>
          <p:cNvCxnSpPr>
            <a:cxnSpLocks/>
          </p:cNvCxnSpPr>
          <p:nvPr/>
        </p:nvCxnSpPr>
        <p:spPr>
          <a:xfrm flipV="1">
            <a:off x="8767422" y="3044311"/>
            <a:ext cx="0" cy="1067675"/>
          </a:xfrm>
          <a:prstGeom prst="straightConnector1">
            <a:avLst/>
          </a:prstGeom>
          <a:ln w="19050" cap="flat" cmpd="sng" algn="ctr">
            <a:solidFill>
              <a:srgbClr val="30C1D7"/>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00E81C57-B8BD-405D-B6C8-F1064B9A1182}"/>
              </a:ext>
            </a:extLst>
          </p:cNvPr>
          <p:cNvCxnSpPr>
            <a:cxnSpLocks/>
          </p:cNvCxnSpPr>
          <p:nvPr/>
        </p:nvCxnSpPr>
        <p:spPr>
          <a:xfrm flipV="1">
            <a:off x="1642916" y="2991881"/>
            <a:ext cx="0" cy="1067675"/>
          </a:xfrm>
          <a:prstGeom prst="straightConnector1">
            <a:avLst/>
          </a:prstGeom>
          <a:ln w="19050">
            <a:solidFill>
              <a:schemeClr val="tx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AE78B318-7450-4CE6-931A-546CBBB00896}"/>
              </a:ext>
            </a:extLst>
          </p:cNvPr>
          <p:cNvCxnSpPr>
            <a:cxnSpLocks/>
          </p:cNvCxnSpPr>
          <p:nvPr/>
        </p:nvCxnSpPr>
        <p:spPr>
          <a:xfrm flipV="1">
            <a:off x="5280931" y="2986739"/>
            <a:ext cx="0" cy="1067675"/>
          </a:xfrm>
          <a:prstGeom prst="straightConnector1">
            <a:avLst/>
          </a:prstGeom>
          <a:ln w="19050">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840675D5-DCF8-4693-8DC1-4F61DDA1001E}"/>
              </a:ext>
            </a:extLst>
          </p:cNvPr>
          <p:cNvCxnSpPr>
            <a:cxnSpLocks/>
          </p:cNvCxnSpPr>
          <p:nvPr/>
        </p:nvCxnSpPr>
        <p:spPr>
          <a:xfrm>
            <a:off x="3427163" y="3719145"/>
            <a:ext cx="0" cy="1067675"/>
          </a:xfrm>
          <a:prstGeom prst="straightConnector1">
            <a:avLst/>
          </a:prstGeom>
          <a:ln w="19050">
            <a:solidFill>
              <a:schemeClr val="accent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59A6016-DA2C-4E89-8B9C-0361B8F5289C}"/>
              </a:ext>
            </a:extLst>
          </p:cNvPr>
          <p:cNvCxnSpPr>
            <a:cxnSpLocks/>
          </p:cNvCxnSpPr>
          <p:nvPr/>
        </p:nvCxnSpPr>
        <p:spPr>
          <a:xfrm>
            <a:off x="7100561" y="3771900"/>
            <a:ext cx="0" cy="1067675"/>
          </a:xfrm>
          <a:prstGeom prst="straightConnector1">
            <a:avLst/>
          </a:prstGeom>
          <a:ln w="19050" cap="flat" cmpd="sng" algn="ctr">
            <a:solidFill>
              <a:srgbClr val="3EAD92"/>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ABF3F646-7F60-4065-A072-50675CBE2872}"/>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156" name="TextBox 155">
            <a:extLst>
              <a:ext uri="{FF2B5EF4-FFF2-40B4-BE49-F238E27FC236}">
                <a16:creationId xmlns:a16="http://schemas.microsoft.com/office/drawing/2014/main" id="{BCAA56B7-D0F4-40D5-BA59-2CE7EEDE0243}"/>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157" name="TextBox 156">
            <a:extLst>
              <a:ext uri="{FF2B5EF4-FFF2-40B4-BE49-F238E27FC236}">
                <a16:creationId xmlns:a16="http://schemas.microsoft.com/office/drawing/2014/main" id="{00CF2C56-D93C-4F95-8A92-25192768299B}"/>
              </a:ext>
            </a:extLst>
          </p:cNvPr>
          <p:cNvSpPr txBox="1"/>
          <p:nvPr/>
        </p:nvSpPr>
        <p:spPr>
          <a:xfrm>
            <a:off x="9535501" y="1005448"/>
            <a:ext cx="2375282" cy="286501"/>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Illustrative, non-exhaustive</a:t>
            </a:r>
          </a:p>
        </p:txBody>
      </p:sp>
      <p:pic>
        <p:nvPicPr>
          <p:cNvPr id="55" name="Picture 54" descr="A blue sign with white text&#10;&#10;Description automatically generated with low confidence">
            <a:extLst>
              <a:ext uri="{FF2B5EF4-FFF2-40B4-BE49-F238E27FC236}">
                <a16:creationId xmlns:a16="http://schemas.microsoft.com/office/drawing/2014/main" id="{5FA2DDB3-FE9F-4905-B140-5EF7D75B7C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1352491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0050" y="2764203"/>
            <a:ext cx="3327219" cy="1314311"/>
          </a:xfrm>
        </p:spPr>
        <p:txBody>
          <a:bodyPr vert="horz"/>
          <a:lstStyle/>
          <a:p>
            <a:r>
              <a:rPr lang="en-US" cap="none" dirty="0"/>
              <a:t>Additional resources about the Digital Equity Programs</a:t>
            </a:r>
          </a:p>
        </p:txBody>
      </p:sp>
      <p:graphicFrame>
        <p:nvGraphicFramePr>
          <p:cNvPr id="6" name="Table 4">
            <a:extLst>
              <a:ext uri="{FF2B5EF4-FFF2-40B4-BE49-F238E27FC236}">
                <a16:creationId xmlns:a16="http://schemas.microsoft.com/office/drawing/2014/main" id="{1B2AFBB1-48FA-44A3-BDA4-27A94D2CCDFD}"/>
              </a:ext>
            </a:extLst>
          </p:cNvPr>
          <p:cNvGraphicFramePr>
            <a:graphicFrameLocks noGrp="1"/>
          </p:cNvGraphicFramePr>
          <p:nvPr/>
        </p:nvGraphicFramePr>
        <p:xfrm>
          <a:off x="4955257" y="1267579"/>
          <a:ext cx="6101000" cy="4436536"/>
        </p:xfrm>
        <a:graphic>
          <a:graphicData uri="http://schemas.openxmlformats.org/drawingml/2006/table">
            <a:tbl>
              <a:tblPr firstRow="1" bandRow="1">
                <a:tableStyleId>{5C22544A-7EE6-4342-B048-85BDC9FD1C3A}</a:tableStyleId>
              </a:tblPr>
              <a:tblGrid>
                <a:gridCol w="322500">
                  <a:extLst>
                    <a:ext uri="{9D8B030D-6E8A-4147-A177-3AD203B41FA5}">
                      <a16:colId xmlns:a16="http://schemas.microsoft.com/office/drawing/2014/main" val="1856943140"/>
                    </a:ext>
                  </a:extLst>
                </a:gridCol>
                <a:gridCol w="5778500">
                  <a:extLst>
                    <a:ext uri="{9D8B030D-6E8A-4147-A177-3AD203B41FA5}">
                      <a16:colId xmlns:a16="http://schemas.microsoft.com/office/drawing/2014/main" val="3659914897"/>
                    </a:ext>
                  </a:extLst>
                </a:gridCol>
              </a:tblGrid>
              <a:tr h="1109134">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Visit the InternetForAll.gov for additional information on federal funding program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2274378"/>
                  </a:ext>
                </a:extLst>
              </a:tr>
              <a:tr h="1109134">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Engage with your State or territory regarding their plans to improve high-speed Internet access and achieve digital equity</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776535"/>
                  </a:ext>
                </a:extLst>
              </a:tr>
              <a:tr h="1109134">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Submit questions to </a:t>
                      </a:r>
                      <a:r>
                        <a:rPr lang="en-US" sz="1800" b="0" i="0" u="none" strike="noStrike" kern="1200" cap="none" spc="0" normalizeH="0" baseline="0" noProof="0">
                          <a:ln>
                            <a:noFill/>
                          </a:ln>
                          <a:solidFill>
                            <a:srgbClr val="000000"/>
                          </a:solidFill>
                          <a:effectLst/>
                          <a:uLnTx/>
                          <a:uFillTx/>
                          <a:latin typeface="+mj-lt"/>
                          <a:ea typeface="+mn-ea"/>
                          <a:cs typeface="+mn-cs"/>
                        </a:rPr>
                        <a:t>digitalequity</a:t>
                      </a:r>
                      <a:r>
                        <a:rPr kumimoji="0" lang="en-US" sz="1800" b="0" i="0" u="none" strike="noStrike" kern="1200" cap="none" spc="0" normalizeH="0" baseline="0" noProof="0" dirty="0">
                          <a:ln>
                            <a:noFill/>
                          </a:ln>
                          <a:solidFill>
                            <a:srgbClr val="000000"/>
                          </a:solidFill>
                          <a:effectLst/>
                          <a:uLnTx/>
                          <a:uFillTx/>
                          <a:latin typeface="+mj-lt"/>
                          <a:ea typeface="+mn-ea"/>
                          <a:cs typeface="+mn-cs"/>
                        </a:rPr>
                        <a:t>@ntia.gov</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10691"/>
                  </a:ext>
                </a:extLst>
              </a:tr>
              <a:tr h="1109134">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Attend future NTIA webinars, including program-specific application guidance webinars for applicant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869718"/>
                  </a:ext>
                </a:extLst>
              </a:tr>
            </a:tbl>
          </a:graphicData>
        </a:graphic>
      </p:graphicFrame>
      <p:sp>
        <p:nvSpPr>
          <p:cNvPr id="7" name="Oval 20">
            <a:extLst>
              <a:ext uri="{FF2B5EF4-FFF2-40B4-BE49-F238E27FC236}">
                <a16:creationId xmlns:a16="http://schemas.microsoft.com/office/drawing/2014/main" id="{0DA4A6FF-B317-47C5-973F-4015B5E4116B}"/>
              </a:ext>
            </a:extLst>
          </p:cNvPr>
          <p:cNvSpPr>
            <a:spLocks noChangeAspect="1" noChangeArrowheads="1"/>
          </p:cNvSpPr>
          <p:nvPr/>
        </p:nvSpPr>
        <p:spPr bwMode="auto">
          <a:xfrm>
            <a:off x="4963052" y="1668691"/>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1</a:t>
            </a:r>
          </a:p>
        </p:txBody>
      </p:sp>
      <p:sp>
        <p:nvSpPr>
          <p:cNvPr id="8" name="Oval 20">
            <a:extLst>
              <a:ext uri="{FF2B5EF4-FFF2-40B4-BE49-F238E27FC236}">
                <a16:creationId xmlns:a16="http://schemas.microsoft.com/office/drawing/2014/main" id="{A2E862C3-BE20-480F-8DA7-AB9D4092F33D}"/>
              </a:ext>
            </a:extLst>
          </p:cNvPr>
          <p:cNvSpPr>
            <a:spLocks noChangeAspect="1" noChangeArrowheads="1"/>
          </p:cNvSpPr>
          <p:nvPr/>
        </p:nvSpPr>
        <p:spPr bwMode="auto">
          <a:xfrm>
            <a:off x="4963052" y="2777825"/>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2</a:t>
            </a:r>
          </a:p>
        </p:txBody>
      </p:sp>
      <p:sp>
        <p:nvSpPr>
          <p:cNvPr id="9" name="Oval 20">
            <a:extLst>
              <a:ext uri="{FF2B5EF4-FFF2-40B4-BE49-F238E27FC236}">
                <a16:creationId xmlns:a16="http://schemas.microsoft.com/office/drawing/2014/main" id="{FEBE0A93-517E-4EC3-8623-F3262C12636A}"/>
              </a:ext>
            </a:extLst>
          </p:cNvPr>
          <p:cNvSpPr>
            <a:spLocks noChangeAspect="1" noChangeArrowheads="1"/>
          </p:cNvSpPr>
          <p:nvPr/>
        </p:nvSpPr>
        <p:spPr bwMode="auto">
          <a:xfrm>
            <a:off x="4963052" y="3886959"/>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3</a:t>
            </a:r>
          </a:p>
        </p:txBody>
      </p:sp>
      <p:sp>
        <p:nvSpPr>
          <p:cNvPr id="10" name="Oval 20">
            <a:extLst>
              <a:ext uri="{FF2B5EF4-FFF2-40B4-BE49-F238E27FC236}">
                <a16:creationId xmlns:a16="http://schemas.microsoft.com/office/drawing/2014/main" id="{F780DC10-A7BF-48C3-BE68-8B2C025F72AB}"/>
              </a:ext>
            </a:extLst>
          </p:cNvPr>
          <p:cNvSpPr>
            <a:spLocks noChangeAspect="1" noChangeArrowheads="1"/>
          </p:cNvSpPr>
          <p:nvPr/>
        </p:nvSpPr>
        <p:spPr bwMode="auto">
          <a:xfrm>
            <a:off x="4963052" y="4996093"/>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4</a:t>
            </a:r>
          </a:p>
        </p:txBody>
      </p:sp>
      <p:pic>
        <p:nvPicPr>
          <p:cNvPr id="11" name="Picture 10" descr="A blue sign with white text&#10;&#10;Description automatically generated with low confidence">
            <a:extLst>
              <a:ext uri="{FF2B5EF4-FFF2-40B4-BE49-F238E27FC236}">
                <a16:creationId xmlns:a16="http://schemas.microsoft.com/office/drawing/2014/main" id="{E776EBB1-3D46-46D8-97B4-F04344E6B7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7888672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sign with white text&#10;&#10;Description automatically generated with low confidence">
            <a:extLst>
              <a:ext uri="{FF2B5EF4-FFF2-40B4-BE49-F238E27FC236}">
                <a16:creationId xmlns:a16="http://schemas.microsoft.com/office/drawing/2014/main" id="{D26D8D40-AB1E-45C4-A776-4097BB3A28E6}"/>
              </a:ext>
            </a:extLst>
          </p:cNvPr>
          <p:cNvPicPr>
            <a:picLocks noChangeAspect="1"/>
          </p:cNvPicPr>
          <p:nvPr/>
        </p:nvPicPr>
        <p:blipFill>
          <a:blip r:embed="rId3"/>
          <a:stretch>
            <a:fillRect/>
          </a:stretch>
        </p:blipFill>
        <p:spPr>
          <a:xfrm>
            <a:off x="5181600" y="4518764"/>
            <a:ext cx="1828800" cy="914400"/>
          </a:xfrm>
          <a:prstGeom prst="rect">
            <a:avLst/>
          </a:prstGeom>
        </p:spPr>
      </p:pic>
    </p:spTree>
    <p:extLst>
      <p:ext uri="{BB962C8B-B14F-4D97-AF65-F5344CB8AC3E}">
        <p14:creationId xmlns:p14="http://schemas.microsoft.com/office/powerpoint/2010/main" val="21444803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3872480"/>
            <a:ext cx="7540442" cy="695375"/>
          </a:xfrm>
        </p:spPr>
        <p:txBody>
          <a:bodyPr>
            <a:normAutofit fontScale="90000"/>
          </a:bodyPr>
          <a:lstStyle/>
          <a:p>
            <a:pPr algn="ctr"/>
            <a:r>
              <a:rPr lang="en-US" sz="3200" dirty="0"/>
              <a:t>Amy Passow, CDW</a:t>
            </a:r>
            <a:br>
              <a:rPr lang="en-US" sz="3200" dirty="0"/>
            </a:br>
            <a:br>
              <a:rPr lang="en-US" sz="3200" dirty="0"/>
            </a:b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24</a:t>
            </a:fld>
            <a:endParaRPr lang="en-US"/>
          </a:p>
        </p:txBody>
      </p:sp>
    </p:spTree>
    <p:extLst>
      <p:ext uri="{BB962C8B-B14F-4D97-AF65-F5344CB8AC3E}">
        <p14:creationId xmlns:p14="http://schemas.microsoft.com/office/powerpoint/2010/main" val="2854628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4AAB4641-21FA-4290-B5B5-722B94BB2E1D}"/>
              </a:ext>
            </a:extLst>
          </p:cNvPr>
          <p:cNvSpPr>
            <a:spLocks noGrp="1"/>
          </p:cNvSpPr>
          <p:nvPr>
            <p:ph type="subTitle" idx="1"/>
          </p:nvPr>
        </p:nvSpPr>
        <p:spPr/>
        <p:txBody>
          <a:bodyPr/>
          <a:lstStyle/>
          <a:p>
            <a:r>
              <a:rPr lang="en-US" dirty="0"/>
              <a:t>Amy Passow</a:t>
            </a:r>
          </a:p>
        </p:txBody>
      </p:sp>
      <p:sp>
        <p:nvSpPr>
          <p:cNvPr id="4" name="Title 3">
            <a:extLst>
              <a:ext uri="{FF2B5EF4-FFF2-40B4-BE49-F238E27FC236}">
                <a16:creationId xmlns:a16="http://schemas.microsoft.com/office/drawing/2014/main" id="{C98DC6D3-4FDC-49BE-B5E9-8B777F892B00}"/>
              </a:ext>
            </a:extLst>
          </p:cNvPr>
          <p:cNvSpPr>
            <a:spLocks noGrp="1"/>
          </p:cNvSpPr>
          <p:nvPr>
            <p:ph type="title"/>
          </p:nvPr>
        </p:nvSpPr>
        <p:spPr/>
        <p:txBody>
          <a:bodyPr/>
          <a:lstStyle/>
          <a:p>
            <a:pPr algn="l"/>
            <a:r>
              <a:rPr lang="en-US" dirty="0"/>
              <a:t>CDW Funding Solutions</a:t>
            </a:r>
          </a:p>
        </p:txBody>
      </p:sp>
      <p:sp>
        <p:nvSpPr>
          <p:cNvPr id="6" name="Text Placeholder 5">
            <a:extLst>
              <a:ext uri="{FF2B5EF4-FFF2-40B4-BE49-F238E27FC236}">
                <a16:creationId xmlns:a16="http://schemas.microsoft.com/office/drawing/2014/main" id="{A0206EF1-099B-4C00-AA6B-849C7E81218D}"/>
              </a:ext>
            </a:extLst>
          </p:cNvPr>
          <p:cNvSpPr>
            <a:spLocks noGrp="1"/>
          </p:cNvSpPr>
          <p:nvPr>
            <p:ph type="body" sz="quarter" idx="16"/>
          </p:nvPr>
        </p:nvSpPr>
        <p:spPr/>
        <p:txBody>
          <a:bodyPr>
            <a:normAutofit lnSpcReduction="10000"/>
          </a:bodyPr>
          <a:lstStyle/>
          <a:p>
            <a:r>
              <a:rPr lang="en-US" dirty="0"/>
              <a:t>Monday, October 17, 2022</a:t>
            </a:r>
          </a:p>
        </p:txBody>
      </p:sp>
      <p:sp>
        <p:nvSpPr>
          <p:cNvPr id="3" name="Slide Number Placeholder 2">
            <a:extLst>
              <a:ext uri="{FF2B5EF4-FFF2-40B4-BE49-F238E27FC236}">
                <a16:creationId xmlns:a16="http://schemas.microsoft.com/office/drawing/2014/main" id="{67EB93D2-0CCF-463F-B916-2D9CF74918DE}"/>
              </a:ext>
            </a:extLst>
          </p:cNvPr>
          <p:cNvSpPr>
            <a:spLocks noGrp="1"/>
          </p:cNvSpPr>
          <p:nvPr>
            <p:ph type="sldNum" sz="quarter" idx="4294967295"/>
          </p:nvPr>
        </p:nvSpPr>
        <p:spPr>
          <a:xfrm>
            <a:off x="0" y="6426200"/>
            <a:ext cx="515938" cy="225425"/>
          </a:xfrm>
        </p:spPr>
        <p:txBody>
          <a:bodyPr/>
          <a:lstStyle/>
          <a:p>
            <a:fld id="{8FED1F56-C974-6A47-A7B1-11C2DE7BEE2D}" type="slidenum">
              <a:rPr lang="en-US" smtClean="0"/>
              <a:pPr/>
              <a:t>25</a:t>
            </a:fld>
            <a:endParaRPr lang="en-US"/>
          </a:p>
        </p:txBody>
      </p:sp>
    </p:spTree>
    <p:extLst>
      <p:ext uri="{BB962C8B-B14F-4D97-AF65-F5344CB8AC3E}">
        <p14:creationId xmlns:p14="http://schemas.microsoft.com/office/powerpoint/2010/main" val="14424624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7B5042-5531-4BB1-9E7F-E93FB369CEDA}"/>
              </a:ext>
            </a:extLst>
          </p:cNvPr>
          <p:cNvSpPr>
            <a:spLocks noGrp="1"/>
          </p:cNvSpPr>
          <p:nvPr>
            <p:ph type="title"/>
          </p:nvPr>
        </p:nvSpPr>
        <p:spPr>
          <a:xfrm>
            <a:off x="4633645" y="998947"/>
            <a:ext cx="7558355" cy="424630"/>
          </a:xfrm>
        </p:spPr>
        <p:txBody>
          <a:bodyPr>
            <a:normAutofit fontScale="90000"/>
          </a:bodyPr>
          <a:lstStyle/>
          <a:p>
            <a:r>
              <a:rPr lang="en-US" dirty="0"/>
              <a:t>Emergency Connectivity Fund Leader</a:t>
            </a:r>
          </a:p>
        </p:txBody>
      </p:sp>
      <p:sp>
        <p:nvSpPr>
          <p:cNvPr id="5" name="Text Placeholder 4">
            <a:extLst>
              <a:ext uri="{FF2B5EF4-FFF2-40B4-BE49-F238E27FC236}">
                <a16:creationId xmlns:a16="http://schemas.microsoft.com/office/drawing/2014/main" id="{841C56A3-BC6C-4B67-8BC5-ADAB5C8DC850}"/>
              </a:ext>
            </a:extLst>
          </p:cNvPr>
          <p:cNvSpPr>
            <a:spLocks noGrp="1"/>
          </p:cNvSpPr>
          <p:nvPr>
            <p:ph type="body" sz="quarter" idx="17"/>
          </p:nvPr>
        </p:nvSpPr>
        <p:spPr/>
        <p:txBody>
          <a:bodyPr/>
          <a:lstStyle/>
          <a:p>
            <a:r>
              <a:rPr lang="en-US" dirty="0"/>
              <a:t>Devices &amp; Mobile Connections</a:t>
            </a:r>
          </a:p>
        </p:txBody>
      </p:sp>
      <p:sp>
        <p:nvSpPr>
          <p:cNvPr id="3" name="Slide Number Placeholder 2">
            <a:extLst>
              <a:ext uri="{FF2B5EF4-FFF2-40B4-BE49-F238E27FC236}">
                <a16:creationId xmlns:a16="http://schemas.microsoft.com/office/drawing/2014/main" id="{0BF3A59F-E924-487F-98CC-AA908F6D8AAD}"/>
              </a:ext>
            </a:extLst>
          </p:cNvPr>
          <p:cNvSpPr>
            <a:spLocks noGrp="1"/>
          </p:cNvSpPr>
          <p:nvPr>
            <p:ph type="sldNum" sz="quarter" idx="18"/>
          </p:nvPr>
        </p:nvSpPr>
        <p:spPr/>
        <p:txBody>
          <a:bodyPr/>
          <a:lstStyle/>
          <a:p>
            <a:fld id="{8FED1F56-C974-6A47-A7B1-11C2DE7BEE2D}" type="slidenum">
              <a:rPr lang="en-US" smtClean="0"/>
              <a:pPr/>
              <a:t>26</a:t>
            </a:fld>
            <a:endParaRPr lang="en-US"/>
          </a:p>
        </p:txBody>
      </p:sp>
      <p:pic>
        <p:nvPicPr>
          <p:cNvPr id="7" name="Picture 6">
            <a:extLst>
              <a:ext uri="{FF2B5EF4-FFF2-40B4-BE49-F238E27FC236}">
                <a16:creationId xmlns:a16="http://schemas.microsoft.com/office/drawing/2014/main" id="{2014C314-D622-4B5F-AA5D-D586C688FB07}"/>
              </a:ext>
            </a:extLst>
          </p:cNvPr>
          <p:cNvPicPr>
            <a:picLocks noChangeAspect="1"/>
          </p:cNvPicPr>
          <p:nvPr/>
        </p:nvPicPr>
        <p:blipFill>
          <a:blip r:embed="rId2"/>
          <a:stretch>
            <a:fillRect/>
          </a:stretch>
        </p:blipFill>
        <p:spPr>
          <a:xfrm>
            <a:off x="5638799" y="2047466"/>
            <a:ext cx="6448531" cy="3182079"/>
          </a:xfrm>
          <a:prstGeom prst="rect">
            <a:avLst/>
          </a:prstGeom>
        </p:spPr>
      </p:pic>
    </p:spTree>
    <p:extLst>
      <p:ext uri="{BB962C8B-B14F-4D97-AF65-F5344CB8AC3E}">
        <p14:creationId xmlns:p14="http://schemas.microsoft.com/office/powerpoint/2010/main" val="1823505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DCC7B8-7E03-4CBD-8FE1-94B5454D378F}"/>
              </a:ext>
            </a:extLst>
          </p:cNvPr>
          <p:cNvPicPr>
            <a:picLocks noChangeAspect="1"/>
          </p:cNvPicPr>
          <p:nvPr/>
        </p:nvPicPr>
        <p:blipFill>
          <a:blip r:embed="rId3"/>
          <a:stretch>
            <a:fillRect/>
          </a:stretch>
        </p:blipFill>
        <p:spPr>
          <a:xfrm>
            <a:off x="1369281" y="2046634"/>
            <a:ext cx="5511924" cy="3898167"/>
          </a:xfrm>
          <a:prstGeom prst="rect">
            <a:avLst/>
          </a:prstGeom>
        </p:spPr>
      </p:pic>
      <p:sp>
        <p:nvSpPr>
          <p:cNvPr id="6" name="Title 5">
            <a:extLst>
              <a:ext uri="{FF2B5EF4-FFF2-40B4-BE49-F238E27FC236}">
                <a16:creationId xmlns:a16="http://schemas.microsoft.com/office/drawing/2014/main" id="{CF7FA577-A981-4A29-8E34-89B8FDAFA58E}"/>
              </a:ext>
            </a:extLst>
          </p:cNvPr>
          <p:cNvSpPr>
            <a:spLocks noGrp="1"/>
          </p:cNvSpPr>
          <p:nvPr>
            <p:ph type="title"/>
          </p:nvPr>
        </p:nvSpPr>
        <p:spPr/>
        <p:txBody>
          <a:bodyPr>
            <a:normAutofit fontScale="90000"/>
          </a:bodyPr>
          <a:lstStyle/>
          <a:p>
            <a:r>
              <a:rPr lang="en-US"/>
              <a:t>E-Rate program leader</a:t>
            </a:r>
          </a:p>
        </p:txBody>
      </p:sp>
      <p:sp>
        <p:nvSpPr>
          <p:cNvPr id="7" name="Text Placeholder 6">
            <a:extLst>
              <a:ext uri="{FF2B5EF4-FFF2-40B4-BE49-F238E27FC236}">
                <a16:creationId xmlns:a16="http://schemas.microsoft.com/office/drawing/2014/main" id="{3D46FD64-E5A1-41E0-B0A4-FCF82E0BAF2F}"/>
              </a:ext>
            </a:extLst>
          </p:cNvPr>
          <p:cNvSpPr>
            <a:spLocks noGrp="1"/>
          </p:cNvSpPr>
          <p:nvPr>
            <p:ph type="body" sz="quarter" idx="17"/>
          </p:nvPr>
        </p:nvSpPr>
        <p:spPr/>
        <p:txBody>
          <a:bodyPr/>
          <a:lstStyle/>
          <a:p>
            <a:r>
              <a:rPr lang="en-US"/>
              <a:t>Category 2</a:t>
            </a:r>
          </a:p>
        </p:txBody>
      </p:sp>
    </p:spTree>
    <p:extLst>
      <p:ext uri="{BB962C8B-B14F-4D97-AF65-F5344CB8AC3E}">
        <p14:creationId xmlns:p14="http://schemas.microsoft.com/office/powerpoint/2010/main" val="16033993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18751" y="617513"/>
            <a:ext cx="6714256" cy="369332"/>
          </a:xfrm>
          <a:prstGeom prst="rect">
            <a:avLst/>
          </a:prstGeom>
        </p:spPr>
        <p:txBody>
          <a:bodyPr vert="horz" wrap="square" lIns="0" tIns="0" rIns="0" bIns="0" rtlCol="0">
            <a:spAutoFit/>
          </a:bodyPr>
          <a:lstStyle/>
          <a:p>
            <a:pPr marL="12700">
              <a:lnSpc>
                <a:spcPct val="100000"/>
              </a:lnSpc>
            </a:pPr>
            <a:r>
              <a:rPr lang="en-US" spc="-5" dirty="0"/>
              <a:t>Funding Solutions Focus</a:t>
            </a:r>
            <a:endParaRPr spc="-5" dirty="0"/>
          </a:p>
        </p:txBody>
      </p:sp>
      <p:sp>
        <p:nvSpPr>
          <p:cNvPr id="3" name="object 3"/>
          <p:cNvSpPr txBox="1"/>
          <p:nvPr/>
        </p:nvSpPr>
        <p:spPr>
          <a:xfrm>
            <a:off x="10050050" y="6476935"/>
            <a:ext cx="999490" cy="13589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5" normalizeH="0" baseline="0" noProof="0" dirty="0">
                <a:ln>
                  <a:noFill/>
                </a:ln>
                <a:solidFill>
                  <a:srgbClr val="53565B"/>
                </a:solidFill>
                <a:effectLst/>
                <a:uLnTx/>
                <a:uFillTx/>
                <a:latin typeface="Verdana"/>
                <a:ea typeface="+mn-ea"/>
                <a:cs typeface="Verdana"/>
              </a:rPr>
              <a:t>CDW |</a:t>
            </a:r>
            <a:r>
              <a:rPr kumimoji="0" sz="800" b="0" i="0" u="none" strike="noStrike" kern="1200" cap="none" spc="-45" normalizeH="0" baseline="0" noProof="0" dirty="0">
                <a:ln>
                  <a:noFill/>
                </a:ln>
                <a:solidFill>
                  <a:srgbClr val="53565B"/>
                </a:solidFill>
                <a:effectLst/>
                <a:uLnTx/>
                <a:uFillTx/>
                <a:latin typeface="Verdana"/>
                <a:ea typeface="+mn-ea"/>
                <a:cs typeface="Verdana"/>
              </a:rPr>
              <a:t> </a:t>
            </a:r>
            <a:r>
              <a:rPr kumimoji="0" sz="800" b="0" i="0" u="none" strike="noStrike" kern="1200" cap="none" spc="-5" normalizeH="0" baseline="0" noProof="0" dirty="0">
                <a:ln>
                  <a:noFill/>
                </a:ln>
                <a:solidFill>
                  <a:srgbClr val="53565B"/>
                </a:solidFill>
                <a:effectLst/>
                <a:uLnTx/>
                <a:uFillTx/>
                <a:latin typeface="Verdana"/>
                <a:ea typeface="+mn-ea"/>
                <a:cs typeface="Verdana"/>
              </a:rPr>
              <a:t>Confidential</a:t>
            </a:r>
            <a:endParaRPr kumimoji="0" sz="800" b="0" i="0" u="none" strike="noStrike" kern="1200" cap="none" spc="0" normalizeH="0" baseline="0" noProof="0">
              <a:ln>
                <a:noFill/>
              </a:ln>
              <a:solidFill>
                <a:prstClr val="black"/>
              </a:solidFill>
              <a:effectLst/>
              <a:uLnTx/>
              <a:uFillTx/>
              <a:latin typeface="Verdana"/>
              <a:ea typeface="+mn-ea"/>
              <a:cs typeface="Verdana"/>
            </a:endParaRPr>
          </a:p>
        </p:txBody>
      </p:sp>
      <p:sp>
        <p:nvSpPr>
          <p:cNvPr id="4" name="object 4"/>
          <p:cNvSpPr txBox="1"/>
          <p:nvPr/>
        </p:nvSpPr>
        <p:spPr>
          <a:xfrm>
            <a:off x="916950" y="6476935"/>
            <a:ext cx="1363345" cy="13589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5" normalizeH="0" baseline="0" noProof="0" dirty="0">
                <a:ln>
                  <a:noFill/>
                </a:ln>
                <a:solidFill>
                  <a:srgbClr val="53565B"/>
                </a:solidFill>
                <a:effectLst/>
                <a:uLnTx/>
                <a:uFillTx/>
                <a:latin typeface="Verdana"/>
                <a:ea typeface="+mn-ea"/>
                <a:cs typeface="Verdana"/>
              </a:rPr>
              <a:t>CDW.com |</a:t>
            </a:r>
            <a:r>
              <a:rPr kumimoji="0" sz="800" b="0" i="0" u="none" strike="noStrike" kern="1200" cap="none" spc="-50" normalizeH="0" baseline="0" noProof="0" dirty="0">
                <a:ln>
                  <a:noFill/>
                </a:ln>
                <a:solidFill>
                  <a:srgbClr val="53565B"/>
                </a:solidFill>
                <a:effectLst/>
                <a:uLnTx/>
                <a:uFillTx/>
                <a:latin typeface="Verdana"/>
                <a:ea typeface="+mn-ea"/>
                <a:cs typeface="Verdana"/>
              </a:rPr>
              <a:t> </a:t>
            </a:r>
            <a:r>
              <a:rPr kumimoji="0" sz="800" b="0" i="0" u="none" strike="noStrike" kern="1200" cap="none" spc="-5" normalizeH="0" baseline="0" noProof="0" dirty="0">
                <a:ln>
                  <a:noFill/>
                </a:ln>
                <a:solidFill>
                  <a:srgbClr val="53565B"/>
                </a:solidFill>
                <a:effectLst/>
                <a:uLnTx/>
                <a:uFillTx/>
                <a:latin typeface="Verdana"/>
                <a:ea typeface="+mn-ea"/>
                <a:cs typeface="Verdana"/>
              </a:rPr>
              <a:t>800.800.4239</a:t>
            </a:r>
            <a:endParaRPr kumimoji="0" sz="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401606" y="6476935"/>
            <a:ext cx="90170" cy="13589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5" normalizeH="0" baseline="0" noProof="0" dirty="0">
                <a:ln>
                  <a:noFill/>
                </a:ln>
                <a:solidFill>
                  <a:srgbClr val="53565B"/>
                </a:solidFill>
                <a:effectLst/>
                <a:uLnTx/>
                <a:uFillTx/>
                <a:latin typeface="Verdana"/>
                <a:ea typeface="+mn-ea"/>
                <a:cs typeface="Verdana"/>
              </a:rPr>
              <a:t>2</a:t>
            </a:r>
            <a:endParaRPr kumimoji="0" sz="8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p:nvPr/>
        </p:nvSpPr>
        <p:spPr>
          <a:xfrm>
            <a:off x="8346236" y="1313248"/>
            <a:ext cx="2277243" cy="225188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5578868" y="3704007"/>
            <a:ext cx="6339155" cy="2634054"/>
          </a:xfrm>
          <a:prstGeom prst="rect">
            <a:avLst/>
          </a:prstGeom>
        </p:spPr>
        <p:txBody>
          <a:bodyPr vert="horz" wrap="square" lIns="0" tIns="0" rIns="0" bIns="0" rtlCol="0">
            <a:spAutoFit/>
          </a:bodyPr>
          <a:lstStyle/>
          <a:p>
            <a:pPr marL="1769110" marR="5080" lvl="0" indent="446405" defTabSz="914400" rtl="0" eaLnBrk="1" fontAlgn="auto" latinLnBrk="0" hangingPunct="1">
              <a:lnSpc>
                <a:spcPct val="100000"/>
              </a:lnSpc>
              <a:spcBef>
                <a:spcPts val="0"/>
              </a:spcBef>
              <a:spcAft>
                <a:spcPts val="0"/>
              </a:spcAft>
              <a:buClrTx/>
              <a:buSzTx/>
              <a:buFontTx/>
              <a:buNone/>
              <a:tabLst/>
              <a:defRPr/>
            </a:pPr>
            <a:r>
              <a:rPr kumimoji="0" b="1" i="0" u="none" strike="noStrike" kern="1200" cap="none" spc="-5" normalizeH="0" baseline="0" noProof="0" dirty="0">
                <a:ln>
                  <a:noFill/>
                </a:ln>
                <a:solidFill>
                  <a:srgbClr val="CC0000"/>
                </a:solidFill>
                <a:effectLst/>
                <a:uLnTx/>
                <a:uFillTx/>
                <a:latin typeface="Verdana"/>
                <a:ea typeface="+mn-ea"/>
                <a:cs typeface="Verdana"/>
              </a:rPr>
              <a:t>Curtiss Strietelmeier, </a:t>
            </a:r>
            <a:r>
              <a:rPr kumimoji="0" b="1" i="0" u="none" strike="noStrike" kern="1200" cap="none" spc="-10" normalizeH="0" baseline="0" noProof="0" dirty="0">
                <a:ln>
                  <a:noFill/>
                </a:ln>
                <a:solidFill>
                  <a:srgbClr val="CC0000"/>
                </a:solidFill>
                <a:effectLst/>
                <a:uLnTx/>
                <a:uFillTx/>
                <a:latin typeface="Verdana"/>
                <a:ea typeface="+mn-ea"/>
                <a:cs typeface="Verdana"/>
              </a:rPr>
              <a:t>PhD  </a:t>
            </a:r>
            <a:r>
              <a:rPr kumimoji="0" lang="en-US" b="1" i="0" u="none" strike="noStrike" kern="1200" cap="none" spc="-10" normalizeH="0" baseline="0" noProof="0" dirty="0">
                <a:ln>
                  <a:noFill/>
                </a:ln>
                <a:solidFill>
                  <a:srgbClr val="CC0000"/>
                </a:solidFill>
                <a:effectLst/>
                <a:uLnTx/>
                <a:uFillTx/>
                <a:latin typeface="Verdana"/>
                <a:ea typeface="+mn-ea"/>
                <a:cs typeface="Verdana"/>
              </a:rPr>
              <a:t>    </a:t>
            </a:r>
            <a:r>
              <a:rPr kumimoji="0" b="1" i="0" u="none" strike="noStrike" kern="1200" cap="none" spc="-5" normalizeH="0" baseline="0" noProof="0" dirty="0">
                <a:ln>
                  <a:noFill/>
                </a:ln>
                <a:solidFill>
                  <a:srgbClr val="CC0000"/>
                </a:solidFill>
                <a:effectLst/>
                <a:uLnTx/>
                <a:uFillTx/>
                <a:latin typeface="Verdana"/>
                <a:ea typeface="+mn-ea"/>
                <a:cs typeface="Verdana"/>
              </a:rPr>
              <a:t>Public Sector Funding</a:t>
            </a:r>
            <a:r>
              <a:rPr kumimoji="0" b="1" i="0" u="none" strike="noStrike" kern="1200" cap="none" spc="10" normalizeH="0" baseline="0" noProof="0" dirty="0">
                <a:ln>
                  <a:noFill/>
                </a:ln>
                <a:solidFill>
                  <a:srgbClr val="CC0000"/>
                </a:solidFill>
                <a:effectLst/>
                <a:uLnTx/>
                <a:uFillTx/>
                <a:latin typeface="Verdana"/>
                <a:ea typeface="+mn-ea"/>
                <a:cs typeface="Verdana"/>
              </a:rPr>
              <a:t> </a:t>
            </a:r>
            <a:r>
              <a:rPr kumimoji="0" b="1" i="0" u="none" strike="noStrike" kern="1200" cap="none" spc="-5" normalizeH="0" baseline="0" noProof="0" dirty="0">
                <a:ln>
                  <a:noFill/>
                </a:ln>
                <a:solidFill>
                  <a:srgbClr val="CC0000"/>
                </a:solidFill>
                <a:effectLst/>
                <a:uLnTx/>
                <a:uFillTx/>
                <a:latin typeface="Verdana"/>
                <a:ea typeface="+mn-ea"/>
                <a:cs typeface="Verdana"/>
              </a:rPr>
              <a:t>Strategist</a:t>
            </a:r>
            <a:endParaRPr kumimoji="0" b="0" i="0" u="none" strike="noStrike" kern="1200" cap="none" spc="0" normalizeH="0" baseline="0" noProof="0" dirty="0">
              <a:ln>
                <a:noFill/>
              </a:ln>
              <a:solidFill>
                <a:prstClr val="black"/>
              </a:solidFill>
              <a:effectLst/>
              <a:uLnTx/>
              <a:uFillTx/>
              <a:latin typeface="Verdana"/>
              <a:ea typeface="+mn-ea"/>
              <a:cs typeface="Verdana"/>
            </a:endParaRPr>
          </a:p>
          <a:p>
            <a:pPr marL="1841500" lvl="4">
              <a:spcBef>
                <a:spcPts val="1085"/>
              </a:spcBef>
            </a:pPr>
            <a:r>
              <a:rPr kumimoji="0" sz="1600" b="1" i="0" u="none" strike="noStrike" kern="1200" cap="none" spc="-5" normalizeH="0" baseline="0" noProof="0" dirty="0">
                <a:ln>
                  <a:noFill/>
                </a:ln>
                <a:solidFill>
                  <a:srgbClr val="292B2E"/>
                </a:solidFill>
                <a:effectLst/>
                <a:uLnTx/>
                <a:uFillTx/>
                <a:latin typeface="Verdana"/>
                <a:ea typeface="+mn-ea"/>
                <a:cs typeface="Verdana"/>
              </a:rPr>
              <a:t>Role</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5" normalizeH="0" baseline="0" noProof="0" dirty="0">
                <a:ln>
                  <a:noFill/>
                </a:ln>
                <a:solidFill>
                  <a:srgbClr val="292B2E"/>
                </a:solidFill>
                <a:effectLst/>
                <a:uLnTx/>
                <a:uFillTx/>
                <a:latin typeface="Verdana"/>
                <a:ea typeface="+mn-ea"/>
                <a:cs typeface="Verdana"/>
              </a:rPr>
              <a:t>Funding and Legislation</a:t>
            </a:r>
            <a:r>
              <a:rPr kumimoji="0" sz="1600" b="0" i="0" u="none" strike="noStrike" kern="1200" cap="none" spc="20" normalizeH="0" baseline="0" noProof="0" dirty="0">
                <a:ln>
                  <a:noFill/>
                </a:ln>
                <a:solidFill>
                  <a:srgbClr val="292B2E"/>
                </a:solidFill>
                <a:effectLst/>
                <a:uLnTx/>
                <a:uFillTx/>
                <a:latin typeface="Verdana"/>
                <a:ea typeface="+mn-ea"/>
                <a:cs typeface="Verdana"/>
              </a:rPr>
              <a:t> </a:t>
            </a:r>
            <a:r>
              <a:rPr kumimoji="0" sz="1600" b="0" i="0" u="none" strike="noStrike" kern="1200" cap="none" spc="-10" normalizeH="0" baseline="0" noProof="0" dirty="0">
                <a:ln>
                  <a:noFill/>
                </a:ln>
                <a:solidFill>
                  <a:srgbClr val="292B2E"/>
                </a:solidFill>
                <a:effectLst/>
                <a:uLnTx/>
                <a:uFillTx/>
                <a:latin typeface="Verdana"/>
                <a:ea typeface="+mn-ea"/>
                <a:cs typeface="Verdana"/>
              </a:rPr>
              <a:t>Research</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5" normalizeH="0" baseline="0" noProof="0" dirty="0">
                <a:ln>
                  <a:noFill/>
                </a:ln>
                <a:solidFill>
                  <a:srgbClr val="292B2E"/>
                </a:solidFill>
                <a:effectLst/>
                <a:uLnTx/>
                <a:uFillTx/>
                <a:latin typeface="Verdana"/>
                <a:ea typeface="+mn-ea"/>
                <a:cs typeface="Verdana"/>
              </a:rPr>
              <a:t>Document and </a:t>
            </a:r>
            <a:r>
              <a:rPr kumimoji="0" sz="1600" b="0" i="0" u="none" strike="noStrike" kern="1200" cap="none" spc="-10" normalizeH="0" baseline="0" noProof="0" dirty="0">
                <a:ln>
                  <a:noFill/>
                </a:ln>
                <a:solidFill>
                  <a:srgbClr val="292B2E"/>
                </a:solidFill>
                <a:effectLst/>
                <a:uLnTx/>
                <a:uFillTx/>
                <a:latin typeface="Verdana"/>
                <a:ea typeface="+mn-ea"/>
                <a:cs typeface="Verdana"/>
              </a:rPr>
              <a:t>Resource</a:t>
            </a:r>
            <a:r>
              <a:rPr kumimoji="0" sz="1600" b="0" i="0" u="none" strike="noStrike" kern="1200" cap="none" spc="-30" normalizeH="0" baseline="0" noProof="0" dirty="0">
                <a:ln>
                  <a:noFill/>
                </a:ln>
                <a:solidFill>
                  <a:srgbClr val="292B2E"/>
                </a:solidFill>
                <a:effectLst/>
                <a:uLnTx/>
                <a:uFillTx/>
                <a:latin typeface="Verdana"/>
                <a:ea typeface="+mn-ea"/>
                <a:cs typeface="Verdana"/>
              </a:rPr>
              <a:t> </a:t>
            </a:r>
            <a:r>
              <a:rPr kumimoji="0" sz="1600" b="0" i="0" u="none" strike="noStrike" kern="1200" cap="none" spc="-5" normalizeH="0" baseline="0" noProof="0" dirty="0">
                <a:ln>
                  <a:noFill/>
                </a:ln>
                <a:solidFill>
                  <a:srgbClr val="292B2E"/>
                </a:solidFill>
                <a:effectLst/>
                <a:uLnTx/>
                <a:uFillTx/>
                <a:latin typeface="Verdana"/>
                <a:ea typeface="+mn-ea"/>
                <a:cs typeface="Verdana"/>
              </a:rPr>
              <a:t>Development</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50" normalizeH="0" baseline="0" noProof="0" dirty="0">
                <a:ln>
                  <a:noFill/>
                </a:ln>
                <a:solidFill>
                  <a:srgbClr val="292B2E"/>
                </a:solidFill>
                <a:effectLst/>
                <a:uLnTx/>
                <a:uFillTx/>
                <a:latin typeface="Verdana"/>
                <a:ea typeface="+mn-ea"/>
                <a:cs typeface="Verdana"/>
              </a:rPr>
              <a:t>Team </a:t>
            </a:r>
            <a:r>
              <a:rPr kumimoji="0" sz="1600" b="0" i="0" u="none" strike="noStrike" kern="1200" cap="none" spc="-5" normalizeH="0" baseline="0" noProof="0" dirty="0">
                <a:ln>
                  <a:noFill/>
                </a:ln>
                <a:solidFill>
                  <a:srgbClr val="292B2E"/>
                </a:solidFill>
                <a:effectLst/>
                <a:uLnTx/>
                <a:uFillTx/>
                <a:latin typeface="Verdana"/>
                <a:ea typeface="+mn-ea"/>
                <a:cs typeface="Verdana"/>
              </a:rPr>
              <a:t>and Public</a:t>
            </a:r>
            <a:r>
              <a:rPr kumimoji="0" sz="1600" b="0" i="0" u="none" strike="noStrike" kern="1200" cap="none" spc="25" normalizeH="0" baseline="0" noProof="0" dirty="0">
                <a:ln>
                  <a:noFill/>
                </a:ln>
                <a:solidFill>
                  <a:srgbClr val="292B2E"/>
                </a:solidFill>
                <a:effectLst/>
                <a:uLnTx/>
                <a:uFillTx/>
                <a:latin typeface="Verdana"/>
                <a:ea typeface="+mn-ea"/>
                <a:cs typeface="Verdana"/>
              </a:rPr>
              <a:t> </a:t>
            </a:r>
            <a:r>
              <a:rPr kumimoji="0" sz="1600" b="0" i="0" u="none" strike="noStrike" kern="1200" cap="none" spc="-5" normalizeH="0" baseline="0" noProof="0" dirty="0">
                <a:ln>
                  <a:noFill/>
                </a:ln>
                <a:solidFill>
                  <a:srgbClr val="292B2E"/>
                </a:solidFill>
                <a:effectLst/>
                <a:uLnTx/>
                <a:uFillTx/>
                <a:latin typeface="Verdana"/>
                <a:ea typeface="+mn-ea"/>
                <a:cs typeface="Verdana"/>
              </a:rPr>
              <a:t>Presentations</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10" normalizeH="0" baseline="0" noProof="0" dirty="0">
                <a:ln>
                  <a:noFill/>
                </a:ln>
                <a:solidFill>
                  <a:srgbClr val="292B2E"/>
                </a:solidFill>
                <a:effectLst/>
                <a:uLnTx/>
                <a:uFillTx/>
                <a:latin typeface="Verdana"/>
                <a:ea typeface="+mn-ea"/>
                <a:cs typeface="Verdana"/>
              </a:rPr>
              <a:t>Conversations </a:t>
            </a:r>
            <a:r>
              <a:rPr kumimoji="0" sz="1600" b="0" i="0" u="none" strike="noStrike" kern="1200" cap="none" spc="-5" normalizeH="0" baseline="0" noProof="0" dirty="0">
                <a:ln>
                  <a:noFill/>
                </a:ln>
                <a:solidFill>
                  <a:srgbClr val="292B2E"/>
                </a:solidFill>
                <a:effectLst/>
                <a:uLnTx/>
                <a:uFillTx/>
                <a:latin typeface="Verdana"/>
                <a:ea typeface="+mn-ea"/>
                <a:cs typeface="Verdana"/>
              </a:rPr>
              <a:t>with</a:t>
            </a:r>
            <a:r>
              <a:rPr kumimoji="0" sz="1600" b="0" i="0" u="none" strike="noStrike" kern="1200" cap="none" spc="5" normalizeH="0" baseline="0" noProof="0" dirty="0">
                <a:ln>
                  <a:noFill/>
                </a:ln>
                <a:solidFill>
                  <a:srgbClr val="292B2E"/>
                </a:solidFill>
                <a:effectLst/>
                <a:uLnTx/>
                <a:uFillTx/>
                <a:latin typeface="Verdana"/>
                <a:ea typeface="+mn-ea"/>
                <a:cs typeface="Verdana"/>
              </a:rPr>
              <a:t> </a:t>
            </a:r>
            <a:r>
              <a:rPr kumimoji="0" sz="1600" b="0" i="0" u="none" strike="noStrike" kern="1200" cap="none" spc="-5" normalizeH="0" baseline="0" noProof="0" dirty="0">
                <a:ln>
                  <a:noFill/>
                </a:ln>
                <a:solidFill>
                  <a:srgbClr val="292B2E"/>
                </a:solidFill>
                <a:effectLst/>
                <a:uLnTx/>
                <a:uFillTx/>
                <a:latin typeface="Verdana"/>
                <a:ea typeface="+mn-ea"/>
                <a:cs typeface="Verdana"/>
              </a:rPr>
              <a:t>Customers</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lvl="4">
              <a:spcBef>
                <a:spcPts val="20"/>
              </a:spcBef>
            </a:pPr>
            <a:endParaRPr kumimoji="0" sz="2800" b="0" i="0" u="none" strike="noStrike" kern="1200" cap="none" spc="0" normalizeH="0" baseline="0" noProof="0" dirty="0">
              <a:ln>
                <a:noFill/>
              </a:ln>
              <a:solidFill>
                <a:prstClr val="black"/>
              </a:solidFill>
              <a:effectLst/>
              <a:uLnTx/>
              <a:uFillTx/>
              <a:latin typeface="Times New Roman"/>
              <a:ea typeface="+mn-ea"/>
              <a:cs typeface="Times New Roman"/>
            </a:endParaRPr>
          </a:p>
          <a:p>
            <a:pPr marL="1841500" lvl="4"/>
            <a:r>
              <a:rPr kumimoji="0" sz="1600" b="0" i="0" u="none" strike="noStrike" kern="1200" cap="none" spc="-5" normalizeH="0" baseline="0" noProof="0" dirty="0">
                <a:ln>
                  <a:noFill/>
                </a:ln>
                <a:solidFill>
                  <a:srgbClr val="15191A"/>
                </a:solidFill>
                <a:effectLst/>
                <a:uLnTx/>
                <a:uFillTx/>
                <a:latin typeface="Verdana"/>
                <a:ea typeface="+mn-ea"/>
                <a:cs typeface="Verdana"/>
              </a:rPr>
              <a:t>Contact Email:</a:t>
            </a:r>
            <a:r>
              <a:rPr kumimoji="0" sz="1600" b="0" i="0" u="none" strike="noStrike" kern="1200" cap="none" spc="-55" normalizeH="0" baseline="0" noProof="0" dirty="0">
                <a:ln>
                  <a:noFill/>
                </a:ln>
                <a:solidFill>
                  <a:srgbClr val="15191A"/>
                </a:solidFill>
                <a:effectLst/>
                <a:uLnTx/>
                <a:uFillTx/>
                <a:latin typeface="Verdana"/>
                <a:ea typeface="+mn-ea"/>
                <a:cs typeface="Verdana"/>
              </a:rPr>
              <a:t> </a:t>
            </a:r>
            <a:r>
              <a:rPr kumimoji="0" sz="1600" b="0" i="0" u="none" strike="noStrike" kern="1200" cap="none" spc="-5" normalizeH="0" baseline="0" noProof="0" dirty="0">
                <a:ln>
                  <a:noFill/>
                </a:ln>
                <a:solidFill>
                  <a:srgbClr val="15191A"/>
                </a:solidFill>
                <a:effectLst/>
                <a:uLnTx/>
                <a:uFillTx/>
                <a:latin typeface="Verdana"/>
                <a:ea typeface="+mn-ea"/>
                <a:cs typeface="Verdana"/>
                <a:hlinkClick r:id="rId3"/>
              </a:rPr>
              <a:t>Curtiss@CDWG.com</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p:txBody>
      </p:sp>
      <p:pic>
        <p:nvPicPr>
          <p:cNvPr id="9" name="Picture 8" descr="A person smiling for the camera&#10;&#10;Description automatically generated with low confidence">
            <a:extLst>
              <a:ext uri="{FF2B5EF4-FFF2-40B4-BE49-F238E27FC236}">
                <a16:creationId xmlns:a16="http://schemas.microsoft.com/office/drawing/2014/main" id="{DCC6183F-2C76-4BBA-BCAC-7E842103EA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52648" y="1311404"/>
            <a:ext cx="2251886" cy="2251886"/>
          </a:xfrm>
          <a:prstGeom prst="rect">
            <a:avLst/>
          </a:prstGeom>
        </p:spPr>
      </p:pic>
      <p:sp>
        <p:nvSpPr>
          <p:cNvPr id="10" name="object 7">
            <a:extLst>
              <a:ext uri="{FF2B5EF4-FFF2-40B4-BE49-F238E27FC236}">
                <a16:creationId xmlns:a16="http://schemas.microsoft.com/office/drawing/2014/main" id="{CBE630DE-C3FC-41AF-A04E-8A1A04B6A091}"/>
              </a:ext>
            </a:extLst>
          </p:cNvPr>
          <p:cNvSpPr txBox="1"/>
          <p:nvPr/>
        </p:nvSpPr>
        <p:spPr>
          <a:xfrm>
            <a:off x="-1604480" y="3734784"/>
            <a:ext cx="6714256" cy="2603277"/>
          </a:xfrm>
          <a:prstGeom prst="rect">
            <a:avLst/>
          </a:prstGeom>
        </p:spPr>
        <p:txBody>
          <a:bodyPr vert="horz" wrap="square" lIns="0" tIns="0" rIns="0" bIns="0" rtlCol="0">
            <a:spAutoFit/>
          </a:bodyPr>
          <a:lstStyle/>
          <a:p>
            <a:pPr marL="1769110" marR="5080" lvl="0" indent="446405" algn="ctr" defTabSz="914400" rtl="0" eaLnBrk="1" fontAlgn="auto" latinLnBrk="0" hangingPunct="1">
              <a:lnSpc>
                <a:spcPct val="100000"/>
              </a:lnSpc>
              <a:spcBef>
                <a:spcPts val="0"/>
              </a:spcBef>
              <a:spcAft>
                <a:spcPts val="0"/>
              </a:spcAft>
              <a:buClrTx/>
              <a:buSzTx/>
              <a:buFontTx/>
              <a:buNone/>
              <a:tabLst/>
              <a:defRPr/>
            </a:pPr>
            <a:r>
              <a:rPr lang="en-US" b="1" spc="-5" dirty="0">
                <a:solidFill>
                  <a:srgbClr val="CC0000"/>
                </a:solidFill>
                <a:latin typeface="Verdana"/>
                <a:cs typeface="Verdana"/>
              </a:rPr>
              <a:t>Amy Passow</a:t>
            </a:r>
          </a:p>
          <a:p>
            <a:pPr marL="1769110" marR="5080" lvl="0" indent="446405" algn="ctr" defTabSz="914400" rtl="0" eaLnBrk="1" fontAlgn="auto" latinLnBrk="0" hangingPunct="1">
              <a:lnSpc>
                <a:spcPct val="100000"/>
              </a:lnSpc>
              <a:spcBef>
                <a:spcPts val="0"/>
              </a:spcBef>
              <a:spcAft>
                <a:spcPts val="0"/>
              </a:spcAft>
              <a:buClrTx/>
              <a:buSzTx/>
              <a:buFontTx/>
              <a:buNone/>
              <a:tabLst/>
              <a:defRPr/>
            </a:pPr>
            <a:r>
              <a:rPr lang="en-US" b="1" spc="-5" dirty="0">
                <a:solidFill>
                  <a:srgbClr val="CC0000"/>
                </a:solidFill>
                <a:latin typeface="Verdana"/>
                <a:cs typeface="Verdana"/>
              </a:rPr>
              <a:t>Sr </a:t>
            </a:r>
            <a:r>
              <a:rPr lang="en-US" b="1" spc="-5" dirty="0" err="1">
                <a:solidFill>
                  <a:srgbClr val="CC0000"/>
                </a:solidFill>
                <a:latin typeface="Verdana"/>
                <a:cs typeface="Verdana"/>
              </a:rPr>
              <a:t>Mgr</a:t>
            </a:r>
            <a:r>
              <a:rPr lang="en-US" b="1" spc="-5" dirty="0">
                <a:solidFill>
                  <a:srgbClr val="CC0000"/>
                </a:solidFill>
                <a:latin typeface="Verdana"/>
                <a:cs typeface="Verdana"/>
              </a:rPr>
              <a:t>, EDU Funding Solutions</a:t>
            </a:r>
            <a:endParaRPr kumimoji="0" b="0" i="0" u="none" strike="noStrike" kern="1200" cap="none" spc="0" normalizeH="0" baseline="0" noProof="0" dirty="0">
              <a:ln>
                <a:noFill/>
              </a:ln>
              <a:solidFill>
                <a:prstClr val="black"/>
              </a:solidFill>
              <a:effectLst/>
              <a:uLnTx/>
              <a:uFillTx/>
              <a:latin typeface="Verdana"/>
              <a:ea typeface="+mn-ea"/>
              <a:cs typeface="Verdana"/>
            </a:endParaRPr>
          </a:p>
          <a:p>
            <a:pPr marL="1841500" lvl="4">
              <a:spcBef>
                <a:spcPts val="1085"/>
              </a:spcBef>
            </a:pPr>
            <a:r>
              <a:rPr kumimoji="0" sz="1600" b="1" i="0" u="none" strike="noStrike" kern="1200" cap="none" spc="-5" normalizeH="0" baseline="0" noProof="0" dirty="0">
                <a:ln>
                  <a:noFill/>
                </a:ln>
                <a:solidFill>
                  <a:srgbClr val="292B2E"/>
                </a:solidFill>
                <a:effectLst/>
                <a:uLnTx/>
                <a:uFillTx/>
                <a:latin typeface="Verdana"/>
                <a:ea typeface="+mn-ea"/>
                <a:cs typeface="Verdana"/>
              </a:rPr>
              <a:t>Role</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lang="en-US" sz="1600" b="0" i="0" u="none" strike="noStrike" kern="1200" cap="none" spc="-5" normalizeH="0" baseline="0" noProof="0" dirty="0">
                <a:ln>
                  <a:noFill/>
                </a:ln>
                <a:solidFill>
                  <a:srgbClr val="292B2E"/>
                </a:solidFill>
                <a:effectLst/>
                <a:uLnTx/>
                <a:uFillTx/>
                <a:latin typeface="Verdana"/>
                <a:ea typeface="+mn-ea"/>
                <a:cs typeface="Verdana"/>
              </a:rPr>
              <a:t>Education </a:t>
            </a:r>
            <a:r>
              <a:rPr kumimoji="0" sz="1600" b="0" i="0" u="none" strike="noStrike" kern="1200" cap="none" spc="-5" normalizeH="0" baseline="0" noProof="0" dirty="0">
                <a:ln>
                  <a:noFill/>
                </a:ln>
                <a:solidFill>
                  <a:srgbClr val="292B2E"/>
                </a:solidFill>
                <a:effectLst/>
                <a:uLnTx/>
                <a:uFillTx/>
                <a:latin typeface="Verdana"/>
                <a:ea typeface="+mn-ea"/>
                <a:cs typeface="Verdana"/>
              </a:rPr>
              <a:t>Funding </a:t>
            </a:r>
            <a:r>
              <a:rPr kumimoji="0" lang="en-US" sz="1600" b="0" i="0" u="none" strike="noStrike" kern="1200" cap="none" spc="-10" normalizeH="0" baseline="0" noProof="0" dirty="0">
                <a:ln>
                  <a:noFill/>
                </a:ln>
                <a:solidFill>
                  <a:srgbClr val="292B2E"/>
                </a:solidFill>
                <a:effectLst/>
                <a:uLnTx/>
                <a:uFillTx/>
                <a:latin typeface="Verdana"/>
                <a:ea typeface="+mn-ea"/>
                <a:cs typeface="Verdana"/>
              </a:rPr>
              <a:t>Strategy</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lang="en-US" sz="1600" spc="-5" dirty="0">
                <a:solidFill>
                  <a:srgbClr val="292B2E"/>
                </a:solidFill>
                <a:latin typeface="Verdana"/>
                <a:cs typeface="Verdana"/>
              </a:rPr>
              <a:t>Internal and Partner Process &amp; Alignment</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50" normalizeH="0" baseline="0" noProof="0" dirty="0">
                <a:ln>
                  <a:noFill/>
                </a:ln>
                <a:solidFill>
                  <a:srgbClr val="292B2E"/>
                </a:solidFill>
                <a:effectLst/>
                <a:uLnTx/>
                <a:uFillTx/>
                <a:latin typeface="Verdana"/>
                <a:ea typeface="+mn-ea"/>
                <a:cs typeface="Verdana"/>
              </a:rPr>
              <a:t>Team </a:t>
            </a:r>
            <a:r>
              <a:rPr kumimoji="0" sz="1600" b="0" i="0" u="none" strike="noStrike" kern="1200" cap="none" spc="-5" normalizeH="0" baseline="0" noProof="0" dirty="0">
                <a:ln>
                  <a:noFill/>
                </a:ln>
                <a:solidFill>
                  <a:srgbClr val="292B2E"/>
                </a:solidFill>
                <a:effectLst/>
                <a:uLnTx/>
                <a:uFillTx/>
                <a:latin typeface="Verdana"/>
                <a:ea typeface="+mn-ea"/>
                <a:cs typeface="Verdana"/>
              </a:rPr>
              <a:t>and Public</a:t>
            </a:r>
            <a:r>
              <a:rPr kumimoji="0" sz="1600" b="0" i="0" u="none" strike="noStrike" kern="1200" cap="none" spc="25" normalizeH="0" baseline="0" noProof="0" dirty="0">
                <a:ln>
                  <a:noFill/>
                </a:ln>
                <a:solidFill>
                  <a:srgbClr val="292B2E"/>
                </a:solidFill>
                <a:effectLst/>
                <a:uLnTx/>
                <a:uFillTx/>
                <a:latin typeface="Verdana"/>
                <a:ea typeface="+mn-ea"/>
                <a:cs typeface="Verdana"/>
              </a:rPr>
              <a:t> </a:t>
            </a:r>
            <a:r>
              <a:rPr kumimoji="0" sz="1600" b="0" i="0" u="none" strike="noStrike" kern="1200" cap="none" spc="-5" normalizeH="0" baseline="0" noProof="0" dirty="0">
                <a:ln>
                  <a:noFill/>
                </a:ln>
                <a:solidFill>
                  <a:srgbClr val="292B2E"/>
                </a:solidFill>
                <a:effectLst/>
                <a:uLnTx/>
                <a:uFillTx/>
                <a:latin typeface="Verdana"/>
                <a:ea typeface="+mn-ea"/>
                <a:cs typeface="Verdana"/>
              </a:rPr>
              <a:t>Presentations</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marL="2127250" lvl="4" indent="-285750">
              <a:buClr>
                <a:srgbClr val="C00000"/>
              </a:buClr>
              <a:buFont typeface="Wingdings"/>
              <a:buChar char=""/>
              <a:tabLst>
                <a:tab pos="297815" algn="l"/>
                <a:tab pos="298450" algn="l"/>
              </a:tabLst>
            </a:pPr>
            <a:r>
              <a:rPr kumimoji="0" sz="1600" b="0" i="0" u="none" strike="noStrike" kern="1200" cap="none" spc="-10" normalizeH="0" baseline="0" noProof="0" dirty="0">
                <a:ln>
                  <a:noFill/>
                </a:ln>
                <a:solidFill>
                  <a:srgbClr val="292B2E"/>
                </a:solidFill>
                <a:effectLst/>
                <a:uLnTx/>
                <a:uFillTx/>
                <a:latin typeface="Verdana"/>
                <a:ea typeface="+mn-ea"/>
                <a:cs typeface="Verdana"/>
              </a:rPr>
              <a:t>Conversations </a:t>
            </a:r>
            <a:r>
              <a:rPr kumimoji="0" sz="1600" b="0" i="0" u="none" strike="noStrike" kern="1200" cap="none" spc="-5" normalizeH="0" baseline="0" noProof="0" dirty="0">
                <a:ln>
                  <a:noFill/>
                </a:ln>
                <a:solidFill>
                  <a:srgbClr val="292B2E"/>
                </a:solidFill>
                <a:effectLst/>
                <a:uLnTx/>
                <a:uFillTx/>
                <a:latin typeface="Verdana"/>
                <a:ea typeface="+mn-ea"/>
                <a:cs typeface="Verdana"/>
              </a:rPr>
              <a:t>with</a:t>
            </a:r>
            <a:r>
              <a:rPr kumimoji="0" sz="1600" b="0" i="0" u="none" strike="noStrike" kern="1200" cap="none" spc="5" normalizeH="0" baseline="0" noProof="0" dirty="0">
                <a:ln>
                  <a:noFill/>
                </a:ln>
                <a:solidFill>
                  <a:srgbClr val="292B2E"/>
                </a:solidFill>
                <a:effectLst/>
                <a:uLnTx/>
                <a:uFillTx/>
                <a:latin typeface="Verdana"/>
                <a:ea typeface="+mn-ea"/>
                <a:cs typeface="Verdana"/>
              </a:rPr>
              <a:t> </a:t>
            </a:r>
            <a:r>
              <a:rPr kumimoji="0" sz="1600" b="0" i="0" u="none" strike="noStrike" kern="1200" cap="none" spc="-5" normalizeH="0" baseline="0" noProof="0" dirty="0">
                <a:ln>
                  <a:noFill/>
                </a:ln>
                <a:solidFill>
                  <a:srgbClr val="292B2E"/>
                </a:solidFill>
                <a:effectLst/>
                <a:uLnTx/>
                <a:uFillTx/>
                <a:latin typeface="Verdana"/>
                <a:ea typeface="+mn-ea"/>
                <a:cs typeface="Verdana"/>
              </a:rPr>
              <a:t>Customers</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a:p>
            <a:pPr lvl="4">
              <a:spcBef>
                <a:spcPts val="20"/>
              </a:spcBef>
            </a:pPr>
            <a:endParaRPr kumimoji="0" sz="2800" b="0" i="0" u="none" strike="noStrike" kern="1200" cap="none" spc="0" normalizeH="0" baseline="0" noProof="0" dirty="0">
              <a:ln>
                <a:noFill/>
              </a:ln>
              <a:solidFill>
                <a:prstClr val="black"/>
              </a:solidFill>
              <a:effectLst/>
              <a:uLnTx/>
              <a:uFillTx/>
              <a:latin typeface="Times New Roman"/>
              <a:ea typeface="+mn-ea"/>
              <a:cs typeface="Times New Roman"/>
            </a:endParaRPr>
          </a:p>
          <a:p>
            <a:pPr marL="1841500" lvl="4"/>
            <a:r>
              <a:rPr kumimoji="0" sz="1600" b="0" i="0" u="none" strike="noStrike" kern="1200" cap="none" spc="-5" normalizeH="0" baseline="0" noProof="0" dirty="0">
                <a:ln>
                  <a:noFill/>
                </a:ln>
                <a:solidFill>
                  <a:srgbClr val="15191A"/>
                </a:solidFill>
                <a:effectLst/>
                <a:uLnTx/>
                <a:uFillTx/>
                <a:latin typeface="Verdana"/>
                <a:ea typeface="+mn-ea"/>
                <a:cs typeface="Verdana"/>
              </a:rPr>
              <a:t>Contact Email:</a:t>
            </a:r>
            <a:r>
              <a:rPr kumimoji="0" sz="1600" b="0" i="0" u="none" strike="noStrike" kern="1200" cap="none" spc="-55" normalizeH="0" baseline="0" noProof="0" dirty="0">
                <a:ln>
                  <a:noFill/>
                </a:ln>
                <a:solidFill>
                  <a:srgbClr val="15191A"/>
                </a:solidFill>
                <a:effectLst/>
                <a:uLnTx/>
                <a:uFillTx/>
                <a:latin typeface="Verdana"/>
                <a:ea typeface="+mn-ea"/>
                <a:cs typeface="Verdana"/>
              </a:rPr>
              <a:t> </a:t>
            </a:r>
            <a:r>
              <a:rPr lang="en-US" sz="1600" spc="-5" dirty="0">
                <a:solidFill>
                  <a:srgbClr val="15191A"/>
                </a:solidFill>
                <a:latin typeface="Verdana"/>
                <a:cs typeface="Verdana"/>
                <a:hlinkClick r:id="rId5"/>
              </a:rPr>
              <a:t>AmyPass@CDW.com</a:t>
            </a:r>
            <a:endParaRPr kumimoji="0" sz="1600" b="0" i="0" u="none" strike="noStrike" kern="1200" cap="none" spc="0" normalizeH="0" baseline="0" noProof="0" dirty="0">
              <a:ln>
                <a:noFill/>
              </a:ln>
              <a:solidFill>
                <a:prstClr val="black"/>
              </a:solidFill>
              <a:effectLst/>
              <a:uLnTx/>
              <a:uFillTx/>
              <a:latin typeface="Verdana"/>
              <a:ea typeface="+mn-ea"/>
              <a:cs typeface="Verdan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B804502-54F1-6749-9FDC-A675271EBFF0}"/>
              </a:ext>
            </a:extLst>
          </p:cNvPr>
          <p:cNvSpPr>
            <a:spLocks noGrp="1"/>
          </p:cNvSpPr>
          <p:nvPr>
            <p:ph type="body" sz="quarter" idx="21"/>
          </p:nvPr>
        </p:nvSpPr>
        <p:spPr/>
        <p:txBody>
          <a:bodyPr/>
          <a:lstStyle/>
          <a:p>
            <a:r>
              <a:rPr lang="en-US"/>
              <a:t>E-Rate Invoicing</a:t>
            </a:r>
          </a:p>
        </p:txBody>
      </p:sp>
      <p:sp>
        <p:nvSpPr>
          <p:cNvPr id="6" name="Text Placeholder 5">
            <a:extLst>
              <a:ext uri="{FF2B5EF4-FFF2-40B4-BE49-F238E27FC236}">
                <a16:creationId xmlns:a16="http://schemas.microsoft.com/office/drawing/2014/main" id="{E9FC49D5-8161-1346-B32A-7AA6C8164729}"/>
              </a:ext>
            </a:extLst>
          </p:cNvPr>
          <p:cNvSpPr>
            <a:spLocks noGrp="1"/>
          </p:cNvSpPr>
          <p:nvPr>
            <p:ph type="body" sz="quarter" idx="23"/>
          </p:nvPr>
        </p:nvSpPr>
        <p:spPr/>
        <p:txBody>
          <a:bodyPr/>
          <a:lstStyle/>
          <a:p>
            <a:r>
              <a:rPr lang="en-US"/>
              <a:t>E-Rate Solutions</a:t>
            </a:r>
          </a:p>
        </p:txBody>
      </p:sp>
      <p:sp>
        <p:nvSpPr>
          <p:cNvPr id="4" name="Text Placeholder 3">
            <a:extLst>
              <a:ext uri="{FF2B5EF4-FFF2-40B4-BE49-F238E27FC236}">
                <a16:creationId xmlns:a16="http://schemas.microsoft.com/office/drawing/2014/main" id="{BC044FED-C70A-5543-974C-3476C5256EA0}"/>
              </a:ext>
            </a:extLst>
          </p:cNvPr>
          <p:cNvSpPr>
            <a:spLocks noGrp="1"/>
          </p:cNvSpPr>
          <p:nvPr>
            <p:ph type="body" sz="quarter" idx="19"/>
          </p:nvPr>
        </p:nvSpPr>
        <p:spPr/>
        <p:txBody>
          <a:bodyPr/>
          <a:lstStyle/>
          <a:p>
            <a:r>
              <a:rPr lang="en-US"/>
              <a:t>E-Rate Program</a:t>
            </a:r>
          </a:p>
        </p:txBody>
      </p:sp>
      <p:sp>
        <p:nvSpPr>
          <p:cNvPr id="3" name="Text Placeholder 2">
            <a:extLst>
              <a:ext uri="{FF2B5EF4-FFF2-40B4-BE49-F238E27FC236}">
                <a16:creationId xmlns:a16="http://schemas.microsoft.com/office/drawing/2014/main" id="{9F31F2B7-240F-FF4A-BECF-E16783C649B0}"/>
              </a:ext>
            </a:extLst>
          </p:cNvPr>
          <p:cNvSpPr>
            <a:spLocks noGrp="1"/>
          </p:cNvSpPr>
          <p:nvPr>
            <p:ph type="body" sz="quarter" idx="17"/>
          </p:nvPr>
        </p:nvSpPr>
        <p:spPr/>
        <p:txBody>
          <a:bodyPr/>
          <a:lstStyle/>
          <a:p>
            <a:r>
              <a:rPr lang="en-US"/>
              <a:t>E-Rate Sales</a:t>
            </a:r>
          </a:p>
        </p:txBody>
      </p:sp>
      <p:sp>
        <p:nvSpPr>
          <p:cNvPr id="2" name="Title 1">
            <a:extLst>
              <a:ext uri="{FF2B5EF4-FFF2-40B4-BE49-F238E27FC236}">
                <a16:creationId xmlns:a16="http://schemas.microsoft.com/office/drawing/2014/main" id="{D23F483C-8868-0F45-A685-10CD0633223E}"/>
              </a:ext>
            </a:extLst>
          </p:cNvPr>
          <p:cNvSpPr>
            <a:spLocks noGrp="1"/>
          </p:cNvSpPr>
          <p:nvPr>
            <p:ph type="title"/>
          </p:nvPr>
        </p:nvSpPr>
        <p:spPr/>
        <p:txBody>
          <a:bodyPr>
            <a:normAutofit fontScale="90000"/>
          </a:bodyPr>
          <a:lstStyle/>
          <a:p>
            <a:r>
              <a:rPr lang="en-US"/>
              <a:t>CDW E-Rate </a:t>
            </a:r>
            <a:r>
              <a:rPr lang="en-US" err="1"/>
              <a:t>TEams</a:t>
            </a:r>
            <a:endParaRPr lang="en-US"/>
          </a:p>
        </p:txBody>
      </p:sp>
      <p:sp>
        <p:nvSpPr>
          <p:cNvPr id="12" name="Text Placeholder 11">
            <a:extLst>
              <a:ext uri="{FF2B5EF4-FFF2-40B4-BE49-F238E27FC236}">
                <a16:creationId xmlns:a16="http://schemas.microsoft.com/office/drawing/2014/main" id="{E1CB399C-0BC5-3245-95C6-42CC607BD0F3}"/>
              </a:ext>
            </a:extLst>
          </p:cNvPr>
          <p:cNvSpPr>
            <a:spLocks noGrp="1"/>
          </p:cNvSpPr>
          <p:nvPr>
            <p:ph type="body" sz="quarter" idx="29"/>
          </p:nvPr>
        </p:nvSpPr>
        <p:spPr/>
        <p:txBody>
          <a:bodyPr/>
          <a:lstStyle/>
          <a:p>
            <a:r>
              <a:rPr lang="en-US"/>
              <a:t>Program knowledge, compliance, experience, investment</a:t>
            </a:r>
          </a:p>
        </p:txBody>
      </p:sp>
      <p:sp>
        <p:nvSpPr>
          <p:cNvPr id="7" name="Text Placeholder 6">
            <a:extLst>
              <a:ext uri="{FF2B5EF4-FFF2-40B4-BE49-F238E27FC236}">
                <a16:creationId xmlns:a16="http://schemas.microsoft.com/office/drawing/2014/main" id="{327A3362-AE27-D74D-8649-889756ED5BF3}"/>
              </a:ext>
            </a:extLst>
          </p:cNvPr>
          <p:cNvSpPr>
            <a:spLocks noGrp="1"/>
          </p:cNvSpPr>
          <p:nvPr>
            <p:ph type="body" sz="quarter" idx="27"/>
          </p:nvPr>
        </p:nvSpPr>
        <p:spPr/>
        <p:txBody>
          <a:bodyPr/>
          <a:lstStyle/>
          <a:p>
            <a:r>
              <a:rPr lang="en-US"/>
              <a:t>E-Rate Manager</a:t>
            </a:r>
          </a:p>
          <a:p>
            <a:r>
              <a:rPr lang="en-US"/>
              <a:t>Sr </a:t>
            </a:r>
            <a:r>
              <a:rPr lang="en-US" err="1"/>
              <a:t>Mrg</a:t>
            </a:r>
            <a:r>
              <a:rPr lang="en-US"/>
              <a:t>, EDU Funding Solutions</a:t>
            </a:r>
          </a:p>
        </p:txBody>
      </p:sp>
      <p:sp>
        <p:nvSpPr>
          <p:cNvPr id="8" name="Text Placeholder 7">
            <a:extLst>
              <a:ext uri="{FF2B5EF4-FFF2-40B4-BE49-F238E27FC236}">
                <a16:creationId xmlns:a16="http://schemas.microsoft.com/office/drawing/2014/main" id="{510DFA3F-32D5-6C4C-8D3F-16CBB26E9667}"/>
              </a:ext>
            </a:extLst>
          </p:cNvPr>
          <p:cNvSpPr>
            <a:spLocks noGrp="1"/>
          </p:cNvSpPr>
          <p:nvPr>
            <p:ph type="body" sz="quarter" idx="28"/>
          </p:nvPr>
        </p:nvSpPr>
        <p:spPr/>
        <p:txBody>
          <a:bodyPr/>
          <a:lstStyle/>
          <a:p>
            <a:r>
              <a:rPr lang="en-US"/>
              <a:t>Program Manager: E-Rate</a:t>
            </a:r>
          </a:p>
          <a:p>
            <a:r>
              <a:rPr lang="en-US"/>
              <a:t>Program Analyst</a:t>
            </a:r>
          </a:p>
        </p:txBody>
      </p:sp>
      <p:sp>
        <p:nvSpPr>
          <p:cNvPr id="13" name="Text Placeholder 12">
            <a:extLst>
              <a:ext uri="{FF2B5EF4-FFF2-40B4-BE49-F238E27FC236}">
                <a16:creationId xmlns:a16="http://schemas.microsoft.com/office/drawing/2014/main" id="{DD657A7F-4F3B-C040-8CCB-56126B1CA716}"/>
              </a:ext>
            </a:extLst>
          </p:cNvPr>
          <p:cNvSpPr>
            <a:spLocks noGrp="1"/>
          </p:cNvSpPr>
          <p:nvPr>
            <p:ph type="body" sz="quarter" idx="30"/>
          </p:nvPr>
        </p:nvSpPr>
        <p:spPr/>
        <p:txBody>
          <a:bodyPr/>
          <a:lstStyle/>
          <a:p>
            <a:r>
              <a:rPr lang="en-US"/>
              <a:t>Sr Invoicing Specialist</a:t>
            </a:r>
          </a:p>
          <a:p>
            <a:r>
              <a:rPr lang="en-US"/>
              <a:t>Sr Invoicing Specialist</a:t>
            </a:r>
          </a:p>
        </p:txBody>
      </p:sp>
      <p:sp>
        <p:nvSpPr>
          <p:cNvPr id="14" name="Text Placeholder 13">
            <a:extLst>
              <a:ext uri="{FF2B5EF4-FFF2-40B4-BE49-F238E27FC236}">
                <a16:creationId xmlns:a16="http://schemas.microsoft.com/office/drawing/2014/main" id="{E146FF06-C0F7-A746-8B14-BE1A72F9E793}"/>
              </a:ext>
            </a:extLst>
          </p:cNvPr>
          <p:cNvSpPr>
            <a:spLocks noGrp="1"/>
          </p:cNvSpPr>
          <p:nvPr>
            <p:ph type="body" sz="quarter" idx="31"/>
          </p:nvPr>
        </p:nvSpPr>
        <p:spPr/>
        <p:txBody>
          <a:bodyPr/>
          <a:lstStyle/>
          <a:p>
            <a:r>
              <a:rPr lang="en-US"/>
              <a:t>K12 focused solution architect team</a:t>
            </a:r>
          </a:p>
        </p:txBody>
      </p:sp>
      <p:pic>
        <p:nvPicPr>
          <p:cNvPr id="36" name="Graphic 35">
            <a:extLst>
              <a:ext uri="{FF2B5EF4-FFF2-40B4-BE49-F238E27FC236}">
                <a16:creationId xmlns:a16="http://schemas.microsoft.com/office/drawing/2014/main" id="{706071B7-4488-154D-9E80-554F7CB5F5E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080279" y="2428185"/>
            <a:ext cx="865796" cy="779217"/>
          </a:xfrm>
          <a:prstGeom prst="rect">
            <a:avLst/>
          </a:prstGeom>
        </p:spPr>
      </p:pic>
      <p:sp>
        <p:nvSpPr>
          <p:cNvPr id="26" name="TextBox 25">
            <a:extLst>
              <a:ext uri="{FF2B5EF4-FFF2-40B4-BE49-F238E27FC236}">
                <a16:creationId xmlns:a16="http://schemas.microsoft.com/office/drawing/2014/main" id="{54DBD2D5-0B1E-3E4A-9188-D1828D27616C}"/>
              </a:ext>
            </a:extLst>
          </p:cNvPr>
          <p:cNvSpPr txBox="1"/>
          <p:nvPr/>
        </p:nvSpPr>
        <p:spPr>
          <a:xfrm>
            <a:off x="12424373" y="2648197"/>
            <a:ext cx="1945738" cy="2723798"/>
          </a:xfrm>
          <a:prstGeom prst="rect">
            <a:avLst/>
          </a:prstGeom>
          <a:solidFill>
            <a:srgbClr val="FFFF00"/>
          </a:solidFill>
        </p:spPr>
        <p:txBody>
          <a:bodyPr wrap="square" lIns="91428" tIns="91428" rIns="91428" bIns="91428" rtlCol="0">
            <a:spAutoFit/>
          </a:bodyPr>
          <a:lstStyle/>
          <a:p>
            <a:pPr defTabSz="914263"/>
            <a:r>
              <a:rPr lang="en-US" sz="1100">
                <a:solidFill>
                  <a:srgbClr val="000000"/>
                </a:solidFill>
                <a:latin typeface="Verdana" charset="0"/>
                <a:ea typeface="Verdana" charset="0"/>
                <a:cs typeface="Verdana" charset="0"/>
              </a:rPr>
              <a:t>To update the icons, navigate to the </a:t>
            </a:r>
            <a:r>
              <a:rPr lang="en-US" sz="1100" b="1">
                <a:solidFill>
                  <a:srgbClr val="000000"/>
                </a:solidFill>
                <a:latin typeface="Verdana" charset="0"/>
                <a:ea typeface="Verdana" charset="0"/>
                <a:cs typeface="Verdana" charset="0"/>
              </a:rPr>
              <a:t>CDW Black Icons Library</a:t>
            </a:r>
            <a:r>
              <a:rPr lang="en-US" sz="1100">
                <a:solidFill>
                  <a:srgbClr val="000000"/>
                </a:solidFill>
                <a:latin typeface="Verdana" charset="0"/>
                <a:ea typeface="Verdana" charset="0"/>
                <a:cs typeface="Verdana" charset="0"/>
              </a:rPr>
              <a:t> at the end of this deck. Select an appropriate icon and copy it. Navigate back to this slide, click on the icon you would like to change. </a:t>
            </a:r>
            <a:r>
              <a:rPr lang="en-US" sz="1100" b="1">
                <a:solidFill>
                  <a:srgbClr val="000000"/>
                </a:solidFill>
                <a:latin typeface="Verdana" charset="0"/>
                <a:ea typeface="Verdana" charset="0"/>
                <a:cs typeface="Verdana" charset="0"/>
              </a:rPr>
              <a:t>Right click and select Change Picture – From Clipboard</a:t>
            </a:r>
            <a:r>
              <a:rPr lang="en-US" sz="1100">
                <a:solidFill>
                  <a:srgbClr val="000000"/>
                </a:solidFill>
                <a:latin typeface="Verdana" charset="0"/>
                <a:ea typeface="Verdana" charset="0"/>
                <a:cs typeface="Verdana" charset="0"/>
              </a:rPr>
              <a:t>. </a:t>
            </a:r>
          </a:p>
          <a:p>
            <a:pPr defTabSz="914263"/>
            <a:r>
              <a:rPr lang="en-US" sz="1100">
                <a:solidFill>
                  <a:srgbClr val="000000"/>
                </a:solidFill>
                <a:latin typeface="Verdana" charset="0"/>
                <a:ea typeface="Verdana" charset="0"/>
                <a:cs typeface="Verdana" charset="0"/>
              </a:rPr>
              <a:t>You may need to scale / center the icon slightly</a:t>
            </a:r>
          </a:p>
        </p:txBody>
      </p:sp>
      <p:sp>
        <p:nvSpPr>
          <p:cNvPr id="21" name="Slide Number Placeholder 5">
            <a:extLst>
              <a:ext uri="{FF2B5EF4-FFF2-40B4-BE49-F238E27FC236}">
                <a16:creationId xmlns:a16="http://schemas.microsoft.com/office/drawing/2014/main" id="{29D17021-E75D-B944-8698-0722433A2921}"/>
              </a:ext>
            </a:extLst>
          </p:cNvPr>
          <p:cNvSpPr txBox="1">
            <a:spLocks/>
          </p:cNvSpPr>
          <p:nvPr/>
        </p:nvSpPr>
        <p:spPr>
          <a:xfrm>
            <a:off x="322848" y="6426172"/>
            <a:ext cx="515352" cy="224670"/>
          </a:xfrm>
          <a:prstGeom prst="rect">
            <a:avLst/>
          </a:prstGeom>
        </p:spPr>
        <p:txBody>
          <a:bodyPr vert="horz" lIns="45714" tIns="22857" rIns="45714" bIns="22857" rtlCol="0" anchor="ctr"/>
          <a:lstStyle>
            <a:defPPr>
              <a:defRPr lang="en-US"/>
            </a:defPPr>
            <a:lvl1pPr marL="0" algn="l" defTabSz="1828891" rtl="0" eaLnBrk="1" latinLnBrk="0" hangingPunct="1">
              <a:defRPr sz="1600" kern="1200">
                <a:solidFill>
                  <a:schemeClr val="accent2"/>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263"/>
            <a:fld id="{8FED1F56-C974-6A47-A7B1-11C2DE7BEE2D}" type="slidenum">
              <a:rPr lang="en-US" sz="800">
                <a:solidFill>
                  <a:srgbClr val="53565B"/>
                </a:solidFill>
                <a:latin typeface="Verdana"/>
              </a:rPr>
              <a:pPr defTabSz="914263"/>
              <a:t>29</a:t>
            </a:fld>
            <a:endParaRPr lang="en-US" sz="800">
              <a:solidFill>
                <a:srgbClr val="53565B"/>
              </a:solidFill>
              <a:latin typeface="Verdana"/>
            </a:endParaRPr>
          </a:p>
        </p:txBody>
      </p:sp>
      <p:pic>
        <p:nvPicPr>
          <p:cNvPr id="18" name="Graphic 17">
            <a:extLst>
              <a:ext uri="{FF2B5EF4-FFF2-40B4-BE49-F238E27FC236}">
                <a16:creationId xmlns:a16="http://schemas.microsoft.com/office/drawing/2014/main" id="{B9D83E12-668A-4F0A-9787-4CCDAD59AC0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72130" y="2428184"/>
            <a:ext cx="865796" cy="779217"/>
          </a:xfrm>
          <a:prstGeom prst="rect">
            <a:avLst/>
          </a:prstGeom>
        </p:spPr>
      </p:pic>
      <p:pic>
        <p:nvPicPr>
          <p:cNvPr id="19" name="Graphic 18">
            <a:extLst>
              <a:ext uri="{FF2B5EF4-FFF2-40B4-BE49-F238E27FC236}">
                <a16:creationId xmlns:a16="http://schemas.microsoft.com/office/drawing/2014/main" id="{CE533D25-FB97-4BAE-B7EC-3DA2E49BD67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408232" y="2428185"/>
            <a:ext cx="865796" cy="779217"/>
          </a:xfrm>
          <a:prstGeom prst="rect">
            <a:avLst/>
          </a:prstGeom>
        </p:spPr>
      </p:pic>
      <p:pic>
        <p:nvPicPr>
          <p:cNvPr id="20" name="Graphic 19">
            <a:extLst>
              <a:ext uri="{FF2B5EF4-FFF2-40B4-BE49-F238E27FC236}">
                <a16:creationId xmlns:a16="http://schemas.microsoft.com/office/drawing/2014/main" id="{21D1F626-30AE-4BA4-B2A8-32BC9D0F3A9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751280" y="2459306"/>
            <a:ext cx="865796" cy="779217"/>
          </a:xfrm>
          <a:prstGeom prst="rect">
            <a:avLst/>
          </a:prstGeom>
        </p:spPr>
      </p:pic>
    </p:spTree>
    <p:extLst>
      <p:ext uri="{BB962C8B-B14F-4D97-AF65-F5344CB8AC3E}">
        <p14:creationId xmlns:p14="http://schemas.microsoft.com/office/powerpoint/2010/main" val="176450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85253" y="227203"/>
            <a:ext cx="6189784" cy="720436"/>
          </a:xfrm>
        </p:spPr>
        <p:txBody>
          <a:bodyPr>
            <a:normAutofit/>
          </a:bodyPr>
          <a:lstStyle/>
          <a:p>
            <a:r>
              <a:rPr lang="en-US" sz="3200" dirty="0"/>
              <a:t>Webinar Agenda:  </a:t>
            </a:r>
          </a:p>
        </p:txBody>
      </p:sp>
      <p:sp>
        <p:nvSpPr>
          <p:cNvPr id="7" name="Title 2"/>
          <p:cNvSpPr txBox="1">
            <a:spLocks/>
          </p:cNvSpPr>
          <p:nvPr/>
        </p:nvSpPr>
        <p:spPr>
          <a:xfrm>
            <a:off x="961294" y="1652954"/>
            <a:ext cx="6189784" cy="5205046"/>
          </a:xfrm>
          <a:prstGeom prst="rect">
            <a:avLst/>
          </a:prstGeom>
        </p:spPr>
        <p:txBody>
          <a:bodyPr vert="horz" lIns="91440" tIns="45720" rIns="91440" bIns="45720" rtlCol="0" anchor="b" anchorCtr="0">
            <a:normAutofit fontScale="47500" lnSpcReduction="20000"/>
          </a:bodyPr>
          <a:lstStyle>
            <a:lvl1pPr algn="l" defTabSz="914400" rtl="0" eaLnBrk="1" latinLnBrk="0" hangingPunct="1">
              <a:lnSpc>
                <a:spcPct val="90000"/>
              </a:lnSpc>
              <a:spcBef>
                <a:spcPct val="0"/>
              </a:spcBef>
              <a:buNone/>
              <a:defRPr sz="3600" kern="1200" baseline="0">
                <a:solidFill>
                  <a:schemeClr val="accent4"/>
                </a:solidFill>
                <a:latin typeface="Merriweather" pitchFamily="2" charset="77"/>
                <a:ea typeface="+mj-ea"/>
                <a:cs typeface="+mj-cs"/>
              </a:defRPr>
            </a:lvl1pPr>
          </a:lstStyle>
          <a:p>
            <a:pPr>
              <a:lnSpc>
                <a:spcPct val="120000"/>
              </a:lnSpc>
            </a:pPr>
            <a:r>
              <a:rPr lang="en-US" dirty="0">
                <a:latin typeface="+mn-lt"/>
              </a:rPr>
              <a:t>Welcome/Opening Remarks</a:t>
            </a:r>
          </a:p>
          <a:p>
            <a:pPr marL="571500" indent="-571500">
              <a:lnSpc>
                <a:spcPct val="120000"/>
              </a:lnSpc>
              <a:buFont typeface="Wingdings" panose="05000000000000000000" pitchFamily="2" charset="2"/>
              <a:buChar char="§"/>
            </a:pPr>
            <a:r>
              <a:rPr lang="en-US" dirty="0">
                <a:latin typeface="+mn-lt"/>
              </a:rPr>
              <a:t>Terry Lee, FDIC 	</a:t>
            </a:r>
          </a:p>
          <a:p>
            <a:pPr>
              <a:lnSpc>
                <a:spcPct val="120000"/>
              </a:lnSpc>
            </a:pPr>
            <a:endParaRPr lang="en-US" dirty="0">
              <a:latin typeface="+mn-lt"/>
            </a:endParaRPr>
          </a:p>
          <a:p>
            <a:pPr>
              <a:lnSpc>
                <a:spcPct val="120000"/>
              </a:lnSpc>
            </a:pPr>
            <a:r>
              <a:rPr lang="en-US" dirty="0">
                <a:latin typeface="+mn-lt"/>
              </a:rPr>
              <a:t>Aim of the webinar series </a:t>
            </a:r>
            <a:r>
              <a:rPr lang="en-US" sz="3300" dirty="0">
                <a:latin typeface="+mn-lt"/>
              </a:rPr>
              <a:t>(spoiler alert: systemic inclusion</a:t>
            </a:r>
            <a:r>
              <a:rPr lang="en-US" dirty="0">
                <a:latin typeface="+mn-lt"/>
              </a:rPr>
              <a:t>)</a:t>
            </a:r>
          </a:p>
          <a:p>
            <a:pPr marL="571500" indent="-571500">
              <a:lnSpc>
                <a:spcPct val="120000"/>
              </a:lnSpc>
              <a:buFont typeface="Wingdings" panose="05000000000000000000" pitchFamily="2" charset="2"/>
              <a:buChar char="§"/>
            </a:pPr>
            <a:r>
              <a:rPr lang="en-US" dirty="0">
                <a:latin typeface="+mn-lt"/>
              </a:rPr>
              <a:t>Dr. Bob McLaughlin, NCDE </a:t>
            </a:r>
          </a:p>
          <a:p>
            <a:pPr>
              <a:lnSpc>
                <a:spcPct val="120000"/>
              </a:lnSpc>
            </a:pPr>
            <a:endParaRPr lang="en-US" dirty="0">
              <a:latin typeface="+mn-lt"/>
            </a:endParaRPr>
          </a:p>
          <a:p>
            <a:pPr>
              <a:lnSpc>
                <a:spcPct val="120000"/>
              </a:lnSpc>
            </a:pPr>
            <a:r>
              <a:rPr lang="en-US" dirty="0">
                <a:latin typeface="+mn-lt"/>
              </a:rPr>
              <a:t>Panelists:</a:t>
            </a:r>
          </a:p>
          <a:p>
            <a:pPr marL="571500" indent="-571500">
              <a:lnSpc>
                <a:spcPct val="120000"/>
              </a:lnSpc>
              <a:buFont typeface="Wingdings" panose="05000000000000000000" pitchFamily="2" charset="2"/>
              <a:buChar char="§"/>
            </a:pPr>
            <a:r>
              <a:rPr lang="en-US" dirty="0">
                <a:latin typeface="+mn-lt"/>
              </a:rPr>
              <a:t>Angela Bennett, NTIA</a:t>
            </a:r>
          </a:p>
          <a:p>
            <a:pPr marL="571500" indent="-571500">
              <a:lnSpc>
                <a:spcPct val="120000"/>
              </a:lnSpc>
              <a:buFont typeface="Wingdings" panose="05000000000000000000" pitchFamily="2" charset="2"/>
              <a:buChar char="§"/>
            </a:pPr>
            <a:r>
              <a:rPr lang="en-US" dirty="0">
                <a:latin typeface="+mn-lt"/>
              </a:rPr>
              <a:t>Amy Passow, CDW</a:t>
            </a:r>
          </a:p>
          <a:p>
            <a:pPr marL="571500" indent="-571500">
              <a:lnSpc>
                <a:spcPct val="120000"/>
              </a:lnSpc>
              <a:buFont typeface="Wingdings" panose="05000000000000000000" pitchFamily="2" charset="2"/>
              <a:buChar char="§"/>
            </a:pPr>
            <a:r>
              <a:rPr lang="it-IT" dirty="0">
                <a:latin typeface="+mn-lt"/>
              </a:rPr>
              <a:t>Colin Rhinesmith, DERC</a:t>
            </a:r>
          </a:p>
          <a:p>
            <a:pPr marL="571500" indent="-571500">
              <a:lnSpc>
                <a:spcPct val="120000"/>
              </a:lnSpc>
              <a:buFont typeface="Wingdings" panose="05000000000000000000" pitchFamily="2" charset="2"/>
              <a:buChar char="§"/>
            </a:pPr>
            <a:r>
              <a:rPr lang="it-IT" dirty="0">
                <a:latin typeface="+mn-lt"/>
              </a:rPr>
              <a:t>David Rothstein, CFEF</a:t>
            </a:r>
          </a:p>
          <a:p>
            <a:pPr marL="571500" indent="-571500">
              <a:lnSpc>
                <a:spcPct val="120000"/>
              </a:lnSpc>
              <a:buFont typeface="Wingdings" panose="05000000000000000000" pitchFamily="2" charset="2"/>
              <a:buChar char="§"/>
            </a:pPr>
            <a:r>
              <a:rPr lang="it-IT" dirty="0">
                <a:latin typeface="+mn-lt"/>
              </a:rPr>
              <a:t>Lauren Smith, USDOL</a:t>
            </a:r>
          </a:p>
          <a:p>
            <a:pPr marL="571500" indent="-571500">
              <a:lnSpc>
                <a:spcPct val="120000"/>
              </a:lnSpc>
              <a:buFont typeface="Wingdings" panose="05000000000000000000" pitchFamily="2" charset="2"/>
              <a:buChar char="§"/>
            </a:pPr>
            <a:r>
              <a:rPr lang="it-IT" dirty="0">
                <a:latin typeface="+mn-lt"/>
              </a:rPr>
              <a:t>Jill Wheeler, CFPB</a:t>
            </a:r>
          </a:p>
          <a:p>
            <a:pPr marL="571500" indent="-571500">
              <a:lnSpc>
                <a:spcPct val="120000"/>
              </a:lnSpc>
              <a:buFont typeface="Wingdings" panose="05000000000000000000" pitchFamily="2" charset="2"/>
              <a:buChar char="§"/>
            </a:pPr>
            <a:r>
              <a:rPr lang="it-IT" dirty="0">
                <a:latin typeface="+mn-lt"/>
              </a:rPr>
              <a:t>Dr. Fallon Wilson, MMTIC (unable to join us, </a:t>
            </a:r>
          </a:p>
          <a:p>
            <a:pPr>
              <a:lnSpc>
                <a:spcPct val="120000"/>
              </a:lnSpc>
            </a:pPr>
            <a:r>
              <a:rPr lang="it-IT" dirty="0">
                <a:latin typeface="+mn-lt"/>
              </a:rPr>
              <a:t>	slides included)</a:t>
            </a:r>
          </a:p>
          <a:p>
            <a:pPr>
              <a:lnSpc>
                <a:spcPct val="120000"/>
              </a:lnSpc>
            </a:pPr>
            <a:endParaRPr lang="en-US" dirty="0">
              <a:latin typeface="+mn-lt"/>
            </a:endParaRPr>
          </a:p>
          <a:p>
            <a:pPr marL="571500" indent="-571500">
              <a:lnSpc>
                <a:spcPct val="120000"/>
              </a:lnSpc>
              <a:buFont typeface="Wingdings" panose="05000000000000000000" pitchFamily="2" charset="2"/>
              <a:buChar char="§"/>
            </a:pPr>
            <a:r>
              <a:rPr lang="en-US" dirty="0">
                <a:latin typeface="+mn-lt"/>
              </a:rPr>
              <a:t>Q &amp; A</a:t>
            </a:r>
          </a:p>
          <a:p>
            <a:pPr>
              <a:lnSpc>
                <a:spcPct val="120000"/>
              </a:lnSpc>
            </a:pPr>
            <a:endParaRPr lang="en-US" dirty="0">
              <a:latin typeface="+mn-lt"/>
            </a:endParaRPr>
          </a:p>
          <a:p>
            <a:pPr marL="571500" indent="-571500">
              <a:lnSpc>
                <a:spcPct val="120000"/>
              </a:lnSpc>
              <a:buFont typeface="Wingdings" panose="05000000000000000000" pitchFamily="2" charset="2"/>
              <a:buChar char="§"/>
            </a:pPr>
            <a:r>
              <a:rPr lang="en-US" dirty="0">
                <a:latin typeface="+mn-lt"/>
              </a:rPr>
              <a:t>Next steps</a:t>
            </a:r>
          </a:p>
          <a:p>
            <a:pPr marL="571500" indent="-571500">
              <a:buFont typeface="Wingdings" panose="05000000000000000000" pitchFamily="2" charset="2"/>
              <a:buChar char="ü"/>
            </a:pPr>
            <a:endParaRPr lang="en-US" dirty="0"/>
          </a:p>
          <a:p>
            <a:endParaRPr lang="en-US" dirty="0"/>
          </a:p>
          <a:p>
            <a:pPr marL="571500" indent="-571500">
              <a:buFont typeface="Wingdings" panose="05000000000000000000" pitchFamily="2" charset="2"/>
              <a:buChar char="ü"/>
            </a:pPr>
            <a:endParaRPr lang="en-US" dirty="0"/>
          </a:p>
          <a:p>
            <a:pPr marL="571500" indent="-571500">
              <a:buFont typeface="Wingdings" panose="05000000000000000000" pitchFamily="2" charset="2"/>
              <a:buChar char="ü"/>
            </a:pP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3</a:t>
            </a:fld>
            <a:endParaRPr lang="en-US"/>
          </a:p>
        </p:txBody>
      </p:sp>
    </p:spTree>
    <p:extLst>
      <p:ext uri="{BB962C8B-B14F-4D97-AF65-F5344CB8AC3E}">
        <p14:creationId xmlns:p14="http://schemas.microsoft.com/office/powerpoint/2010/main" val="25326298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CCC37-1190-4B6F-8922-19C09D04B129}"/>
              </a:ext>
            </a:extLst>
          </p:cNvPr>
          <p:cNvSpPr>
            <a:spLocks noGrp="1"/>
          </p:cNvSpPr>
          <p:nvPr>
            <p:ph type="title"/>
          </p:nvPr>
        </p:nvSpPr>
        <p:spPr>
          <a:xfrm>
            <a:off x="7188052" y="103749"/>
            <a:ext cx="4807395" cy="490611"/>
          </a:xfrm>
        </p:spPr>
        <p:txBody>
          <a:bodyPr vert="horz" lIns="91440" tIns="45720" rIns="91440" bIns="45720" rtlCol="0" anchor="b">
            <a:normAutofit/>
          </a:bodyPr>
          <a:lstStyle/>
          <a:p>
            <a:r>
              <a:rPr lang="en-US" sz="2400" b="1" dirty="0">
                <a:solidFill>
                  <a:srgbClr val="C00000"/>
                </a:solidFill>
                <a:latin typeface="Verdana" panose="020B0604030504040204" pitchFamily="34" charset="0"/>
                <a:ea typeface="Verdana" panose="020B0604030504040204" pitchFamily="34" charset="0"/>
              </a:rPr>
              <a:t>CDW </a:t>
            </a:r>
            <a:r>
              <a:rPr lang="en-US" sz="2400" b="1" dirty="0">
                <a:solidFill>
                  <a:schemeClr val="bg1"/>
                </a:solidFill>
                <a:latin typeface="Verdana" panose="020B0604030504040204" pitchFamily="34" charset="0"/>
                <a:ea typeface="Verdana" panose="020B0604030504040204" pitchFamily="34" charset="0"/>
              </a:rPr>
              <a:t>National</a:t>
            </a:r>
            <a:r>
              <a:rPr lang="en-US" sz="2400" b="1" dirty="0">
                <a:solidFill>
                  <a:srgbClr val="C00000"/>
                </a:solidFill>
                <a:latin typeface="Verdana" panose="020B0604030504040204" pitchFamily="34" charset="0"/>
                <a:ea typeface="Verdana" panose="020B0604030504040204" pitchFamily="34" charset="0"/>
              </a:rPr>
              <a:t> </a:t>
            </a:r>
            <a:r>
              <a:rPr lang="en-US" sz="2400" b="1" dirty="0">
                <a:solidFill>
                  <a:srgbClr val="00B050"/>
                </a:solidFill>
                <a:latin typeface="Verdana" panose="020B0604030504040204" pitchFamily="34" charset="0"/>
                <a:ea typeface="Verdana" panose="020B0604030504040204" pitchFamily="34" charset="0"/>
              </a:rPr>
              <a:t>HBCU</a:t>
            </a:r>
            <a:r>
              <a:rPr lang="en-US" sz="2400" b="1" dirty="0">
                <a:solidFill>
                  <a:srgbClr val="C00000"/>
                </a:solidFill>
                <a:latin typeface="Verdana" panose="020B0604030504040204" pitchFamily="34" charset="0"/>
                <a:ea typeface="Verdana" panose="020B0604030504040204" pitchFamily="34" charset="0"/>
              </a:rPr>
              <a:t> </a:t>
            </a:r>
            <a:r>
              <a:rPr lang="en-US" sz="2400" b="1" dirty="0">
                <a:solidFill>
                  <a:srgbClr val="FFFF00"/>
                </a:solidFill>
                <a:latin typeface="Verdana" panose="020B0604030504040204" pitchFamily="34" charset="0"/>
                <a:ea typeface="Verdana" panose="020B0604030504040204" pitchFamily="34" charset="0"/>
              </a:rPr>
              <a:t>Team</a:t>
            </a:r>
          </a:p>
        </p:txBody>
      </p:sp>
      <p:pic>
        <p:nvPicPr>
          <p:cNvPr id="4" name="Content Placeholder 3">
            <a:extLst>
              <a:ext uri="{FF2B5EF4-FFF2-40B4-BE49-F238E27FC236}">
                <a16:creationId xmlns:a16="http://schemas.microsoft.com/office/drawing/2014/main" id="{41729EBC-4964-4C23-A408-1703506A295E}"/>
              </a:ext>
            </a:extLst>
          </p:cNvPr>
          <p:cNvPicPr>
            <a:picLocks noGrp="1" noChangeAspect="1"/>
          </p:cNvPicPr>
          <p:nvPr>
            <p:ph idx="1"/>
          </p:nvPr>
        </p:nvPicPr>
        <p:blipFill rotWithShape="1">
          <a:blip r:embed="rId3"/>
          <a:srcRect t="956" r="-1" b="1469"/>
          <a:stretch/>
        </p:blipFill>
        <p:spPr>
          <a:xfrm>
            <a:off x="1" y="-12074"/>
            <a:ext cx="7006589" cy="6870074"/>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
        <p:nvSpPr>
          <p:cNvPr id="18" name="TextBox 17">
            <a:extLst>
              <a:ext uri="{FF2B5EF4-FFF2-40B4-BE49-F238E27FC236}">
                <a16:creationId xmlns:a16="http://schemas.microsoft.com/office/drawing/2014/main" id="{5BD29636-7E3B-4FF8-9FA5-540D7450E6F5}"/>
              </a:ext>
            </a:extLst>
          </p:cNvPr>
          <p:cNvSpPr txBox="1"/>
          <p:nvPr/>
        </p:nvSpPr>
        <p:spPr>
          <a:xfrm>
            <a:off x="7006589" y="698109"/>
            <a:ext cx="5185409" cy="590931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ke Durand, Hi-ED East Director</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maine Martin, HBCU Sales Manager</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bony Thomas, HBCU AM</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tch Huffington, HBCU Exec. AM</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Yakira Love, HBCU AM</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1" name="Picture 20" descr="A person smiling for the camera&#10;&#10;Description automatically generated with medium confidence">
            <a:extLst>
              <a:ext uri="{FF2B5EF4-FFF2-40B4-BE49-F238E27FC236}">
                <a16:creationId xmlns:a16="http://schemas.microsoft.com/office/drawing/2014/main" id="{699205A7-38DF-4540-8EF6-15BABB0DE2A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60970" y="477217"/>
            <a:ext cx="1083083" cy="1083083"/>
          </a:xfrm>
          <a:prstGeom prst="rect">
            <a:avLst/>
          </a:prstGeom>
          <a:ln>
            <a:noFill/>
          </a:ln>
          <a:effectLst>
            <a:softEdge rad="112500"/>
          </a:effectLst>
        </p:spPr>
      </p:pic>
      <p:pic>
        <p:nvPicPr>
          <p:cNvPr id="23" name="Picture 22" descr="A person with a beard&#10;&#10;Description automatically generated with low confidence">
            <a:extLst>
              <a:ext uri="{FF2B5EF4-FFF2-40B4-BE49-F238E27FC236}">
                <a16:creationId xmlns:a16="http://schemas.microsoft.com/office/drawing/2014/main" id="{C0CD211C-D957-4491-8EE6-DDEC3BC816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3248" y="1664049"/>
            <a:ext cx="997271" cy="1447275"/>
          </a:xfrm>
          <a:prstGeom prst="rect">
            <a:avLst/>
          </a:prstGeom>
          <a:ln>
            <a:noFill/>
          </a:ln>
          <a:effectLst>
            <a:softEdge rad="112500"/>
          </a:effectLst>
        </p:spPr>
      </p:pic>
      <p:pic>
        <p:nvPicPr>
          <p:cNvPr id="25" name="Picture 24" descr="A person wearing glasses&#10;&#10;Description automatically generated with low confidence">
            <a:extLst>
              <a:ext uri="{FF2B5EF4-FFF2-40B4-BE49-F238E27FC236}">
                <a16:creationId xmlns:a16="http://schemas.microsoft.com/office/drawing/2014/main" id="{4E7FF2FF-72E4-455C-BC72-1279FAD3900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8500922" y="2881385"/>
            <a:ext cx="1189101" cy="1189101"/>
          </a:xfrm>
          <a:prstGeom prst="rect">
            <a:avLst/>
          </a:prstGeom>
          <a:ln>
            <a:noFill/>
          </a:ln>
          <a:effectLst>
            <a:softEdge rad="112500"/>
          </a:effectLst>
        </p:spPr>
      </p:pic>
      <p:pic>
        <p:nvPicPr>
          <p:cNvPr id="27" name="Picture 26" descr="A person wearing glasses and a suit&#10;&#10;Description automatically generated with low confidence">
            <a:extLst>
              <a:ext uri="{FF2B5EF4-FFF2-40B4-BE49-F238E27FC236}">
                <a16:creationId xmlns:a16="http://schemas.microsoft.com/office/drawing/2014/main" id="{50D6EE09-5E02-4B17-9220-8D189EBA3A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75946" y="4070486"/>
            <a:ext cx="1368107" cy="1368107"/>
          </a:xfrm>
          <a:prstGeom prst="rect">
            <a:avLst/>
          </a:prstGeom>
          <a:ln>
            <a:noFill/>
          </a:ln>
          <a:effectLst>
            <a:softEdge rad="112500"/>
          </a:effectLst>
        </p:spPr>
      </p:pic>
      <p:pic>
        <p:nvPicPr>
          <p:cNvPr id="29" name="Picture 28" descr="A person smiling for the camera&#10;&#10;Description automatically generated with low confidence">
            <a:extLst>
              <a:ext uri="{FF2B5EF4-FFF2-40B4-BE49-F238E27FC236}">
                <a16:creationId xmlns:a16="http://schemas.microsoft.com/office/drawing/2014/main" id="{4D189900-788C-45DD-941A-C7021AFFB98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9624" y="5459725"/>
            <a:ext cx="1251443" cy="1251443"/>
          </a:xfrm>
          <a:prstGeom prst="rect">
            <a:avLst/>
          </a:prstGeom>
          <a:ln>
            <a:noFill/>
          </a:ln>
          <a:effectLst>
            <a:softEdge rad="112500"/>
          </a:effectLst>
        </p:spPr>
      </p:pic>
    </p:spTree>
    <p:extLst>
      <p:ext uri="{BB962C8B-B14F-4D97-AF65-F5344CB8AC3E}">
        <p14:creationId xmlns:p14="http://schemas.microsoft.com/office/powerpoint/2010/main" val="20639666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506200" cy="719667"/>
          </a:xfrm>
        </p:spPr>
        <p:txBody>
          <a:bodyPr/>
          <a:lstStyle/>
          <a:p>
            <a:pPr algn="ctr"/>
            <a:r>
              <a:rPr lang="en-US" sz="3600" dirty="0">
                <a:solidFill>
                  <a:srgbClr val="588894"/>
                </a:solidFill>
                <a:latin typeface="Tw Cen MT" panose="020B0602020104020603" pitchFamily="34" charset="0"/>
              </a:rPr>
              <a:t>Closing the Technology Gap &amp; Facilitating Change</a:t>
            </a:r>
          </a:p>
        </p:txBody>
      </p:sp>
      <p:graphicFrame>
        <p:nvGraphicFramePr>
          <p:cNvPr id="6" name="Content Placeholder 5" descr="Basic Chevron Process diagram showing 4 steps arranged from left to right"/>
          <p:cNvGraphicFramePr>
            <a:graphicFrameLocks noGrp="1"/>
          </p:cNvGraphicFramePr>
          <p:nvPr>
            <p:ph idx="4294967295"/>
          </p:nvPr>
        </p:nvGraphicFramePr>
        <p:xfrm>
          <a:off x="0" y="1341438"/>
          <a:ext cx="11312525" cy="4835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F251B7BB-0FBD-4AFA-81C6-6141604DBD63}"/>
              </a:ext>
            </a:extLst>
          </p:cNvPr>
          <p:cNvGraphicFramePr/>
          <p:nvPr/>
        </p:nvGraphicFramePr>
        <p:xfrm>
          <a:off x="508001" y="681037"/>
          <a:ext cx="10998199" cy="54572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Slide Number Placeholder 4">
            <a:extLst>
              <a:ext uri="{FF2B5EF4-FFF2-40B4-BE49-F238E27FC236}">
                <a16:creationId xmlns:a16="http://schemas.microsoft.com/office/drawing/2014/main" id="{867D7A19-85CD-484C-BC2D-4CB71E46A1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ED1F56-C974-6A47-A7B1-11C2DE7BEE2D}" type="slidenum">
              <a:rPr kumimoji="0" lang="en-US" sz="800" b="0" i="0" u="none" strike="noStrike" kern="1200" cap="none" spc="0" normalizeH="0" baseline="0" noProof="0" smtClean="0">
                <a:ln>
                  <a:noFill/>
                </a:ln>
                <a:solidFill>
                  <a:srgbClr val="588894"/>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588894"/>
              </a:solidFill>
              <a:effectLst/>
              <a:uLnTx/>
              <a:uFillTx/>
              <a:latin typeface="Verdana"/>
              <a:ea typeface="+mn-ea"/>
              <a:cs typeface="+mn-cs"/>
            </a:endParaRPr>
          </a:p>
        </p:txBody>
      </p:sp>
    </p:spTree>
    <p:extLst>
      <p:ext uri="{BB962C8B-B14F-4D97-AF65-F5344CB8AC3E}">
        <p14:creationId xmlns:p14="http://schemas.microsoft.com/office/powerpoint/2010/main" val="31121426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C022F-011F-4AC7-A3E1-45A915A631BD}"/>
              </a:ext>
            </a:extLst>
          </p:cNvPr>
          <p:cNvSpPr>
            <a:spLocks noGrp="1"/>
          </p:cNvSpPr>
          <p:nvPr>
            <p:ph type="title"/>
          </p:nvPr>
        </p:nvSpPr>
        <p:spPr/>
        <p:txBody>
          <a:bodyPr/>
          <a:lstStyle/>
          <a:p>
            <a:pPr defTabSz="1219170">
              <a:buClr>
                <a:srgbClr val="000000"/>
              </a:buClr>
            </a:pPr>
            <a:r>
              <a:rPr lang="en-US" sz="3200" b="1" kern="0" cap="none" dirty="0" err="1">
                <a:latin typeface="Calibri"/>
                <a:ea typeface="Calibri"/>
                <a:cs typeface="Calibri"/>
                <a:sym typeface="Calibri"/>
              </a:rPr>
              <a:t>LocalizeIT</a:t>
            </a:r>
            <a:r>
              <a:rPr lang="en-US" sz="3200" b="1" kern="0" cap="none" dirty="0">
                <a:latin typeface="Calibri"/>
                <a:ea typeface="Calibri"/>
                <a:cs typeface="Calibri"/>
                <a:sym typeface="Calibri"/>
              </a:rPr>
              <a:t> with CDW Amplified</a:t>
            </a:r>
            <a:r>
              <a:rPr lang="en-US" sz="3200" b="1" kern="0" dirty="0">
                <a:latin typeface="Calibri"/>
                <a:ea typeface="Calibri"/>
                <a:cs typeface="Calibri"/>
                <a:sym typeface="Calibri"/>
              </a:rPr>
              <a:t>™ </a:t>
            </a:r>
            <a:r>
              <a:rPr lang="en-US" sz="3200" b="1" kern="0" cap="none" dirty="0">
                <a:latin typeface="Calibri"/>
                <a:ea typeface="Calibri"/>
                <a:cs typeface="Calibri"/>
                <a:sym typeface="Calibri"/>
              </a:rPr>
              <a:t>Services</a:t>
            </a:r>
            <a:endParaRPr lang="en-US" sz="1000" kern="0" dirty="0">
              <a:latin typeface="Arial"/>
              <a:cs typeface="Arial"/>
              <a:sym typeface="Arial"/>
            </a:endParaRPr>
          </a:p>
        </p:txBody>
      </p:sp>
      <p:sp>
        <p:nvSpPr>
          <p:cNvPr id="3" name="Slide Number Placeholder 2">
            <a:extLst>
              <a:ext uri="{FF2B5EF4-FFF2-40B4-BE49-F238E27FC236}">
                <a16:creationId xmlns:a16="http://schemas.microsoft.com/office/drawing/2014/main" id="{E6E78C34-D55F-4E61-B94E-D0E39EC7B3C1}"/>
              </a:ext>
            </a:extLst>
          </p:cNvPr>
          <p:cNvSpPr>
            <a:spLocks noGrp="1"/>
          </p:cNvSpPr>
          <p:nvPr>
            <p:ph type="sldNum" sz="quarter" idx="4"/>
          </p:nvPr>
        </p:nvSpPr>
        <p:spPr/>
        <p:txBody>
          <a:bodyPr/>
          <a:lstStyle/>
          <a:p>
            <a:fld id="{8FED1F56-C974-6A47-A7B1-11C2DE7BEE2D}" type="slidenum">
              <a:rPr lang="en-US" smtClean="0"/>
              <a:pPr/>
              <a:t>32</a:t>
            </a:fld>
            <a:endParaRPr lang="en-US"/>
          </a:p>
        </p:txBody>
      </p:sp>
      <p:pic>
        <p:nvPicPr>
          <p:cNvPr id="4" name="Google Shape;224;p36">
            <a:extLst>
              <a:ext uri="{FF2B5EF4-FFF2-40B4-BE49-F238E27FC236}">
                <a16:creationId xmlns:a16="http://schemas.microsoft.com/office/drawing/2014/main" id="{248C3A09-5AAE-47F6-9570-A04DCFF74DA7}"/>
              </a:ext>
            </a:extLst>
          </p:cNvPr>
          <p:cNvPicPr preferRelativeResize="0"/>
          <p:nvPr/>
        </p:nvPicPr>
        <p:blipFill>
          <a:blip r:embed="rId2">
            <a:alphaModFix/>
          </a:blip>
          <a:stretch>
            <a:fillRect/>
          </a:stretch>
        </p:blipFill>
        <p:spPr>
          <a:xfrm>
            <a:off x="2376019" y="1641280"/>
            <a:ext cx="1027533" cy="1426067"/>
          </a:xfrm>
          <a:prstGeom prst="rect">
            <a:avLst/>
          </a:prstGeom>
          <a:noFill/>
          <a:ln>
            <a:noFill/>
          </a:ln>
        </p:spPr>
      </p:pic>
      <p:pic>
        <p:nvPicPr>
          <p:cNvPr id="5" name="Google Shape;225;p36">
            <a:extLst>
              <a:ext uri="{FF2B5EF4-FFF2-40B4-BE49-F238E27FC236}">
                <a16:creationId xmlns:a16="http://schemas.microsoft.com/office/drawing/2014/main" id="{DADDEE77-3186-42D6-8D5A-52ABC93357C2}"/>
              </a:ext>
            </a:extLst>
          </p:cNvPr>
          <p:cNvPicPr preferRelativeResize="0"/>
          <p:nvPr/>
        </p:nvPicPr>
        <p:blipFill>
          <a:blip r:embed="rId3">
            <a:alphaModFix/>
          </a:blip>
          <a:stretch>
            <a:fillRect/>
          </a:stretch>
        </p:blipFill>
        <p:spPr>
          <a:xfrm>
            <a:off x="5104852" y="1641280"/>
            <a:ext cx="1756251" cy="1426067"/>
          </a:xfrm>
          <a:prstGeom prst="rect">
            <a:avLst/>
          </a:prstGeom>
          <a:noFill/>
          <a:ln>
            <a:noFill/>
          </a:ln>
        </p:spPr>
      </p:pic>
      <p:pic>
        <p:nvPicPr>
          <p:cNvPr id="6" name="Google Shape;226;p36">
            <a:extLst>
              <a:ext uri="{FF2B5EF4-FFF2-40B4-BE49-F238E27FC236}">
                <a16:creationId xmlns:a16="http://schemas.microsoft.com/office/drawing/2014/main" id="{22AE1BF7-5607-46A9-BAA9-28E2C586C64E}"/>
              </a:ext>
            </a:extLst>
          </p:cNvPr>
          <p:cNvPicPr preferRelativeResize="0"/>
          <p:nvPr/>
        </p:nvPicPr>
        <p:blipFill>
          <a:blip r:embed="rId4">
            <a:alphaModFix/>
          </a:blip>
          <a:stretch>
            <a:fillRect/>
          </a:stretch>
        </p:blipFill>
        <p:spPr>
          <a:xfrm>
            <a:off x="8562420" y="1641280"/>
            <a:ext cx="1130669" cy="1426067"/>
          </a:xfrm>
          <a:prstGeom prst="rect">
            <a:avLst/>
          </a:prstGeom>
          <a:noFill/>
          <a:ln>
            <a:noFill/>
          </a:ln>
        </p:spPr>
      </p:pic>
      <p:sp>
        <p:nvSpPr>
          <p:cNvPr id="7" name="Google Shape;227;p36">
            <a:extLst>
              <a:ext uri="{FF2B5EF4-FFF2-40B4-BE49-F238E27FC236}">
                <a16:creationId xmlns:a16="http://schemas.microsoft.com/office/drawing/2014/main" id="{0AF1F95E-3D51-4FC4-AB07-2C90D06C6376}"/>
              </a:ext>
            </a:extLst>
          </p:cNvPr>
          <p:cNvSpPr txBox="1"/>
          <p:nvPr/>
        </p:nvSpPr>
        <p:spPr>
          <a:xfrm>
            <a:off x="1597985" y="3112513"/>
            <a:ext cx="2583600" cy="1436378"/>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2000" b="1" kern="0">
                <a:solidFill>
                  <a:srgbClr val="000000"/>
                </a:solidFill>
                <a:latin typeface="Calibri"/>
                <a:ea typeface="Calibri"/>
                <a:cs typeface="Calibri"/>
                <a:sym typeface="Calibri"/>
              </a:rPr>
              <a:t>Consult with Cisco Certified</a:t>
            </a:r>
            <a:endParaRPr sz="2000" b="1"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Solution Architects</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Solution Engineers</a:t>
            </a:r>
            <a:endParaRPr sz="1867" kern="0">
              <a:solidFill>
                <a:srgbClr val="000000"/>
              </a:solidFill>
              <a:latin typeface="Calibri"/>
              <a:ea typeface="Calibri"/>
              <a:cs typeface="Calibri"/>
              <a:sym typeface="Calibri"/>
            </a:endParaRPr>
          </a:p>
        </p:txBody>
      </p:sp>
      <p:sp>
        <p:nvSpPr>
          <p:cNvPr id="8" name="Google Shape;228;p36">
            <a:extLst>
              <a:ext uri="{FF2B5EF4-FFF2-40B4-BE49-F238E27FC236}">
                <a16:creationId xmlns:a16="http://schemas.microsoft.com/office/drawing/2014/main" id="{47555E83-C36A-4CE2-BC29-DF21F5345B6E}"/>
              </a:ext>
            </a:extLst>
          </p:cNvPr>
          <p:cNvSpPr txBox="1"/>
          <p:nvPr/>
        </p:nvSpPr>
        <p:spPr>
          <a:xfrm>
            <a:off x="4691169" y="3112497"/>
            <a:ext cx="2583600" cy="1703246"/>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2000" b="1" kern="0">
                <a:solidFill>
                  <a:srgbClr val="000000"/>
                </a:solidFill>
                <a:latin typeface="Calibri"/>
                <a:ea typeface="Calibri"/>
                <a:cs typeface="Calibri"/>
                <a:sym typeface="Calibri"/>
              </a:rPr>
              <a:t>Solution Deployment</a:t>
            </a:r>
            <a:endParaRPr sz="2000" b="1"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BoM Creation</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Installation</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Configuration</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Migration</a:t>
            </a:r>
            <a:endParaRPr sz="1867" kern="0">
              <a:solidFill>
                <a:srgbClr val="000000"/>
              </a:solidFill>
              <a:latin typeface="Calibri"/>
              <a:ea typeface="Calibri"/>
              <a:cs typeface="Calibri"/>
              <a:sym typeface="Calibri"/>
            </a:endParaRPr>
          </a:p>
        </p:txBody>
      </p:sp>
      <p:sp>
        <p:nvSpPr>
          <p:cNvPr id="9" name="Google Shape;229;p36">
            <a:extLst>
              <a:ext uri="{FF2B5EF4-FFF2-40B4-BE49-F238E27FC236}">
                <a16:creationId xmlns:a16="http://schemas.microsoft.com/office/drawing/2014/main" id="{5E2CFF78-8C44-4149-A966-E1C85BB55645}"/>
              </a:ext>
            </a:extLst>
          </p:cNvPr>
          <p:cNvSpPr txBox="1"/>
          <p:nvPr/>
        </p:nvSpPr>
        <p:spPr>
          <a:xfrm>
            <a:off x="7707552" y="3053580"/>
            <a:ext cx="2840400" cy="1703246"/>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2000" b="1" kern="0">
                <a:solidFill>
                  <a:srgbClr val="000000"/>
                </a:solidFill>
                <a:latin typeface="Calibri"/>
                <a:ea typeface="Calibri"/>
                <a:cs typeface="Calibri"/>
                <a:sym typeface="Calibri"/>
              </a:rPr>
              <a:t>CDW Managed Services</a:t>
            </a:r>
            <a:endParaRPr sz="2000" b="1"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Improve Performance</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Reduce Risk</a:t>
            </a:r>
            <a:endParaRPr sz="1867" kern="0">
              <a:solidFill>
                <a:srgbClr val="000000"/>
              </a:solidFill>
              <a:latin typeface="Calibri"/>
              <a:ea typeface="Calibri"/>
              <a:cs typeface="Calibri"/>
              <a:sym typeface="Calibri"/>
            </a:endParaRPr>
          </a:p>
          <a:p>
            <a:pPr marL="380990" indent="-194728" defTabSz="1219170">
              <a:buClr>
                <a:srgbClr val="000000"/>
              </a:buClr>
              <a:buSzPts val="1400"/>
              <a:buFont typeface="Calibri"/>
              <a:buChar char="●"/>
            </a:pPr>
            <a:r>
              <a:rPr lang="en" sz="1867" kern="0">
                <a:solidFill>
                  <a:srgbClr val="000000"/>
                </a:solidFill>
                <a:latin typeface="Calibri"/>
                <a:ea typeface="Calibri"/>
                <a:cs typeface="Calibri"/>
                <a:sym typeface="Calibri"/>
              </a:rPr>
              <a:t>IT Service Team available 24/7/365 </a:t>
            </a:r>
            <a:endParaRPr sz="1867" kern="0">
              <a:solidFill>
                <a:srgbClr val="000000"/>
              </a:solidFill>
              <a:latin typeface="Calibri"/>
              <a:ea typeface="Calibri"/>
              <a:cs typeface="Calibri"/>
              <a:sym typeface="Calibri"/>
            </a:endParaRPr>
          </a:p>
        </p:txBody>
      </p:sp>
      <p:sp>
        <p:nvSpPr>
          <p:cNvPr id="10" name="Google Shape;230;p36">
            <a:extLst>
              <a:ext uri="{FF2B5EF4-FFF2-40B4-BE49-F238E27FC236}">
                <a16:creationId xmlns:a16="http://schemas.microsoft.com/office/drawing/2014/main" id="{620D5B8A-9258-4756-B488-D5B7D3A03BDD}"/>
              </a:ext>
            </a:extLst>
          </p:cNvPr>
          <p:cNvSpPr txBox="1"/>
          <p:nvPr/>
        </p:nvSpPr>
        <p:spPr>
          <a:xfrm>
            <a:off x="178385" y="4959947"/>
            <a:ext cx="11609200" cy="574412"/>
          </a:xfrm>
          <a:prstGeom prst="rect">
            <a:avLst/>
          </a:prstGeom>
          <a:solidFill>
            <a:srgbClr val="F4CCCC"/>
          </a:solidFill>
          <a:ln>
            <a:noFill/>
          </a:ln>
        </p:spPr>
        <p:txBody>
          <a:bodyPr spcFirstLastPara="1" wrap="square" lIns="121900" tIns="121900" rIns="121900" bIns="121900" anchor="t" anchorCtr="0">
            <a:spAutoFit/>
          </a:bodyPr>
          <a:lstStyle/>
          <a:p>
            <a:pPr algn="ctr" defTabSz="1219170">
              <a:buClr>
                <a:srgbClr val="000000"/>
              </a:buClr>
            </a:pPr>
            <a:r>
              <a:rPr lang="en" sz="2133" b="1" kern="0">
                <a:solidFill>
                  <a:srgbClr val="000000"/>
                </a:solidFill>
                <a:latin typeface="Calibri"/>
                <a:ea typeface="Calibri"/>
                <a:cs typeface="Calibri"/>
                <a:sym typeface="Calibri"/>
              </a:rPr>
              <a:t>CDW collaborates with Local and National Service Providers to execute the full Scope of Work</a:t>
            </a:r>
            <a:endParaRPr sz="2133" b="1" kern="0">
              <a:solidFill>
                <a:srgbClr val="000000"/>
              </a:solidFill>
              <a:latin typeface="Calibri"/>
              <a:ea typeface="Calibri"/>
              <a:cs typeface="Calibri"/>
              <a:sym typeface="Calibri"/>
            </a:endParaRPr>
          </a:p>
        </p:txBody>
      </p:sp>
      <p:sp>
        <p:nvSpPr>
          <p:cNvPr id="11" name="Google Shape;231;p36">
            <a:extLst>
              <a:ext uri="{FF2B5EF4-FFF2-40B4-BE49-F238E27FC236}">
                <a16:creationId xmlns:a16="http://schemas.microsoft.com/office/drawing/2014/main" id="{8BE46DEA-CF4F-491A-953A-927FC4366251}"/>
              </a:ext>
            </a:extLst>
          </p:cNvPr>
          <p:cNvSpPr txBox="1"/>
          <p:nvPr/>
        </p:nvSpPr>
        <p:spPr>
          <a:xfrm>
            <a:off x="1065285" y="5543114"/>
            <a:ext cx="2524400" cy="533504"/>
          </a:xfrm>
          <a:prstGeom prst="rect">
            <a:avLst/>
          </a:prstGeom>
          <a:noFill/>
          <a:ln>
            <a:noFill/>
          </a:ln>
        </p:spPr>
        <p:txBody>
          <a:bodyPr spcFirstLastPara="1" wrap="square" lIns="121900" tIns="121900" rIns="121900" bIns="121900" anchor="t" anchorCtr="0">
            <a:spAutoFit/>
          </a:bodyPr>
          <a:lstStyle/>
          <a:p>
            <a:pPr marL="228594" indent="-270927" defTabSz="1219170">
              <a:buClr>
                <a:srgbClr val="000000"/>
              </a:buClr>
              <a:buSzPts val="1400"/>
              <a:buFont typeface="Calibri"/>
              <a:buChar char="●"/>
            </a:pPr>
            <a:r>
              <a:rPr lang="en" sz="1867" b="1" kern="0">
                <a:solidFill>
                  <a:srgbClr val="000000"/>
                </a:solidFill>
                <a:latin typeface="Calibri"/>
                <a:ea typeface="Calibri"/>
                <a:cs typeface="Calibri"/>
                <a:sym typeface="Calibri"/>
              </a:rPr>
              <a:t>Structured Cabling</a:t>
            </a:r>
            <a:endParaRPr sz="1867" b="1" kern="0">
              <a:solidFill>
                <a:srgbClr val="000000"/>
              </a:solidFill>
              <a:latin typeface="Calibri"/>
              <a:ea typeface="Calibri"/>
              <a:cs typeface="Calibri"/>
              <a:sym typeface="Calibri"/>
            </a:endParaRPr>
          </a:p>
        </p:txBody>
      </p:sp>
      <p:sp>
        <p:nvSpPr>
          <p:cNvPr id="12" name="Google Shape;232;p36">
            <a:extLst>
              <a:ext uri="{FF2B5EF4-FFF2-40B4-BE49-F238E27FC236}">
                <a16:creationId xmlns:a16="http://schemas.microsoft.com/office/drawing/2014/main" id="{13313566-14D9-4EA4-BCD4-B9DAE2873FAB}"/>
              </a:ext>
            </a:extLst>
          </p:cNvPr>
          <p:cNvSpPr txBox="1"/>
          <p:nvPr/>
        </p:nvSpPr>
        <p:spPr>
          <a:xfrm>
            <a:off x="3835236" y="5543114"/>
            <a:ext cx="2524400" cy="533504"/>
          </a:xfrm>
          <a:prstGeom prst="rect">
            <a:avLst/>
          </a:prstGeom>
          <a:noFill/>
          <a:ln>
            <a:noFill/>
          </a:ln>
        </p:spPr>
        <p:txBody>
          <a:bodyPr spcFirstLastPara="1" wrap="square" lIns="121900" tIns="121900" rIns="121900" bIns="121900" anchor="t" anchorCtr="0">
            <a:spAutoFit/>
          </a:bodyPr>
          <a:lstStyle/>
          <a:p>
            <a:pPr marL="228594" indent="-270927" defTabSz="1219170">
              <a:buClr>
                <a:srgbClr val="000000"/>
              </a:buClr>
              <a:buSzPts val="1400"/>
              <a:buFont typeface="Calibri"/>
              <a:buChar char="●"/>
            </a:pPr>
            <a:r>
              <a:rPr lang="en" sz="1867" b="1" kern="0">
                <a:solidFill>
                  <a:srgbClr val="000000"/>
                </a:solidFill>
                <a:latin typeface="Calibri"/>
                <a:ea typeface="Calibri"/>
                <a:cs typeface="Calibri"/>
                <a:sym typeface="Calibri"/>
              </a:rPr>
              <a:t>AP Installation</a:t>
            </a:r>
            <a:endParaRPr sz="1867" b="1" kern="0">
              <a:solidFill>
                <a:srgbClr val="000000"/>
              </a:solidFill>
              <a:latin typeface="Calibri"/>
              <a:ea typeface="Calibri"/>
              <a:cs typeface="Calibri"/>
              <a:sym typeface="Calibri"/>
            </a:endParaRPr>
          </a:p>
        </p:txBody>
      </p:sp>
      <p:sp>
        <p:nvSpPr>
          <p:cNvPr id="13" name="Google Shape;233;p36">
            <a:extLst>
              <a:ext uri="{FF2B5EF4-FFF2-40B4-BE49-F238E27FC236}">
                <a16:creationId xmlns:a16="http://schemas.microsoft.com/office/drawing/2014/main" id="{4F3332F8-AF3F-41DE-9C3B-EE7A5C9546DA}"/>
              </a:ext>
            </a:extLst>
          </p:cNvPr>
          <p:cNvSpPr txBox="1"/>
          <p:nvPr/>
        </p:nvSpPr>
        <p:spPr>
          <a:xfrm>
            <a:off x="6359652" y="5514581"/>
            <a:ext cx="2524400" cy="820825"/>
          </a:xfrm>
          <a:prstGeom prst="rect">
            <a:avLst/>
          </a:prstGeom>
          <a:noFill/>
          <a:ln>
            <a:noFill/>
          </a:ln>
        </p:spPr>
        <p:txBody>
          <a:bodyPr spcFirstLastPara="1" wrap="square" lIns="121900" tIns="121900" rIns="121900" bIns="121900" anchor="t" anchorCtr="0">
            <a:spAutoFit/>
          </a:bodyPr>
          <a:lstStyle/>
          <a:p>
            <a:pPr marL="228594" indent="-270927" defTabSz="1219170">
              <a:buClr>
                <a:srgbClr val="000000"/>
              </a:buClr>
              <a:buSzPts val="1400"/>
              <a:buFont typeface="Calibri"/>
              <a:buChar char="●"/>
            </a:pPr>
            <a:r>
              <a:rPr lang="en" sz="1867" b="1" kern="0">
                <a:solidFill>
                  <a:srgbClr val="000000"/>
                </a:solidFill>
                <a:latin typeface="Calibri"/>
                <a:ea typeface="Calibri"/>
                <a:cs typeface="Calibri"/>
                <a:sym typeface="Calibri"/>
              </a:rPr>
              <a:t>Security Camera Installation</a:t>
            </a:r>
            <a:endParaRPr sz="1867" b="1" kern="0">
              <a:solidFill>
                <a:srgbClr val="000000"/>
              </a:solidFill>
              <a:latin typeface="Calibri"/>
              <a:ea typeface="Calibri"/>
              <a:cs typeface="Calibri"/>
              <a:sym typeface="Calibri"/>
            </a:endParaRPr>
          </a:p>
        </p:txBody>
      </p:sp>
      <p:sp>
        <p:nvSpPr>
          <p:cNvPr id="14" name="Google Shape;234;p36">
            <a:extLst>
              <a:ext uri="{FF2B5EF4-FFF2-40B4-BE49-F238E27FC236}">
                <a16:creationId xmlns:a16="http://schemas.microsoft.com/office/drawing/2014/main" id="{E6159D2F-7915-4AC2-B07E-1ACB61098640}"/>
              </a:ext>
            </a:extLst>
          </p:cNvPr>
          <p:cNvSpPr txBox="1"/>
          <p:nvPr/>
        </p:nvSpPr>
        <p:spPr>
          <a:xfrm>
            <a:off x="9175718" y="5543114"/>
            <a:ext cx="1756400" cy="1108148"/>
          </a:xfrm>
          <a:prstGeom prst="rect">
            <a:avLst/>
          </a:prstGeom>
          <a:noFill/>
          <a:ln>
            <a:noFill/>
          </a:ln>
        </p:spPr>
        <p:txBody>
          <a:bodyPr spcFirstLastPara="1" wrap="square" lIns="121900" tIns="121900" rIns="121900" bIns="121900" anchor="t" anchorCtr="0">
            <a:spAutoFit/>
          </a:bodyPr>
          <a:lstStyle/>
          <a:p>
            <a:pPr marL="228594" indent="-270927" defTabSz="1219170">
              <a:buClr>
                <a:srgbClr val="000000"/>
              </a:buClr>
              <a:buSzPts val="1400"/>
              <a:buFont typeface="Calibri"/>
              <a:buChar char="●"/>
            </a:pPr>
            <a:r>
              <a:rPr lang="en" sz="1867" b="1" kern="0">
                <a:solidFill>
                  <a:srgbClr val="000000"/>
                </a:solidFill>
                <a:latin typeface="Calibri"/>
                <a:ea typeface="Calibri"/>
                <a:cs typeface="Calibri"/>
                <a:sym typeface="Calibri"/>
              </a:rPr>
              <a:t>Secure Asset Disposal</a:t>
            </a:r>
            <a:endParaRPr sz="1867" b="1" kern="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651683221"/>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pic>
        <p:nvPicPr>
          <p:cNvPr id="147" name="Google Shape;147;p32"/>
          <p:cNvPicPr preferRelativeResize="0"/>
          <p:nvPr/>
        </p:nvPicPr>
        <p:blipFill rotWithShape="1">
          <a:blip r:embed="rId3">
            <a:alphaModFix/>
          </a:blip>
          <a:srcRect l="17168" r="8476" b="21315"/>
          <a:stretch/>
        </p:blipFill>
        <p:spPr>
          <a:xfrm>
            <a:off x="4722136" y="1683300"/>
            <a:ext cx="1088000" cy="1088000"/>
          </a:xfrm>
          <a:prstGeom prst="ellipse">
            <a:avLst/>
          </a:prstGeom>
          <a:noFill/>
          <a:ln>
            <a:noFill/>
          </a:ln>
        </p:spPr>
      </p:pic>
      <p:sp>
        <p:nvSpPr>
          <p:cNvPr id="148" name="Google Shape;148;p32"/>
          <p:cNvSpPr txBox="1">
            <a:spLocks noGrp="1"/>
          </p:cNvSpPr>
          <p:nvPr>
            <p:ph type="body" idx="1"/>
          </p:nvPr>
        </p:nvSpPr>
        <p:spPr>
          <a:xfrm>
            <a:off x="508000" y="1178427"/>
            <a:ext cx="11158000" cy="231200"/>
          </a:xfrm>
          <a:prstGeom prst="rect">
            <a:avLst/>
          </a:prstGeom>
          <a:noFill/>
          <a:ln>
            <a:noFill/>
          </a:ln>
        </p:spPr>
        <p:txBody>
          <a:bodyPr spcFirstLastPara="1" wrap="square" lIns="0" tIns="0" rIns="0" bIns="0" anchor="ctr" anchorCtr="0">
            <a:noAutofit/>
          </a:bodyPr>
          <a:lstStyle/>
          <a:p>
            <a:pPr marL="0" indent="0">
              <a:spcBef>
                <a:spcPts val="0"/>
              </a:spcBef>
            </a:pPr>
            <a:r>
              <a:rPr lang="en"/>
              <a:t>Partnering with innovative schools to make technology work to so students can do great things</a:t>
            </a:r>
            <a:endParaRPr/>
          </a:p>
        </p:txBody>
      </p:sp>
      <p:sp>
        <p:nvSpPr>
          <p:cNvPr id="149" name="Google Shape;149;p32"/>
          <p:cNvSpPr txBox="1">
            <a:spLocks noGrp="1"/>
          </p:cNvSpPr>
          <p:nvPr>
            <p:ph type="title"/>
          </p:nvPr>
        </p:nvSpPr>
        <p:spPr>
          <a:xfrm>
            <a:off x="508000" y="455084"/>
            <a:ext cx="11158000" cy="660400"/>
          </a:xfrm>
          <a:prstGeom prst="rect">
            <a:avLst/>
          </a:prstGeom>
          <a:noFill/>
          <a:ln>
            <a:noFill/>
          </a:ln>
        </p:spPr>
        <p:txBody>
          <a:bodyPr spcFirstLastPara="1" wrap="square" lIns="0" tIns="0" rIns="0" bIns="0" anchor="ctr" anchorCtr="0">
            <a:noAutofit/>
          </a:bodyPr>
          <a:lstStyle/>
          <a:p>
            <a:r>
              <a:rPr lang="en"/>
              <a:t>Education Strategy Impact Team</a:t>
            </a:r>
            <a:endParaRPr/>
          </a:p>
        </p:txBody>
      </p:sp>
      <p:sp>
        <p:nvSpPr>
          <p:cNvPr id="150" name="Google Shape;150;p32"/>
          <p:cNvSpPr/>
          <p:nvPr/>
        </p:nvSpPr>
        <p:spPr>
          <a:xfrm>
            <a:off x="4710105" y="2739067"/>
            <a:ext cx="2788400" cy="2788800"/>
          </a:xfrm>
          <a:prstGeom prst="ellipse">
            <a:avLst/>
          </a:prstGeom>
          <a:solidFill>
            <a:srgbClr val="7F7F7F"/>
          </a:solidFill>
          <a:ln>
            <a:noFill/>
          </a:ln>
        </p:spPr>
        <p:txBody>
          <a:bodyPr spcFirstLastPara="1" wrap="square" lIns="121900" tIns="60933" rIns="121900" bIns="60933" anchor="ctr" anchorCtr="0">
            <a:noAutofit/>
          </a:bodyPr>
          <a:lstStyle/>
          <a:p>
            <a:pPr algn="ctr" defTabSz="1219170">
              <a:buClr>
                <a:srgbClr val="000000"/>
              </a:buClr>
            </a:pPr>
            <a:endParaRPr sz="2400" kern="0">
              <a:solidFill>
                <a:srgbClr val="00517C"/>
              </a:solidFill>
              <a:latin typeface="Roboto"/>
              <a:ea typeface="Roboto"/>
              <a:cs typeface="Roboto"/>
              <a:sym typeface="Roboto"/>
            </a:endParaRPr>
          </a:p>
        </p:txBody>
      </p:sp>
      <p:sp>
        <p:nvSpPr>
          <p:cNvPr id="151" name="Google Shape;151;p32"/>
          <p:cNvSpPr/>
          <p:nvPr/>
        </p:nvSpPr>
        <p:spPr>
          <a:xfrm>
            <a:off x="4838795" y="2867607"/>
            <a:ext cx="2514400" cy="2514400"/>
          </a:xfrm>
          <a:prstGeom prst="ellipse">
            <a:avLst/>
          </a:prstGeom>
          <a:solidFill>
            <a:schemeClr val="dk1"/>
          </a:solidFill>
          <a:ln>
            <a:noFill/>
          </a:ln>
        </p:spPr>
        <p:txBody>
          <a:bodyPr spcFirstLastPara="1" wrap="square" lIns="45700" tIns="45700" rIns="45700" bIns="457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 name="Google Shape;152;p32"/>
          <p:cNvSpPr txBox="1"/>
          <p:nvPr/>
        </p:nvSpPr>
        <p:spPr>
          <a:xfrm>
            <a:off x="502221" y="3027108"/>
            <a:ext cx="2771600" cy="517200"/>
          </a:xfrm>
          <a:prstGeom prst="rect">
            <a:avLst/>
          </a:prstGeom>
          <a:noFill/>
          <a:ln>
            <a:noFill/>
          </a:ln>
        </p:spPr>
        <p:txBody>
          <a:bodyPr spcFirstLastPara="1" wrap="square" lIns="0" tIns="0" rIns="0" bIns="0" anchor="ctr" anchorCtr="0">
            <a:noAutofit/>
          </a:bodyPr>
          <a:lstStyle/>
          <a:p>
            <a:pPr algn="r" defTabSz="1219170">
              <a:lnSpc>
                <a:spcPct val="120000"/>
              </a:lnSpc>
              <a:buClr>
                <a:srgbClr val="7F7F7F"/>
              </a:buClr>
              <a:buSzPts val="1100"/>
            </a:pPr>
            <a:r>
              <a:rPr lang="en" sz="1467" b="1" kern="0">
                <a:solidFill>
                  <a:srgbClr val="7F7F7F"/>
                </a:solidFill>
                <a:latin typeface="Roboto"/>
                <a:ea typeface="Roboto"/>
                <a:cs typeface="Roboto"/>
                <a:sym typeface="Roboto"/>
              </a:rPr>
              <a:t>Jacob M Wilson, III</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Ph.D</a:t>
            </a:r>
            <a:endParaRPr sz="1867" kern="0">
              <a:solidFill>
                <a:srgbClr val="000000"/>
              </a:solidFill>
              <a:latin typeface="Arial"/>
              <a:cs typeface="Arial"/>
              <a:sym typeface="Arial"/>
            </a:endParaRPr>
          </a:p>
        </p:txBody>
      </p:sp>
      <p:sp>
        <p:nvSpPr>
          <p:cNvPr id="153" name="Google Shape;153;p32"/>
          <p:cNvSpPr txBox="1"/>
          <p:nvPr/>
        </p:nvSpPr>
        <p:spPr>
          <a:xfrm>
            <a:off x="8918240" y="3023436"/>
            <a:ext cx="2731600" cy="517200"/>
          </a:xfrm>
          <a:prstGeom prst="rect">
            <a:avLst/>
          </a:prstGeom>
          <a:noFill/>
          <a:ln>
            <a:noFill/>
          </a:ln>
        </p:spPr>
        <p:txBody>
          <a:bodyPr spcFirstLastPara="1" wrap="square" lIns="0" tIns="0" rIns="0" bIns="0" anchor="ctr" anchorCtr="0">
            <a:noAutofit/>
          </a:bodyPr>
          <a:lstStyle/>
          <a:p>
            <a:pPr defTabSz="1219170">
              <a:lnSpc>
                <a:spcPct val="120000"/>
              </a:lnSpc>
              <a:buClr>
                <a:srgbClr val="7F7F7F"/>
              </a:buClr>
              <a:buSzPts val="1100"/>
            </a:pPr>
            <a:r>
              <a:rPr lang="en" sz="1467" b="1" kern="0">
                <a:solidFill>
                  <a:srgbClr val="7F7F7F"/>
                </a:solidFill>
                <a:latin typeface="Roboto"/>
                <a:ea typeface="Roboto"/>
                <a:cs typeface="Roboto"/>
                <a:sym typeface="Roboto"/>
              </a:rPr>
              <a:t>Diana Gross</a:t>
            </a:r>
            <a:endParaRPr sz="1467" b="1" kern="0">
              <a:solidFill>
                <a:srgbClr val="7F7F7F"/>
              </a:solidFill>
              <a:latin typeface="Roboto"/>
              <a:ea typeface="Roboto"/>
              <a:cs typeface="Roboto"/>
              <a:sym typeface="Roboto"/>
            </a:endParaRPr>
          </a:p>
          <a:p>
            <a:pPr defTabSz="1219170">
              <a:lnSpc>
                <a:spcPct val="120000"/>
              </a:lnSpc>
              <a:buClr>
                <a:srgbClr val="7F7F7F"/>
              </a:buClr>
              <a:buSzPts val="1100"/>
            </a:pPr>
            <a:r>
              <a:rPr lang="en" sz="1333" kern="0">
                <a:solidFill>
                  <a:srgbClr val="A5A5A5"/>
                </a:solidFill>
                <a:latin typeface="Roboto"/>
                <a:ea typeface="Roboto"/>
                <a:cs typeface="Roboto"/>
                <a:sym typeface="Roboto"/>
              </a:rPr>
              <a:t>M.S. Ed</a:t>
            </a:r>
            <a:endParaRPr sz="1867" kern="0">
              <a:solidFill>
                <a:srgbClr val="000000"/>
              </a:solidFill>
              <a:latin typeface="Arial"/>
              <a:cs typeface="Arial"/>
              <a:sym typeface="Arial"/>
            </a:endParaRPr>
          </a:p>
        </p:txBody>
      </p:sp>
      <p:sp>
        <p:nvSpPr>
          <p:cNvPr id="154" name="Google Shape;154;p32"/>
          <p:cNvSpPr txBox="1"/>
          <p:nvPr/>
        </p:nvSpPr>
        <p:spPr>
          <a:xfrm>
            <a:off x="1331457" y="1757389"/>
            <a:ext cx="3048400" cy="517200"/>
          </a:xfrm>
          <a:prstGeom prst="rect">
            <a:avLst/>
          </a:prstGeom>
          <a:noFill/>
          <a:ln>
            <a:noFill/>
          </a:ln>
        </p:spPr>
        <p:txBody>
          <a:bodyPr spcFirstLastPara="1" wrap="square" lIns="0" tIns="0" rIns="0" bIns="0" anchor="ctr" anchorCtr="0">
            <a:noAutofit/>
          </a:bodyPr>
          <a:lstStyle/>
          <a:p>
            <a:pPr algn="r" defTabSz="1219170">
              <a:lnSpc>
                <a:spcPct val="120000"/>
              </a:lnSpc>
              <a:buClr>
                <a:srgbClr val="7F7F7F"/>
              </a:buClr>
              <a:buSzPts val="1100"/>
            </a:pPr>
            <a:r>
              <a:rPr lang="en" sz="1467" b="1" kern="0">
                <a:solidFill>
                  <a:srgbClr val="7F7F7F"/>
                </a:solidFill>
                <a:latin typeface="Roboto"/>
                <a:ea typeface="Roboto"/>
                <a:cs typeface="Roboto"/>
                <a:sym typeface="Roboto"/>
              </a:rPr>
              <a:t>Wendy Jones</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M.Ed, CETL  </a:t>
            </a:r>
            <a:endParaRPr sz="1867" kern="0">
              <a:solidFill>
                <a:srgbClr val="000000"/>
              </a:solidFill>
              <a:latin typeface="Arial"/>
              <a:cs typeface="Arial"/>
              <a:sym typeface="Arial"/>
            </a:endParaRPr>
          </a:p>
        </p:txBody>
      </p:sp>
      <p:sp>
        <p:nvSpPr>
          <p:cNvPr id="155" name="Google Shape;155;p32"/>
          <p:cNvSpPr txBox="1"/>
          <p:nvPr/>
        </p:nvSpPr>
        <p:spPr>
          <a:xfrm>
            <a:off x="8918240" y="4664839"/>
            <a:ext cx="2731600" cy="517200"/>
          </a:xfrm>
          <a:prstGeom prst="rect">
            <a:avLst/>
          </a:prstGeom>
          <a:noFill/>
          <a:ln>
            <a:noFill/>
          </a:ln>
        </p:spPr>
        <p:txBody>
          <a:bodyPr spcFirstLastPara="1" wrap="square" lIns="0" tIns="0" rIns="0" bIns="0" anchor="ctr" anchorCtr="0">
            <a:noAutofit/>
          </a:bodyPr>
          <a:lstStyle/>
          <a:p>
            <a:pPr defTabSz="1219170">
              <a:lnSpc>
                <a:spcPct val="120000"/>
              </a:lnSpc>
              <a:buClr>
                <a:srgbClr val="7F7F7F"/>
              </a:buClr>
              <a:buSzPts val="1100"/>
            </a:pPr>
            <a:r>
              <a:rPr lang="en" sz="1467" b="1" kern="0">
                <a:solidFill>
                  <a:srgbClr val="7F7F7F"/>
                </a:solidFill>
                <a:latin typeface="Roboto"/>
                <a:ea typeface="Roboto"/>
                <a:cs typeface="Roboto"/>
                <a:sym typeface="Roboto"/>
              </a:rPr>
              <a:t>Thomas Ashley II</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M.Ed, CETL</a:t>
            </a:r>
            <a:endParaRPr sz="1867" kern="0">
              <a:solidFill>
                <a:srgbClr val="000000"/>
              </a:solidFill>
              <a:latin typeface="Arial"/>
              <a:cs typeface="Arial"/>
              <a:sym typeface="Arial"/>
            </a:endParaRPr>
          </a:p>
        </p:txBody>
      </p:sp>
      <p:sp>
        <p:nvSpPr>
          <p:cNvPr id="156" name="Google Shape;156;p32"/>
          <p:cNvSpPr txBox="1"/>
          <p:nvPr/>
        </p:nvSpPr>
        <p:spPr>
          <a:xfrm>
            <a:off x="1337852" y="6012064"/>
            <a:ext cx="3048400" cy="517200"/>
          </a:xfrm>
          <a:prstGeom prst="rect">
            <a:avLst/>
          </a:prstGeom>
          <a:noFill/>
          <a:ln>
            <a:noFill/>
          </a:ln>
        </p:spPr>
        <p:txBody>
          <a:bodyPr spcFirstLastPara="1" wrap="square" lIns="0" tIns="0" rIns="0" bIns="0" anchor="ctr" anchorCtr="0">
            <a:noAutofit/>
          </a:bodyPr>
          <a:lstStyle/>
          <a:p>
            <a:pPr algn="r" defTabSz="1219170">
              <a:lnSpc>
                <a:spcPct val="120000"/>
              </a:lnSpc>
              <a:buClr>
                <a:srgbClr val="7F7F7F"/>
              </a:buClr>
              <a:buSzPts val="1100"/>
            </a:pPr>
            <a:r>
              <a:rPr lang="en" sz="1467" b="1" kern="0">
                <a:solidFill>
                  <a:srgbClr val="7F7F7F"/>
                </a:solidFill>
                <a:latin typeface="Roboto"/>
                <a:ea typeface="Roboto"/>
                <a:cs typeface="Roboto"/>
                <a:sym typeface="Roboto"/>
              </a:rPr>
              <a:t>Bryan Krause</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M.Ed</a:t>
            </a:r>
            <a:endParaRPr sz="1867" kern="0">
              <a:solidFill>
                <a:srgbClr val="000000"/>
              </a:solidFill>
              <a:latin typeface="Arial"/>
              <a:cs typeface="Arial"/>
              <a:sym typeface="Arial"/>
            </a:endParaRPr>
          </a:p>
        </p:txBody>
      </p:sp>
      <p:sp>
        <p:nvSpPr>
          <p:cNvPr id="157" name="Google Shape;157;p32"/>
          <p:cNvSpPr txBox="1"/>
          <p:nvPr/>
        </p:nvSpPr>
        <p:spPr>
          <a:xfrm>
            <a:off x="7846827" y="6012064"/>
            <a:ext cx="3013600" cy="517200"/>
          </a:xfrm>
          <a:prstGeom prst="rect">
            <a:avLst/>
          </a:prstGeom>
          <a:noFill/>
          <a:ln>
            <a:noFill/>
          </a:ln>
        </p:spPr>
        <p:txBody>
          <a:bodyPr spcFirstLastPara="1" wrap="square" lIns="0" tIns="0" rIns="0" bIns="0" anchor="ctr" anchorCtr="0">
            <a:noAutofit/>
          </a:bodyPr>
          <a:lstStyle/>
          <a:p>
            <a:pPr defTabSz="1219170">
              <a:lnSpc>
                <a:spcPct val="120000"/>
              </a:lnSpc>
              <a:buClr>
                <a:srgbClr val="7F7F7F"/>
              </a:buClr>
              <a:buSzPts val="1100"/>
            </a:pPr>
            <a:r>
              <a:rPr lang="en" sz="1467" b="1" kern="0">
                <a:solidFill>
                  <a:srgbClr val="7F7F7F"/>
                </a:solidFill>
                <a:latin typeface="Roboto"/>
                <a:ea typeface="Roboto"/>
                <a:cs typeface="Roboto"/>
                <a:sym typeface="Roboto"/>
              </a:rPr>
              <a:t>Akilah Willery</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Ed.D, CETL</a:t>
            </a:r>
            <a:endParaRPr sz="1867" kern="0">
              <a:solidFill>
                <a:srgbClr val="000000"/>
              </a:solidFill>
              <a:latin typeface="Arial"/>
              <a:cs typeface="Arial"/>
              <a:sym typeface="Arial"/>
            </a:endParaRPr>
          </a:p>
        </p:txBody>
      </p:sp>
      <p:pic>
        <p:nvPicPr>
          <p:cNvPr id="158" name="Google Shape;158;p32"/>
          <p:cNvPicPr preferRelativeResize="0"/>
          <p:nvPr/>
        </p:nvPicPr>
        <p:blipFill rotWithShape="1">
          <a:blip r:embed="rId4">
            <a:alphaModFix/>
          </a:blip>
          <a:srcRect/>
          <a:stretch/>
        </p:blipFill>
        <p:spPr>
          <a:xfrm>
            <a:off x="5277068" y="3509676"/>
            <a:ext cx="1654672" cy="1230312"/>
          </a:xfrm>
          <a:prstGeom prst="rect">
            <a:avLst/>
          </a:prstGeom>
          <a:noFill/>
          <a:ln>
            <a:noFill/>
          </a:ln>
        </p:spPr>
      </p:pic>
      <p:pic>
        <p:nvPicPr>
          <p:cNvPr id="159" name="Google Shape;159;p32"/>
          <p:cNvPicPr preferRelativeResize="0"/>
          <p:nvPr/>
        </p:nvPicPr>
        <p:blipFill rotWithShape="1">
          <a:blip r:embed="rId5">
            <a:alphaModFix/>
          </a:blip>
          <a:srcRect r="18804" b="18804"/>
          <a:stretch/>
        </p:blipFill>
        <p:spPr>
          <a:xfrm>
            <a:off x="6283732" y="1683300"/>
            <a:ext cx="1089600" cy="1088000"/>
          </a:xfrm>
          <a:prstGeom prst="ellipse">
            <a:avLst/>
          </a:prstGeom>
          <a:noFill/>
          <a:ln>
            <a:noFill/>
          </a:ln>
        </p:spPr>
      </p:pic>
      <p:sp>
        <p:nvSpPr>
          <p:cNvPr id="160" name="Google Shape;160;p32"/>
          <p:cNvSpPr txBox="1"/>
          <p:nvPr/>
        </p:nvSpPr>
        <p:spPr>
          <a:xfrm>
            <a:off x="7846827" y="1757389"/>
            <a:ext cx="3013600" cy="517200"/>
          </a:xfrm>
          <a:prstGeom prst="rect">
            <a:avLst/>
          </a:prstGeom>
          <a:noFill/>
          <a:ln>
            <a:noFill/>
          </a:ln>
        </p:spPr>
        <p:txBody>
          <a:bodyPr spcFirstLastPara="1" wrap="square" lIns="0" tIns="0" rIns="0" bIns="0" anchor="ctr" anchorCtr="0">
            <a:noAutofit/>
          </a:bodyPr>
          <a:lstStyle/>
          <a:p>
            <a:pPr defTabSz="1219170">
              <a:lnSpc>
                <a:spcPct val="120000"/>
              </a:lnSpc>
              <a:buClr>
                <a:srgbClr val="000000"/>
              </a:buClr>
            </a:pPr>
            <a:r>
              <a:rPr lang="en" sz="1467" b="1" kern="0">
                <a:solidFill>
                  <a:srgbClr val="7F7F7F"/>
                </a:solidFill>
                <a:latin typeface="Roboto"/>
                <a:ea typeface="Roboto"/>
                <a:cs typeface="Roboto"/>
                <a:sym typeface="Roboto"/>
              </a:rPr>
              <a:t>Corey  L. Gordon</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M.Ed </a:t>
            </a:r>
            <a:endParaRPr sz="1867" kern="0">
              <a:solidFill>
                <a:srgbClr val="000000"/>
              </a:solidFill>
              <a:latin typeface="Arial"/>
              <a:cs typeface="Arial"/>
              <a:sym typeface="Arial"/>
            </a:endParaRPr>
          </a:p>
        </p:txBody>
      </p:sp>
      <p:pic>
        <p:nvPicPr>
          <p:cNvPr id="161" name="Google Shape;161;p32"/>
          <p:cNvPicPr preferRelativeResize="0"/>
          <p:nvPr/>
        </p:nvPicPr>
        <p:blipFill rotWithShape="1">
          <a:blip r:embed="rId6">
            <a:alphaModFix/>
          </a:blip>
          <a:srcRect l="3598" t="6559" r="4380" b="20314"/>
          <a:stretch/>
        </p:blipFill>
        <p:spPr>
          <a:xfrm>
            <a:off x="7471203" y="2737988"/>
            <a:ext cx="1088000" cy="1088000"/>
          </a:xfrm>
          <a:prstGeom prst="ellipse">
            <a:avLst/>
          </a:prstGeom>
          <a:noFill/>
          <a:ln>
            <a:noFill/>
          </a:ln>
        </p:spPr>
      </p:pic>
      <p:pic>
        <p:nvPicPr>
          <p:cNvPr id="162" name="Google Shape;162;p32"/>
          <p:cNvPicPr preferRelativeResize="0"/>
          <p:nvPr/>
        </p:nvPicPr>
        <p:blipFill rotWithShape="1">
          <a:blip r:embed="rId7">
            <a:alphaModFix/>
          </a:blip>
          <a:srcRect l="14903" t="7157" r="14960" b="16372"/>
          <a:stretch/>
        </p:blipFill>
        <p:spPr>
          <a:xfrm>
            <a:off x="7471203" y="4375025"/>
            <a:ext cx="1088000" cy="1088000"/>
          </a:xfrm>
          <a:prstGeom prst="ellipse">
            <a:avLst/>
          </a:prstGeom>
          <a:noFill/>
          <a:ln>
            <a:noFill/>
          </a:ln>
        </p:spPr>
      </p:pic>
      <p:pic>
        <p:nvPicPr>
          <p:cNvPr id="163" name="Google Shape;163;p32"/>
          <p:cNvPicPr preferRelativeResize="0"/>
          <p:nvPr/>
        </p:nvPicPr>
        <p:blipFill rotWithShape="1">
          <a:blip r:embed="rId8">
            <a:alphaModFix/>
          </a:blip>
          <a:srcRect l="6882" r="6873" b="7407"/>
          <a:stretch/>
        </p:blipFill>
        <p:spPr>
          <a:xfrm>
            <a:off x="6284481" y="5478425"/>
            <a:ext cx="1088000" cy="1088000"/>
          </a:xfrm>
          <a:prstGeom prst="ellipse">
            <a:avLst/>
          </a:prstGeom>
          <a:noFill/>
          <a:ln>
            <a:noFill/>
          </a:ln>
        </p:spPr>
      </p:pic>
      <p:pic>
        <p:nvPicPr>
          <p:cNvPr id="164" name="Google Shape;164;p32"/>
          <p:cNvPicPr preferRelativeResize="0"/>
          <p:nvPr/>
        </p:nvPicPr>
        <p:blipFill rotWithShape="1">
          <a:blip r:embed="rId9">
            <a:alphaModFix/>
          </a:blip>
          <a:srcRect l="16408" r="7977" b="36991"/>
          <a:stretch/>
        </p:blipFill>
        <p:spPr>
          <a:xfrm>
            <a:off x="4721397" y="5478425"/>
            <a:ext cx="1088000" cy="1088000"/>
          </a:xfrm>
          <a:prstGeom prst="ellipse">
            <a:avLst/>
          </a:prstGeom>
          <a:noFill/>
          <a:ln>
            <a:noFill/>
          </a:ln>
        </p:spPr>
      </p:pic>
      <p:pic>
        <p:nvPicPr>
          <p:cNvPr id="165" name="Google Shape;165;p32"/>
          <p:cNvPicPr preferRelativeResize="0"/>
          <p:nvPr/>
        </p:nvPicPr>
        <p:blipFill rotWithShape="1">
          <a:blip r:embed="rId10">
            <a:alphaModFix/>
          </a:blip>
          <a:srcRect l="3051" t="2773" r="3051" b="26469"/>
          <a:stretch/>
        </p:blipFill>
        <p:spPr>
          <a:xfrm>
            <a:off x="3632703" y="2738463"/>
            <a:ext cx="1088000" cy="1096400"/>
          </a:xfrm>
          <a:prstGeom prst="ellipse">
            <a:avLst/>
          </a:prstGeom>
          <a:noFill/>
          <a:ln>
            <a:noFill/>
          </a:ln>
        </p:spPr>
      </p:pic>
      <p:sp>
        <p:nvSpPr>
          <p:cNvPr id="166" name="Google Shape;166;p32"/>
          <p:cNvSpPr txBox="1"/>
          <p:nvPr/>
        </p:nvSpPr>
        <p:spPr>
          <a:xfrm>
            <a:off x="507985" y="4664864"/>
            <a:ext cx="3048400" cy="517200"/>
          </a:xfrm>
          <a:prstGeom prst="rect">
            <a:avLst/>
          </a:prstGeom>
          <a:noFill/>
          <a:ln>
            <a:noFill/>
          </a:ln>
        </p:spPr>
        <p:txBody>
          <a:bodyPr spcFirstLastPara="1" wrap="square" lIns="0" tIns="0" rIns="0" bIns="0" anchor="ctr" anchorCtr="0">
            <a:noAutofit/>
          </a:bodyPr>
          <a:lstStyle/>
          <a:p>
            <a:pPr algn="r" defTabSz="1219170">
              <a:lnSpc>
                <a:spcPct val="120000"/>
              </a:lnSpc>
              <a:buClr>
                <a:srgbClr val="7F7F7F"/>
              </a:buClr>
              <a:buSzPts val="1100"/>
            </a:pPr>
            <a:r>
              <a:rPr lang="en" sz="1467" b="1" kern="0">
                <a:solidFill>
                  <a:srgbClr val="7F7F7F"/>
                </a:solidFill>
                <a:latin typeface="Roboto"/>
                <a:ea typeface="Roboto"/>
                <a:cs typeface="Roboto"/>
                <a:sym typeface="Roboto"/>
              </a:rPr>
              <a:t>Jennette Vanderpool</a:t>
            </a:r>
            <a:br>
              <a:rPr lang="en" sz="1467" b="1" kern="0">
                <a:solidFill>
                  <a:srgbClr val="7F7F7F"/>
                </a:solidFill>
                <a:latin typeface="Roboto"/>
                <a:ea typeface="Roboto"/>
                <a:cs typeface="Roboto"/>
                <a:sym typeface="Roboto"/>
              </a:rPr>
            </a:br>
            <a:r>
              <a:rPr lang="en" sz="1333" kern="0">
                <a:solidFill>
                  <a:srgbClr val="A5A5A5"/>
                </a:solidFill>
                <a:latin typeface="Roboto"/>
                <a:ea typeface="Roboto"/>
                <a:cs typeface="Roboto"/>
                <a:sym typeface="Roboto"/>
              </a:rPr>
              <a:t>Ed.D</a:t>
            </a:r>
            <a:endParaRPr sz="1867" kern="0">
              <a:solidFill>
                <a:srgbClr val="000000"/>
              </a:solidFill>
              <a:latin typeface="Arial"/>
              <a:cs typeface="Arial"/>
              <a:sym typeface="Arial"/>
            </a:endParaRPr>
          </a:p>
        </p:txBody>
      </p:sp>
      <p:pic>
        <p:nvPicPr>
          <p:cNvPr id="167" name="Google Shape;167;p32"/>
          <p:cNvPicPr preferRelativeResize="0"/>
          <p:nvPr/>
        </p:nvPicPr>
        <p:blipFill>
          <a:blip r:embed="rId11">
            <a:alphaModFix/>
          </a:blip>
          <a:stretch>
            <a:fillRect/>
          </a:stretch>
        </p:blipFill>
        <p:spPr>
          <a:xfrm>
            <a:off x="3655000" y="4380867"/>
            <a:ext cx="1085200" cy="1085200"/>
          </a:xfrm>
          <a:prstGeom prst="ellipse">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Google Shape;172;p33"/>
          <p:cNvSpPr/>
          <p:nvPr/>
        </p:nvSpPr>
        <p:spPr>
          <a:xfrm>
            <a:off x="4405000" y="4287784"/>
            <a:ext cx="3245600" cy="968000"/>
          </a:xfrm>
          <a:prstGeom prst="rect">
            <a:avLst/>
          </a:prstGeom>
          <a:solidFill>
            <a:srgbClr val="EFEFEF"/>
          </a:solidFill>
          <a:ln>
            <a:noFill/>
          </a:ln>
        </p:spPr>
        <p:txBody>
          <a:bodyPr spcFirstLastPara="1" wrap="square" lIns="121900" tIns="121900" rIns="121900" bIns="121900" anchor="ctr" anchorCtr="0">
            <a:noAutofit/>
          </a:bodyPr>
          <a:lstStyle/>
          <a:p>
            <a:pPr defTabSz="1219170">
              <a:buClr>
                <a:srgbClr val="000000"/>
              </a:buClr>
            </a:pPr>
            <a:r>
              <a:rPr lang="en" sz="933" kern="0">
                <a:solidFill>
                  <a:srgbClr val="000000"/>
                </a:solidFill>
                <a:latin typeface="Roboto"/>
                <a:ea typeface="Roboto"/>
                <a:cs typeface="Roboto"/>
                <a:sym typeface="Roboto"/>
              </a:rPr>
              <a:t>Akilah is a former Exec. Director of Professional &amp; Digital Learning. She partners with administrators, curriculum leaders, and technology teams to ensure all stakeholders understand technology’s impact in the classroom. She is passionate about sharing cybersecurity awareness for non-technical audiences.</a:t>
            </a:r>
            <a:endParaRPr sz="1067" kern="0">
              <a:solidFill>
                <a:srgbClr val="000000"/>
              </a:solidFill>
              <a:latin typeface="Roboto"/>
              <a:ea typeface="Roboto"/>
              <a:cs typeface="Roboto"/>
              <a:sym typeface="Roboto"/>
            </a:endParaRPr>
          </a:p>
        </p:txBody>
      </p:sp>
      <p:sp>
        <p:nvSpPr>
          <p:cNvPr id="173" name="Google Shape;173;p33"/>
          <p:cNvSpPr txBox="1"/>
          <p:nvPr/>
        </p:nvSpPr>
        <p:spPr>
          <a:xfrm>
            <a:off x="7801267" y="4217301"/>
            <a:ext cx="3344000" cy="1107571"/>
          </a:xfrm>
          <a:prstGeom prst="rect">
            <a:avLst/>
          </a:prstGeom>
          <a:solidFill>
            <a:srgbClr val="EFEFEF"/>
          </a:solidFill>
          <a:ln>
            <a:noFill/>
          </a:ln>
        </p:spPr>
        <p:txBody>
          <a:bodyPr spcFirstLastPara="1" wrap="square" lIns="121900" tIns="121900" rIns="121900" bIns="121900" anchor="t" anchorCtr="0">
            <a:spAutoFit/>
          </a:bodyPr>
          <a:lstStyle/>
          <a:p>
            <a:pPr defTabSz="1219170">
              <a:buClr>
                <a:srgbClr val="000000"/>
              </a:buClr>
            </a:pPr>
            <a:r>
              <a:rPr lang="en" sz="933" kern="0">
                <a:solidFill>
                  <a:srgbClr val="000000"/>
                </a:solidFill>
                <a:latin typeface="Roboto"/>
                <a:ea typeface="Roboto"/>
                <a:cs typeface="Roboto"/>
                <a:sym typeface="Roboto"/>
              </a:rPr>
              <a:t>Thomas is a former K-12 Chief Technology Officer, mentor, and past chair of the Indiana Cyber Security Task Force.  He supports districts with leadership, project management, effectiveness reviews, and educational reform that lead to improved culture, innovation, and student achievement. </a:t>
            </a:r>
            <a:br>
              <a:rPr lang="en" sz="933" kern="0">
                <a:solidFill>
                  <a:srgbClr val="000000"/>
                </a:solidFill>
                <a:latin typeface="Roboto"/>
                <a:ea typeface="Roboto"/>
                <a:cs typeface="Roboto"/>
                <a:sym typeface="Roboto"/>
              </a:rPr>
            </a:br>
            <a:r>
              <a:rPr lang="en" sz="933" b="1" kern="0">
                <a:solidFill>
                  <a:srgbClr val="000000"/>
                </a:solidFill>
                <a:latin typeface="Roboto"/>
                <a:ea typeface="Roboto"/>
                <a:cs typeface="Roboto"/>
                <a:sym typeface="Roboto"/>
              </a:rPr>
              <a:t>CSM, CSSGB</a:t>
            </a:r>
            <a:endParaRPr sz="1867" kern="0">
              <a:solidFill>
                <a:srgbClr val="000000"/>
              </a:solidFill>
              <a:latin typeface="Arial"/>
              <a:cs typeface="Arial"/>
              <a:sym typeface="Arial"/>
            </a:endParaRPr>
          </a:p>
        </p:txBody>
      </p:sp>
      <p:sp>
        <p:nvSpPr>
          <p:cNvPr id="174" name="Google Shape;174;p33"/>
          <p:cNvSpPr/>
          <p:nvPr/>
        </p:nvSpPr>
        <p:spPr>
          <a:xfrm>
            <a:off x="4443331" y="4021067"/>
            <a:ext cx="6557600" cy="251200"/>
          </a:xfrm>
          <a:prstGeom prst="rect">
            <a:avLst/>
          </a:prstGeom>
          <a:solidFill>
            <a:srgbClr val="D9D9D9"/>
          </a:solidFill>
          <a:ln>
            <a:noFill/>
          </a:ln>
        </p:spPr>
        <p:txBody>
          <a:bodyPr spcFirstLastPara="1" wrap="square" lIns="121900" tIns="121900" rIns="121900" bIns="121900" anchor="ctr" anchorCtr="0">
            <a:noAutofit/>
          </a:bodyPr>
          <a:lstStyle/>
          <a:p>
            <a:pPr defTabSz="1219170">
              <a:buClr>
                <a:srgbClr val="000000"/>
              </a:buClr>
            </a:pPr>
            <a:r>
              <a:rPr lang="en" sz="1200" b="1" kern="0">
                <a:solidFill>
                  <a:srgbClr val="000000"/>
                </a:solidFill>
                <a:latin typeface="Verdana"/>
                <a:ea typeface="Verdana"/>
                <a:cs typeface="Verdana"/>
                <a:sym typeface="Verdana"/>
              </a:rPr>
              <a:t>AKILAH WILLERY, Ed.D, CETL </a:t>
            </a:r>
            <a:endParaRPr sz="1867" kern="0">
              <a:solidFill>
                <a:srgbClr val="000000"/>
              </a:solidFill>
              <a:latin typeface="Arial"/>
              <a:cs typeface="Arial"/>
              <a:sym typeface="Arial"/>
            </a:endParaRPr>
          </a:p>
        </p:txBody>
      </p:sp>
      <p:sp>
        <p:nvSpPr>
          <p:cNvPr id="175" name="Google Shape;175;p33"/>
          <p:cNvSpPr/>
          <p:nvPr/>
        </p:nvSpPr>
        <p:spPr>
          <a:xfrm>
            <a:off x="4458400" y="2903933"/>
            <a:ext cx="6557600" cy="900000"/>
          </a:xfrm>
          <a:prstGeom prst="rect">
            <a:avLst/>
          </a:prstGeom>
          <a:solidFill>
            <a:srgbClr val="EFEFEF"/>
          </a:solidFill>
          <a:ln>
            <a:noFill/>
          </a:ln>
        </p:spPr>
        <p:txBody>
          <a:bodyPr spcFirstLastPara="1" wrap="square" lIns="121900" tIns="121900" rIns="121900" bIns="121900" anchor="ctr" anchorCtr="0">
            <a:noAutofit/>
          </a:bodyPr>
          <a:lstStyle/>
          <a:p>
            <a:pPr defTabSz="1219170">
              <a:buClr>
                <a:srgbClr val="000000"/>
              </a:buClr>
            </a:pPr>
            <a:endParaRPr sz="1067" kern="0">
              <a:solidFill>
                <a:srgbClr val="000000"/>
              </a:solidFill>
              <a:latin typeface="Roboto"/>
              <a:ea typeface="Roboto"/>
              <a:cs typeface="Roboto"/>
              <a:sym typeface="Roboto"/>
            </a:endParaRPr>
          </a:p>
        </p:txBody>
      </p:sp>
      <p:sp>
        <p:nvSpPr>
          <p:cNvPr id="176" name="Google Shape;176;p33"/>
          <p:cNvSpPr/>
          <p:nvPr/>
        </p:nvSpPr>
        <p:spPr>
          <a:xfrm>
            <a:off x="4458533" y="2689800"/>
            <a:ext cx="6557600" cy="251200"/>
          </a:xfrm>
          <a:prstGeom prst="rect">
            <a:avLst/>
          </a:prstGeom>
          <a:solidFill>
            <a:srgbClr val="D9D9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 name="Google Shape;177;p33"/>
          <p:cNvSpPr/>
          <p:nvPr/>
        </p:nvSpPr>
        <p:spPr>
          <a:xfrm>
            <a:off x="4346433" y="1575300"/>
            <a:ext cx="6669600" cy="890400"/>
          </a:xfrm>
          <a:prstGeom prst="rect">
            <a:avLst/>
          </a:prstGeom>
          <a:solidFill>
            <a:srgbClr val="EFEFEF"/>
          </a:solidFill>
          <a:ln>
            <a:noFill/>
          </a:ln>
        </p:spPr>
        <p:txBody>
          <a:bodyPr spcFirstLastPara="1" wrap="square" lIns="121900" tIns="121900" rIns="121900" bIns="121900" anchor="ctr" anchorCtr="0">
            <a:noAutofit/>
          </a:bodyPr>
          <a:lstStyle/>
          <a:p>
            <a:pPr defTabSz="1219170">
              <a:buClr>
                <a:srgbClr val="000000"/>
              </a:buClr>
            </a:pPr>
            <a:endParaRPr sz="933" kern="0">
              <a:solidFill>
                <a:srgbClr val="000000"/>
              </a:solidFill>
              <a:latin typeface="Roboto"/>
              <a:ea typeface="Roboto"/>
              <a:cs typeface="Roboto"/>
              <a:sym typeface="Roboto"/>
            </a:endParaRPr>
          </a:p>
        </p:txBody>
      </p:sp>
      <p:sp>
        <p:nvSpPr>
          <p:cNvPr id="178" name="Google Shape;178;p33"/>
          <p:cNvSpPr/>
          <p:nvPr/>
        </p:nvSpPr>
        <p:spPr>
          <a:xfrm>
            <a:off x="4346600" y="1361167"/>
            <a:ext cx="6669600" cy="251200"/>
          </a:xfrm>
          <a:prstGeom prst="rect">
            <a:avLst/>
          </a:prstGeom>
          <a:solidFill>
            <a:srgbClr val="D9D9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 name="Google Shape;179;p33"/>
          <p:cNvSpPr/>
          <p:nvPr/>
        </p:nvSpPr>
        <p:spPr>
          <a:xfrm>
            <a:off x="0" y="-16367"/>
            <a:ext cx="3344000" cy="6874400"/>
          </a:xfrm>
          <a:prstGeom prst="rect">
            <a:avLst/>
          </a:prstGeom>
          <a:solidFill>
            <a:srgbClr val="EFEFEF"/>
          </a:solidFill>
          <a:ln>
            <a:noFill/>
          </a:ln>
        </p:spPr>
        <p:txBody>
          <a:bodyPr spcFirstLastPara="1" wrap="square" lIns="365733" tIns="121900" rIns="365733" bIns="121900" anchor="ctr" anchorCtr="0">
            <a:noAutofit/>
          </a:bodyPr>
          <a:lstStyle/>
          <a:p>
            <a:pPr algn="just" defTabSz="1219170">
              <a:lnSpc>
                <a:spcPct val="115000"/>
              </a:lnSpc>
              <a:spcBef>
                <a:spcPts val="1600"/>
              </a:spcBef>
              <a:spcAft>
                <a:spcPts val="1600"/>
              </a:spcAft>
              <a:buClr>
                <a:srgbClr val="000000"/>
              </a:buClr>
            </a:pPr>
            <a:endParaRPr sz="933" kern="0">
              <a:solidFill>
                <a:srgbClr val="000000"/>
              </a:solidFill>
              <a:latin typeface="Roboto"/>
              <a:ea typeface="Roboto"/>
              <a:cs typeface="Roboto"/>
              <a:sym typeface="Roboto"/>
            </a:endParaRPr>
          </a:p>
        </p:txBody>
      </p:sp>
      <p:sp>
        <p:nvSpPr>
          <p:cNvPr id="180" name="Google Shape;180;p33"/>
          <p:cNvSpPr txBox="1"/>
          <p:nvPr/>
        </p:nvSpPr>
        <p:spPr>
          <a:xfrm>
            <a:off x="4376428" y="2820779"/>
            <a:ext cx="3418400" cy="820800"/>
          </a:xfrm>
          <a:prstGeom prst="rect">
            <a:avLst/>
          </a:prstGeom>
          <a:noFill/>
          <a:ln>
            <a:noFill/>
          </a:ln>
        </p:spPr>
        <p:txBody>
          <a:bodyPr spcFirstLastPara="1" wrap="square" lIns="121900" tIns="121900" rIns="121900" bIns="121900" anchor="t" anchorCtr="0">
            <a:noAutofit/>
          </a:bodyPr>
          <a:lstStyle/>
          <a:p>
            <a:pPr defTabSz="1219170">
              <a:buClr>
                <a:srgbClr val="000000"/>
              </a:buClr>
            </a:pPr>
            <a:br>
              <a:rPr lang="en" sz="933" kern="0">
                <a:solidFill>
                  <a:srgbClr val="000000"/>
                </a:solidFill>
                <a:latin typeface="Roboto"/>
                <a:ea typeface="Roboto"/>
                <a:cs typeface="Roboto"/>
                <a:sym typeface="Roboto"/>
              </a:rPr>
            </a:br>
            <a:endParaRPr sz="933" b="1" kern="0">
              <a:solidFill>
                <a:srgbClr val="000000"/>
              </a:solidFill>
              <a:latin typeface="Roboto"/>
              <a:ea typeface="Roboto"/>
              <a:cs typeface="Roboto"/>
              <a:sym typeface="Roboto"/>
            </a:endParaRPr>
          </a:p>
        </p:txBody>
      </p:sp>
      <p:sp>
        <p:nvSpPr>
          <p:cNvPr id="181" name="Google Shape;181;p33"/>
          <p:cNvSpPr txBox="1"/>
          <p:nvPr/>
        </p:nvSpPr>
        <p:spPr>
          <a:xfrm>
            <a:off x="7717595" y="2837276"/>
            <a:ext cx="3477200" cy="1120800"/>
          </a:xfrm>
          <a:prstGeom prst="rect">
            <a:avLst/>
          </a:prstGeom>
          <a:noFill/>
          <a:ln>
            <a:noFill/>
          </a:ln>
        </p:spPr>
        <p:txBody>
          <a:bodyPr spcFirstLastPara="1" wrap="square" lIns="121900" tIns="121900" rIns="121900" bIns="121900" anchor="t" anchorCtr="0">
            <a:noAutofit/>
          </a:bodyPr>
          <a:lstStyle/>
          <a:p>
            <a:pPr defTabSz="1219170">
              <a:buClr>
                <a:srgbClr val="000000"/>
              </a:buClr>
            </a:pPr>
            <a:endParaRPr sz="933" kern="0">
              <a:solidFill>
                <a:srgbClr val="000000"/>
              </a:solidFill>
              <a:latin typeface="Roboto"/>
              <a:ea typeface="Roboto"/>
              <a:cs typeface="Roboto"/>
              <a:sym typeface="Roboto"/>
            </a:endParaRPr>
          </a:p>
        </p:txBody>
      </p:sp>
      <p:pic>
        <p:nvPicPr>
          <p:cNvPr id="182" name="Google Shape;182;p33"/>
          <p:cNvPicPr preferRelativeResize="0"/>
          <p:nvPr/>
        </p:nvPicPr>
        <p:blipFill rotWithShape="1">
          <a:blip r:embed="rId3">
            <a:alphaModFix/>
          </a:blip>
          <a:srcRect l="6882" r="6873"/>
          <a:stretch/>
        </p:blipFill>
        <p:spPr>
          <a:xfrm>
            <a:off x="3379716" y="4029817"/>
            <a:ext cx="1015469" cy="1097264"/>
          </a:xfrm>
          <a:prstGeom prst="rect">
            <a:avLst/>
          </a:prstGeom>
          <a:noFill/>
          <a:ln>
            <a:noFill/>
          </a:ln>
        </p:spPr>
      </p:pic>
      <p:sp>
        <p:nvSpPr>
          <p:cNvPr id="183" name="Google Shape;183;p33"/>
          <p:cNvSpPr/>
          <p:nvPr/>
        </p:nvSpPr>
        <p:spPr>
          <a:xfrm>
            <a:off x="6771567" y="338333"/>
            <a:ext cx="5420400" cy="416800"/>
          </a:xfrm>
          <a:prstGeom prst="rect">
            <a:avLst/>
          </a:prstGeom>
          <a:solidFill>
            <a:srgbClr val="CC0000"/>
          </a:solidFill>
          <a:ln>
            <a:noFill/>
          </a:ln>
        </p:spPr>
        <p:txBody>
          <a:bodyPr spcFirstLastPara="1" wrap="square" lIns="121900" tIns="121900" rIns="121900" bIns="121900" anchor="ctr" anchorCtr="0">
            <a:noAutofit/>
          </a:bodyPr>
          <a:lstStyle/>
          <a:p>
            <a:pPr algn="r" defTabSz="1219170">
              <a:buClr>
                <a:srgbClr val="000000"/>
              </a:buClr>
              <a:buSzPts val="1400"/>
            </a:pPr>
            <a:r>
              <a:rPr lang="en" sz="1867" b="1" kern="0">
                <a:solidFill>
                  <a:srgbClr val="FFFFFF"/>
                </a:solidFill>
                <a:latin typeface="Verdana"/>
                <a:ea typeface="Verdana"/>
                <a:cs typeface="Verdana"/>
                <a:sym typeface="Verdana"/>
              </a:rPr>
              <a:t>EDUCATION STRATEGY TEAM</a:t>
            </a:r>
            <a:r>
              <a:rPr lang="en" sz="1867" b="1" kern="0">
                <a:solidFill>
                  <a:srgbClr val="CC0000"/>
                </a:solidFill>
                <a:latin typeface="Verdana"/>
                <a:ea typeface="Verdana"/>
                <a:cs typeface="Verdana"/>
                <a:sym typeface="Verdana"/>
              </a:rPr>
              <a:t>.</a:t>
            </a:r>
            <a:endParaRPr sz="1867" b="1" kern="0">
              <a:solidFill>
                <a:srgbClr val="CC0000"/>
              </a:solidFill>
              <a:latin typeface="Verdana"/>
              <a:ea typeface="Verdana"/>
              <a:cs typeface="Verdana"/>
              <a:sym typeface="Verdana"/>
            </a:endParaRPr>
          </a:p>
        </p:txBody>
      </p:sp>
      <p:sp>
        <p:nvSpPr>
          <p:cNvPr id="184" name="Google Shape;184;p33"/>
          <p:cNvSpPr txBox="1"/>
          <p:nvPr/>
        </p:nvSpPr>
        <p:spPr>
          <a:xfrm>
            <a:off x="3378096" y="936359"/>
            <a:ext cx="31700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b="1" kern="0">
                <a:solidFill>
                  <a:srgbClr val="C00000"/>
                </a:solidFill>
                <a:latin typeface="Verdana"/>
                <a:ea typeface="Verdana"/>
                <a:cs typeface="Verdana"/>
                <a:sym typeface="Verdana"/>
              </a:rPr>
              <a:t>MANAGER:</a:t>
            </a:r>
            <a:endParaRPr sz="1333" b="1" kern="0">
              <a:solidFill>
                <a:srgbClr val="C00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185" name="Google Shape;185;p33"/>
          <p:cNvSpPr txBox="1"/>
          <p:nvPr/>
        </p:nvSpPr>
        <p:spPr>
          <a:xfrm>
            <a:off x="3407397" y="2344800"/>
            <a:ext cx="12120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b="1" kern="0">
                <a:solidFill>
                  <a:srgbClr val="039BE5"/>
                </a:solidFill>
                <a:latin typeface="Verdana"/>
                <a:ea typeface="Verdana"/>
                <a:cs typeface="Verdana"/>
                <a:sym typeface="Verdana"/>
              </a:rPr>
              <a:t>EAST:</a:t>
            </a:r>
            <a:endParaRPr sz="1333" b="1" kern="0">
              <a:solidFill>
                <a:srgbClr val="039BE5"/>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186" name="Google Shape;186;p33"/>
          <p:cNvSpPr txBox="1"/>
          <p:nvPr/>
        </p:nvSpPr>
        <p:spPr>
          <a:xfrm>
            <a:off x="3378100" y="3686233"/>
            <a:ext cx="12120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b="1" kern="0">
                <a:solidFill>
                  <a:srgbClr val="E53935"/>
                </a:solidFill>
                <a:latin typeface="Verdana"/>
                <a:ea typeface="Verdana"/>
                <a:cs typeface="Verdana"/>
                <a:sym typeface="Verdana"/>
              </a:rPr>
              <a:t>CENTRAL:</a:t>
            </a:r>
            <a:endParaRPr sz="1333" b="1" kern="0">
              <a:solidFill>
                <a:srgbClr val="E53935"/>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pic>
        <p:nvPicPr>
          <p:cNvPr id="187" name="Google Shape;187;p33"/>
          <p:cNvPicPr preferRelativeResize="0"/>
          <p:nvPr/>
        </p:nvPicPr>
        <p:blipFill rotWithShape="1">
          <a:blip r:embed="rId4">
            <a:alphaModFix/>
          </a:blip>
          <a:srcRect l="22536" t="4898" r="50389" b="66491"/>
          <a:stretch/>
        </p:blipFill>
        <p:spPr>
          <a:xfrm>
            <a:off x="11066884" y="1361167"/>
            <a:ext cx="1015467" cy="1097267"/>
          </a:xfrm>
          <a:prstGeom prst="rect">
            <a:avLst/>
          </a:prstGeom>
          <a:noFill/>
          <a:ln>
            <a:noFill/>
          </a:ln>
        </p:spPr>
      </p:pic>
      <p:sp>
        <p:nvSpPr>
          <p:cNvPr id="188" name="Google Shape;188;p33"/>
          <p:cNvSpPr/>
          <p:nvPr/>
        </p:nvSpPr>
        <p:spPr>
          <a:xfrm>
            <a:off x="4413833" y="5724365"/>
            <a:ext cx="6669600" cy="968000"/>
          </a:xfrm>
          <a:prstGeom prst="rect">
            <a:avLst/>
          </a:prstGeom>
          <a:solidFill>
            <a:srgbClr val="EFEFEF"/>
          </a:solidFill>
          <a:ln>
            <a:noFill/>
          </a:ln>
        </p:spPr>
        <p:txBody>
          <a:bodyPr spcFirstLastPara="1" wrap="square" lIns="121900" tIns="121900" rIns="121900" bIns="121900" anchor="ctr" anchorCtr="0">
            <a:noAutofit/>
          </a:bodyPr>
          <a:lstStyle/>
          <a:p>
            <a:pPr defTabSz="1219170">
              <a:buClr>
                <a:srgbClr val="000000"/>
              </a:buClr>
            </a:pPr>
            <a:endParaRPr sz="1067" kern="0">
              <a:solidFill>
                <a:srgbClr val="000000"/>
              </a:solidFill>
              <a:latin typeface="Roboto"/>
              <a:ea typeface="Roboto"/>
              <a:cs typeface="Roboto"/>
              <a:sym typeface="Roboto"/>
            </a:endParaRPr>
          </a:p>
        </p:txBody>
      </p:sp>
      <p:sp>
        <p:nvSpPr>
          <p:cNvPr id="189" name="Google Shape;189;p33"/>
          <p:cNvSpPr/>
          <p:nvPr/>
        </p:nvSpPr>
        <p:spPr>
          <a:xfrm>
            <a:off x="4414000" y="5468541"/>
            <a:ext cx="6669600" cy="251200"/>
          </a:xfrm>
          <a:prstGeom prst="rect">
            <a:avLst/>
          </a:prstGeom>
          <a:solidFill>
            <a:srgbClr val="D9D9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 name="Google Shape;190;p33"/>
          <p:cNvSpPr txBox="1"/>
          <p:nvPr/>
        </p:nvSpPr>
        <p:spPr>
          <a:xfrm>
            <a:off x="7760853" y="1513600"/>
            <a:ext cx="3418400" cy="10588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Roboto"/>
                <a:ea typeface="Roboto"/>
                <a:cs typeface="Roboto"/>
                <a:sym typeface="Roboto"/>
              </a:rPr>
              <a:t>Diana is a former Director of Learning and Innovation with over 20 years of domestic and global experience visioning, designing, implementing and managing large scale innovative education projects. Diana applies a background of educational  neuroscience research &amp; project M&amp;E to ensure sustainability &amp; scalability of future forward initiatives.</a:t>
            </a: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p:txBody>
      </p:sp>
      <p:sp>
        <p:nvSpPr>
          <p:cNvPr id="191" name="Google Shape;191;p33"/>
          <p:cNvSpPr/>
          <p:nvPr/>
        </p:nvSpPr>
        <p:spPr>
          <a:xfrm>
            <a:off x="0" y="-16367"/>
            <a:ext cx="3344000" cy="6874400"/>
          </a:xfrm>
          <a:prstGeom prst="rect">
            <a:avLst/>
          </a:prstGeom>
          <a:solidFill>
            <a:srgbClr val="EFEFEF"/>
          </a:solidFill>
          <a:ln>
            <a:noFill/>
          </a:ln>
        </p:spPr>
        <p:txBody>
          <a:bodyPr spcFirstLastPara="1" wrap="square" lIns="365733" tIns="121900" rIns="365733" bIns="121900" anchor="ctr" anchorCtr="0">
            <a:noAutofit/>
          </a:bodyPr>
          <a:lstStyle/>
          <a:p>
            <a:pPr algn="just" defTabSz="1219170">
              <a:lnSpc>
                <a:spcPct val="115000"/>
              </a:lnSpc>
              <a:spcBef>
                <a:spcPts val="1600"/>
              </a:spcBef>
              <a:spcAft>
                <a:spcPts val="1600"/>
              </a:spcAft>
              <a:buClr>
                <a:srgbClr val="000000"/>
              </a:buClr>
            </a:pPr>
            <a:endParaRPr sz="933" kern="0">
              <a:solidFill>
                <a:srgbClr val="000000"/>
              </a:solidFill>
              <a:latin typeface="Roboto"/>
              <a:ea typeface="Roboto"/>
              <a:cs typeface="Roboto"/>
              <a:sym typeface="Roboto"/>
            </a:endParaRPr>
          </a:p>
        </p:txBody>
      </p:sp>
      <p:sp>
        <p:nvSpPr>
          <p:cNvPr id="192" name="Google Shape;192;p33"/>
          <p:cNvSpPr/>
          <p:nvPr/>
        </p:nvSpPr>
        <p:spPr>
          <a:xfrm>
            <a:off x="306333" y="394409"/>
            <a:ext cx="2611688" cy="322724"/>
          </a:xfrm>
          <a:prstGeom prst="rect">
            <a:avLst/>
          </a:prstGeom>
        </p:spPr>
        <p:txBody>
          <a:bodyPr>
            <a:prstTxWarp prst="textPlain">
              <a:avLst/>
            </a:prstTxWarp>
          </a:bodyPr>
          <a:lstStyle/>
          <a:p>
            <a:pPr algn="ctr" defTabSz="1219170">
              <a:buClr>
                <a:srgbClr val="000000"/>
              </a:buClr>
            </a:pPr>
            <a:r>
              <a:rPr sz="1867" b="1" kern="0">
                <a:solidFill>
                  <a:srgbClr val="000000"/>
                </a:solidFill>
                <a:latin typeface="Oswald"/>
                <a:cs typeface="Arial"/>
                <a:sym typeface="Arial"/>
              </a:rPr>
              <a:t>WE GET EDUCATION</a:t>
            </a:r>
          </a:p>
        </p:txBody>
      </p:sp>
      <p:sp>
        <p:nvSpPr>
          <p:cNvPr id="193" name="Google Shape;193;p33"/>
          <p:cNvSpPr/>
          <p:nvPr/>
        </p:nvSpPr>
        <p:spPr>
          <a:xfrm>
            <a:off x="328400" y="778667"/>
            <a:ext cx="900400" cy="66400"/>
          </a:xfrm>
          <a:prstGeom prst="rect">
            <a:avLst/>
          </a:prstGeom>
          <a:solidFill>
            <a:srgbClr val="CC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 name="Google Shape;194;p33"/>
          <p:cNvSpPr txBox="1"/>
          <p:nvPr/>
        </p:nvSpPr>
        <p:spPr>
          <a:xfrm>
            <a:off x="7788577" y="3935617"/>
            <a:ext cx="3043600" cy="342000"/>
          </a:xfrm>
          <a:prstGeom prst="rect">
            <a:avLst/>
          </a:prstGeom>
          <a:noFill/>
          <a:ln>
            <a:noFill/>
          </a:ln>
        </p:spPr>
        <p:txBody>
          <a:bodyPr spcFirstLastPara="1" wrap="square" lIns="121900" tIns="121900" rIns="121900" bIns="121900" anchor="t" anchorCtr="0">
            <a:noAutofit/>
          </a:bodyPr>
          <a:lstStyle/>
          <a:p>
            <a:pPr defTabSz="1219170">
              <a:lnSpc>
                <a:spcPct val="115000"/>
              </a:lnSpc>
              <a:buClr>
                <a:srgbClr val="000000"/>
              </a:buClr>
            </a:pPr>
            <a:r>
              <a:rPr lang="en" sz="1200" b="1" kern="0">
                <a:solidFill>
                  <a:srgbClr val="000000"/>
                </a:solidFill>
                <a:latin typeface="Verdana"/>
                <a:ea typeface="Verdana"/>
                <a:cs typeface="Verdana"/>
                <a:sym typeface="Verdana"/>
              </a:rPr>
              <a:t>THOMAS ASHLEY II, M.Ed, CETL </a:t>
            </a:r>
            <a:endParaRPr sz="1333" b="1" kern="0">
              <a:solidFill>
                <a:srgbClr val="000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195" name="Google Shape;195;p33"/>
          <p:cNvSpPr txBox="1"/>
          <p:nvPr/>
        </p:nvSpPr>
        <p:spPr>
          <a:xfrm>
            <a:off x="4374933" y="5641533"/>
            <a:ext cx="3380400" cy="968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Roboto"/>
                <a:ea typeface="Roboto"/>
                <a:cs typeface="Roboto"/>
                <a:sym typeface="Roboto"/>
              </a:rPr>
              <a:t>Jennette is a former Sp. Ed. administrator, 504 Coordinator &amp; university professor with 20 years experience. She is passionate about helping school districts adapt to the unique technological needs of their students and staff. With a background in curriculum design, implementation, LCAP and union negotiations, she helps school districts break through barriers in the technology adoption process.</a:t>
            </a: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p:txBody>
      </p:sp>
      <p:sp>
        <p:nvSpPr>
          <p:cNvPr id="196" name="Google Shape;196;p33"/>
          <p:cNvSpPr txBox="1"/>
          <p:nvPr/>
        </p:nvSpPr>
        <p:spPr>
          <a:xfrm>
            <a:off x="4392267" y="5388533"/>
            <a:ext cx="3043600" cy="342000"/>
          </a:xfrm>
          <a:prstGeom prst="rect">
            <a:avLst/>
          </a:prstGeom>
          <a:noFill/>
          <a:ln>
            <a:noFill/>
          </a:ln>
        </p:spPr>
        <p:txBody>
          <a:bodyPr spcFirstLastPara="1" wrap="square" lIns="121900" tIns="121900" rIns="121900" bIns="121900" anchor="t" anchorCtr="0">
            <a:noAutofit/>
          </a:bodyPr>
          <a:lstStyle/>
          <a:p>
            <a:pPr defTabSz="1219170">
              <a:buClr>
                <a:srgbClr val="000000"/>
              </a:buClr>
              <a:buSzPts val="1000"/>
            </a:pPr>
            <a:r>
              <a:rPr lang="en" sz="1200" b="1" kern="0">
                <a:solidFill>
                  <a:srgbClr val="000000"/>
                </a:solidFill>
                <a:latin typeface="Verdana"/>
                <a:ea typeface="Verdana"/>
                <a:cs typeface="Verdana"/>
                <a:sym typeface="Verdana"/>
              </a:rPr>
              <a:t>Jennette Vanderpool, Ed.D</a:t>
            </a:r>
            <a:endParaRPr sz="1200" b="1" kern="0">
              <a:solidFill>
                <a:srgbClr val="000000"/>
              </a:solidFill>
              <a:latin typeface="Verdana"/>
              <a:ea typeface="Verdana"/>
              <a:cs typeface="Verdana"/>
              <a:sym typeface="Verdana"/>
            </a:endParaRPr>
          </a:p>
        </p:txBody>
      </p:sp>
      <p:sp>
        <p:nvSpPr>
          <p:cNvPr id="197" name="Google Shape;197;p33"/>
          <p:cNvSpPr txBox="1"/>
          <p:nvPr/>
        </p:nvSpPr>
        <p:spPr>
          <a:xfrm>
            <a:off x="3344000" y="5027667"/>
            <a:ext cx="19520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b="1" kern="0">
                <a:solidFill>
                  <a:srgbClr val="BF9000"/>
                </a:solidFill>
                <a:latin typeface="Verdana"/>
                <a:ea typeface="Verdana"/>
                <a:cs typeface="Verdana"/>
                <a:sym typeface="Verdana"/>
              </a:rPr>
              <a:t>WEST:</a:t>
            </a:r>
            <a:endParaRPr sz="1333" b="1" kern="0">
              <a:solidFill>
                <a:srgbClr val="BF9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198" name="Google Shape;198;p33"/>
          <p:cNvSpPr txBox="1"/>
          <p:nvPr/>
        </p:nvSpPr>
        <p:spPr>
          <a:xfrm>
            <a:off x="4450833" y="1270267"/>
            <a:ext cx="3344000" cy="305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000000"/>
                </a:solidFill>
                <a:latin typeface="Verdana"/>
                <a:ea typeface="Verdana"/>
                <a:cs typeface="Verdana"/>
                <a:sym typeface="Verdana"/>
              </a:rPr>
              <a:t>WENDY JONES, M.Ed, CETL  </a:t>
            </a:r>
            <a:endParaRPr sz="400" kern="0">
              <a:solidFill>
                <a:srgbClr val="000000"/>
              </a:solidFill>
              <a:latin typeface="Roboto"/>
              <a:ea typeface="Roboto"/>
              <a:cs typeface="Roboto"/>
              <a:sym typeface="Roboto"/>
            </a:endParaRPr>
          </a:p>
          <a:p>
            <a:pPr defTabSz="1219170">
              <a:buClr>
                <a:srgbClr val="000000"/>
              </a:buClr>
            </a:pPr>
            <a:endParaRPr sz="533" kern="0">
              <a:solidFill>
                <a:srgbClr val="000000"/>
              </a:solidFill>
              <a:latin typeface="Roboto"/>
              <a:ea typeface="Roboto"/>
              <a:cs typeface="Roboto"/>
              <a:sym typeface="Roboto"/>
            </a:endParaRPr>
          </a:p>
          <a:p>
            <a:pPr defTabSz="1219170">
              <a:buClr>
                <a:srgbClr val="000000"/>
              </a:buClr>
            </a:pPr>
            <a:r>
              <a:rPr lang="en" sz="933" kern="0">
                <a:solidFill>
                  <a:srgbClr val="000000"/>
                </a:solidFill>
                <a:latin typeface="Roboto"/>
                <a:ea typeface="Roboto"/>
                <a:cs typeface="Roboto"/>
                <a:sym typeface="Roboto"/>
              </a:rPr>
              <a:t>Wendy is a lifelong educator with extensive district leadership experience. As a former education strategist, </a:t>
            </a:r>
            <a:endParaRPr sz="933" kern="0">
              <a:solidFill>
                <a:srgbClr val="000000"/>
              </a:solidFill>
              <a:latin typeface="Roboto"/>
              <a:ea typeface="Roboto"/>
              <a:cs typeface="Roboto"/>
              <a:sym typeface="Roboto"/>
            </a:endParaRPr>
          </a:p>
          <a:p>
            <a:pPr defTabSz="1219170">
              <a:buClr>
                <a:srgbClr val="000000"/>
              </a:buClr>
            </a:pPr>
            <a:r>
              <a:rPr lang="en" sz="933" kern="0">
                <a:solidFill>
                  <a:srgbClr val="000000"/>
                </a:solidFill>
                <a:latin typeface="Roboto"/>
                <a:ea typeface="Roboto"/>
                <a:cs typeface="Roboto"/>
                <a:sym typeface="Roboto"/>
              </a:rPr>
              <a:t>she supports the team as they provide educational and thought leadership, empower digital transformation, and build relationships that impact teaching and learning for </a:t>
            </a:r>
            <a:endParaRPr sz="933" kern="0">
              <a:solidFill>
                <a:srgbClr val="000000"/>
              </a:solidFill>
              <a:latin typeface="Roboto"/>
              <a:ea typeface="Roboto"/>
              <a:cs typeface="Roboto"/>
              <a:sym typeface="Roboto"/>
            </a:endParaRPr>
          </a:p>
          <a:p>
            <a:pPr defTabSz="1219170">
              <a:buClr>
                <a:srgbClr val="000000"/>
              </a:buClr>
            </a:pPr>
            <a:r>
              <a:rPr lang="en" sz="933" kern="0">
                <a:solidFill>
                  <a:srgbClr val="000000"/>
                </a:solidFill>
                <a:latin typeface="Roboto"/>
                <a:ea typeface="Roboto"/>
                <a:cs typeface="Roboto"/>
                <a:sym typeface="Roboto"/>
              </a:rPr>
              <a:t>our CDW Education customers.</a:t>
            </a: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a:p>
            <a:pPr defTabSz="1219170">
              <a:buClr>
                <a:srgbClr val="000000"/>
              </a:buClr>
            </a:pPr>
            <a:endParaRPr sz="1333" b="1" kern="0">
              <a:solidFill>
                <a:srgbClr val="000000"/>
              </a:solidFill>
              <a:latin typeface="Verdana"/>
              <a:ea typeface="Verdana"/>
              <a:cs typeface="Verdana"/>
              <a:sym typeface="Verdana"/>
            </a:endParaRPr>
          </a:p>
          <a:p>
            <a:pPr defTabSz="1219170">
              <a:buClr>
                <a:srgbClr val="000000"/>
              </a:buClr>
            </a:pPr>
            <a:endParaRPr sz="1333" b="1" kern="0">
              <a:solidFill>
                <a:srgbClr val="000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199" name="Google Shape;199;p33"/>
          <p:cNvSpPr txBox="1"/>
          <p:nvPr/>
        </p:nvSpPr>
        <p:spPr>
          <a:xfrm>
            <a:off x="7706967" y="994200"/>
            <a:ext cx="2019200" cy="342000"/>
          </a:xfrm>
          <a:prstGeom prst="rect">
            <a:avLst/>
          </a:prstGeom>
          <a:noFill/>
          <a:ln>
            <a:noFill/>
          </a:ln>
        </p:spPr>
        <p:txBody>
          <a:bodyPr spcFirstLastPara="1" wrap="square" lIns="76200" tIns="121900" rIns="121900" bIns="121900" anchor="t" anchorCtr="0">
            <a:noAutofit/>
          </a:bodyPr>
          <a:lstStyle/>
          <a:p>
            <a:pPr defTabSz="1219170">
              <a:buClr>
                <a:srgbClr val="000000"/>
              </a:buClr>
            </a:pPr>
            <a:r>
              <a:rPr lang="en" sz="1333" b="1" kern="0">
                <a:solidFill>
                  <a:srgbClr val="C00000"/>
                </a:solidFill>
                <a:latin typeface="Verdana"/>
                <a:ea typeface="Verdana"/>
                <a:cs typeface="Verdana"/>
                <a:sym typeface="Verdana"/>
              </a:rPr>
              <a:t>NEW YORK CITY:</a:t>
            </a:r>
            <a:endParaRPr sz="1333" b="1" kern="0">
              <a:solidFill>
                <a:srgbClr val="C00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200" name="Google Shape;200;p33"/>
          <p:cNvSpPr txBox="1"/>
          <p:nvPr/>
        </p:nvSpPr>
        <p:spPr>
          <a:xfrm>
            <a:off x="7784200" y="1278367"/>
            <a:ext cx="3344000" cy="4168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000000"/>
                </a:solidFill>
                <a:latin typeface="Verdana"/>
                <a:ea typeface="Verdana"/>
                <a:cs typeface="Verdana"/>
                <a:sym typeface="Verdana"/>
              </a:rPr>
              <a:t>DIANA GROSS, M.S.Ed</a:t>
            </a:r>
            <a:endParaRPr sz="1333" b="1" kern="0">
              <a:solidFill>
                <a:srgbClr val="000000"/>
              </a:solidFill>
              <a:latin typeface="Verdana"/>
              <a:ea typeface="Verdana"/>
              <a:cs typeface="Verdana"/>
              <a:sym typeface="Verdana"/>
            </a:endParaRPr>
          </a:p>
          <a:p>
            <a:pPr defTabSz="1219170">
              <a:buClr>
                <a:srgbClr val="000000"/>
              </a:buClr>
            </a:pPr>
            <a:r>
              <a:rPr lang="en" sz="1333" kern="0">
                <a:solidFill>
                  <a:srgbClr val="000000"/>
                </a:solidFill>
                <a:latin typeface="Roboto"/>
                <a:ea typeface="Roboto"/>
                <a:cs typeface="Roboto"/>
                <a:sym typeface="Roboto"/>
              </a:rPr>
              <a:t> </a:t>
            </a:r>
            <a:endParaRPr sz="1333" kern="0">
              <a:solidFill>
                <a:srgbClr val="000000"/>
              </a:solidFill>
              <a:latin typeface="Roboto"/>
              <a:ea typeface="Roboto"/>
              <a:cs typeface="Roboto"/>
              <a:sym typeface="Roboto"/>
            </a:endParaRPr>
          </a:p>
        </p:txBody>
      </p:sp>
      <p:sp>
        <p:nvSpPr>
          <p:cNvPr id="201" name="Google Shape;201;p33"/>
          <p:cNvSpPr/>
          <p:nvPr/>
        </p:nvSpPr>
        <p:spPr>
          <a:xfrm>
            <a:off x="7624600" y="1105133"/>
            <a:ext cx="113600" cy="5608800"/>
          </a:xfrm>
          <a:prstGeom prst="rect">
            <a:avLst/>
          </a:prstGeom>
          <a:solidFill>
            <a:schemeClr val="dk1"/>
          </a:solidFill>
          <a:ln w="9525"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pic>
        <p:nvPicPr>
          <p:cNvPr id="202" name="Google Shape;202;p33"/>
          <p:cNvPicPr preferRelativeResize="0"/>
          <p:nvPr/>
        </p:nvPicPr>
        <p:blipFill rotWithShape="1">
          <a:blip r:embed="rId5">
            <a:alphaModFix/>
          </a:blip>
          <a:srcRect l="14903" t="7151" r="14960" b="10265"/>
          <a:stretch/>
        </p:blipFill>
        <p:spPr>
          <a:xfrm>
            <a:off x="11066867" y="4033300"/>
            <a:ext cx="1015467" cy="1097267"/>
          </a:xfrm>
          <a:prstGeom prst="rect">
            <a:avLst/>
          </a:prstGeom>
          <a:noFill/>
          <a:ln>
            <a:noFill/>
          </a:ln>
        </p:spPr>
      </p:pic>
      <p:pic>
        <p:nvPicPr>
          <p:cNvPr id="203" name="Google Shape;203;p33"/>
          <p:cNvPicPr preferRelativeResize="0"/>
          <p:nvPr/>
        </p:nvPicPr>
        <p:blipFill rotWithShape="1">
          <a:blip r:embed="rId6">
            <a:alphaModFix/>
          </a:blip>
          <a:srcRect l="6947" r="5556"/>
          <a:stretch/>
        </p:blipFill>
        <p:spPr>
          <a:xfrm>
            <a:off x="3407400" y="1356267"/>
            <a:ext cx="1015467" cy="1097267"/>
          </a:xfrm>
          <a:prstGeom prst="rect">
            <a:avLst/>
          </a:prstGeom>
          <a:noFill/>
          <a:ln>
            <a:noFill/>
          </a:ln>
        </p:spPr>
      </p:pic>
      <p:pic>
        <p:nvPicPr>
          <p:cNvPr id="204" name="Google Shape;204;p33"/>
          <p:cNvPicPr preferRelativeResize="0"/>
          <p:nvPr/>
        </p:nvPicPr>
        <p:blipFill rotWithShape="1">
          <a:blip r:embed="rId7">
            <a:alphaModFix/>
          </a:blip>
          <a:srcRect l="6100" t="6963" r="8937" b="21026"/>
          <a:stretch/>
        </p:blipFill>
        <p:spPr>
          <a:xfrm>
            <a:off x="3425267" y="2681667"/>
            <a:ext cx="968267" cy="1097300"/>
          </a:xfrm>
          <a:prstGeom prst="rect">
            <a:avLst/>
          </a:prstGeom>
          <a:noFill/>
          <a:ln>
            <a:noFill/>
          </a:ln>
        </p:spPr>
      </p:pic>
      <p:sp>
        <p:nvSpPr>
          <p:cNvPr id="205" name="Google Shape;205;p33"/>
          <p:cNvSpPr txBox="1"/>
          <p:nvPr/>
        </p:nvSpPr>
        <p:spPr>
          <a:xfrm>
            <a:off x="4414815" y="2578800"/>
            <a:ext cx="32456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000000"/>
                </a:solidFill>
                <a:latin typeface="Verdana"/>
                <a:ea typeface="Verdana"/>
                <a:cs typeface="Verdana"/>
                <a:sym typeface="Verdana"/>
              </a:rPr>
              <a:t>JACOB M. WILSON, III, Ph.D</a:t>
            </a:r>
            <a:endParaRPr sz="1200" b="1" kern="0">
              <a:solidFill>
                <a:srgbClr val="000000"/>
              </a:solidFill>
              <a:latin typeface="Verdana"/>
              <a:ea typeface="Verdana"/>
              <a:cs typeface="Verdana"/>
              <a:sym typeface="Verdana"/>
            </a:endParaRPr>
          </a:p>
          <a:p>
            <a:pPr defTabSz="1219170">
              <a:buClr>
                <a:srgbClr val="000000"/>
              </a:buClr>
            </a:pPr>
            <a:endParaRPr sz="1333" kern="0">
              <a:solidFill>
                <a:srgbClr val="000000"/>
              </a:solidFill>
              <a:latin typeface="Roboto"/>
              <a:ea typeface="Roboto"/>
              <a:cs typeface="Roboto"/>
              <a:sym typeface="Roboto"/>
            </a:endParaRPr>
          </a:p>
        </p:txBody>
      </p:sp>
      <p:sp>
        <p:nvSpPr>
          <p:cNvPr id="206" name="Google Shape;206;p33"/>
          <p:cNvSpPr txBox="1"/>
          <p:nvPr/>
        </p:nvSpPr>
        <p:spPr>
          <a:xfrm>
            <a:off x="4393541" y="2835089"/>
            <a:ext cx="3380400" cy="8904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Roboto"/>
                <a:ea typeface="Roboto"/>
                <a:cs typeface="Roboto"/>
                <a:sym typeface="Roboto"/>
              </a:rPr>
              <a:t>Jake is a former PreK-12 Administrator, Chief Discipline </a:t>
            </a:r>
            <a:endParaRPr sz="933" kern="0">
              <a:solidFill>
                <a:srgbClr val="000000"/>
              </a:solidFill>
              <a:latin typeface="Roboto"/>
              <a:ea typeface="Roboto"/>
              <a:cs typeface="Roboto"/>
              <a:sym typeface="Roboto"/>
            </a:endParaRPr>
          </a:p>
          <a:p>
            <a:pPr defTabSz="1219170">
              <a:buClr>
                <a:srgbClr val="000000"/>
              </a:buClr>
            </a:pPr>
            <a:r>
              <a:rPr lang="en" sz="933" kern="0">
                <a:solidFill>
                  <a:srgbClr val="000000"/>
                </a:solidFill>
                <a:latin typeface="Roboto"/>
                <a:ea typeface="Roboto"/>
                <a:cs typeface="Roboto"/>
                <a:sym typeface="Roboto"/>
              </a:rPr>
              <a:t>Officer, 21st CCLC program designer, grant author, MTSS Systems coach, and leadership mentor. He strategically helps districts assess and move toward their goals.</a:t>
            </a:r>
            <a:endParaRPr sz="933" kern="0">
              <a:solidFill>
                <a:srgbClr val="000000"/>
              </a:solidFill>
              <a:latin typeface="Roboto"/>
              <a:ea typeface="Roboto"/>
              <a:cs typeface="Roboto"/>
              <a:sym typeface="Roboto"/>
            </a:endParaRPr>
          </a:p>
        </p:txBody>
      </p:sp>
      <p:sp>
        <p:nvSpPr>
          <p:cNvPr id="207" name="Google Shape;207;p33"/>
          <p:cNvSpPr txBox="1"/>
          <p:nvPr/>
        </p:nvSpPr>
        <p:spPr>
          <a:xfrm>
            <a:off x="7826227" y="2578800"/>
            <a:ext cx="3245600" cy="342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000000"/>
                </a:solidFill>
                <a:latin typeface="Verdana"/>
                <a:ea typeface="Verdana"/>
                <a:cs typeface="Verdana"/>
                <a:sym typeface="Verdana"/>
              </a:rPr>
              <a:t>COREY L. GORDON, M.Ed</a:t>
            </a:r>
            <a:endParaRPr sz="1200" b="1" kern="0">
              <a:solidFill>
                <a:srgbClr val="000000"/>
              </a:solidFill>
              <a:latin typeface="Verdana"/>
              <a:ea typeface="Verdana"/>
              <a:cs typeface="Verdana"/>
              <a:sym typeface="Verdana"/>
            </a:endParaRPr>
          </a:p>
          <a:p>
            <a:pPr defTabSz="1219170">
              <a:buClr>
                <a:srgbClr val="000000"/>
              </a:buClr>
            </a:pPr>
            <a:endParaRPr sz="1333" b="1" kern="0">
              <a:solidFill>
                <a:srgbClr val="000000"/>
              </a:solidFill>
              <a:latin typeface="Verdana"/>
              <a:ea typeface="Verdana"/>
              <a:cs typeface="Verdana"/>
              <a:sym typeface="Verdana"/>
            </a:endParaRPr>
          </a:p>
          <a:p>
            <a:pPr defTabSz="1219170">
              <a:buClr>
                <a:srgbClr val="000000"/>
              </a:buClr>
            </a:pPr>
            <a:endParaRPr sz="1333" b="1" kern="0">
              <a:solidFill>
                <a:srgbClr val="000000"/>
              </a:solidFill>
              <a:latin typeface="Verdana"/>
              <a:ea typeface="Verdana"/>
              <a:cs typeface="Verdana"/>
              <a:sym typeface="Verdana"/>
            </a:endParaRPr>
          </a:p>
          <a:p>
            <a:pPr defTabSz="1219170">
              <a:buClr>
                <a:srgbClr val="000000"/>
              </a:buClr>
            </a:pPr>
            <a:endParaRPr sz="1333" b="1" kern="0">
              <a:solidFill>
                <a:srgbClr val="000000"/>
              </a:solidFill>
              <a:latin typeface="Verdana"/>
              <a:ea typeface="Verdana"/>
              <a:cs typeface="Verdana"/>
              <a:sym typeface="Verdana"/>
            </a:endParaRPr>
          </a:p>
        </p:txBody>
      </p:sp>
      <p:sp>
        <p:nvSpPr>
          <p:cNvPr id="208" name="Google Shape;208;p33"/>
          <p:cNvSpPr txBox="1"/>
          <p:nvPr/>
        </p:nvSpPr>
        <p:spPr>
          <a:xfrm>
            <a:off x="7760860" y="2835100"/>
            <a:ext cx="3344000" cy="8904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Roboto"/>
                <a:ea typeface="Roboto"/>
                <a:cs typeface="Roboto"/>
                <a:sym typeface="Roboto"/>
              </a:rPr>
              <a:t>Corey is a former PreK-12 Administration &amp; NASA STEM Senior Specialist.He guides districts through the strategic initiatives that impact integrated technology, tiered interventions, STEM, and systems coaching. Corey connects technology to federal funding, special education, CTE, and beyond school hour programs to enhance instruction. </a:t>
            </a: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p:txBody>
      </p:sp>
      <p:pic>
        <p:nvPicPr>
          <p:cNvPr id="209" name="Google Shape;209;p33"/>
          <p:cNvPicPr preferRelativeResize="0"/>
          <p:nvPr/>
        </p:nvPicPr>
        <p:blipFill>
          <a:blip r:embed="rId8">
            <a:alphaModFix/>
          </a:blip>
          <a:stretch>
            <a:fillRect/>
          </a:stretch>
        </p:blipFill>
        <p:spPr>
          <a:xfrm>
            <a:off x="11066867" y="2699034"/>
            <a:ext cx="1015467" cy="1058801"/>
          </a:xfrm>
          <a:prstGeom prst="rect">
            <a:avLst/>
          </a:prstGeom>
          <a:noFill/>
          <a:ln>
            <a:noFill/>
          </a:ln>
        </p:spPr>
      </p:pic>
      <p:pic>
        <p:nvPicPr>
          <p:cNvPr id="210" name="Google Shape;210;p33"/>
          <p:cNvPicPr preferRelativeResize="0"/>
          <p:nvPr/>
        </p:nvPicPr>
        <p:blipFill rotWithShape="1">
          <a:blip r:embed="rId9">
            <a:alphaModFix/>
          </a:blip>
          <a:srcRect l="7978" t="6562" b="10573"/>
          <a:stretch/>
        </p:blipFill>
        <p:spPr>
          <a:xfrm>
            <a:off x="11066867" y="1315867"/>
            <a:ext cx="1015533" cy="1149832"/>
          </a:xfrm>
          <a:prstGeom prst="rect">
            <a:avLst/>
          </a:prstGeom>
          <a:noFill/>
          <a:ln>
            <a:noFill/>
          </a:ln>
        </p:spPr>
      </p:pic>
      <p:cxnSp>
        <p:nvCxnSpPr>
          <p:cNvPr id="211" name="Google Shape;211;p33"/>
          <p:cNvCxnSpPr/>
          <p:nvPr/>
        </p:nvCxnSpPr>
        <p:spPr>
          <a:xfrm>
            <a:off x="3458300" y="2656733"/>
            <a:ext cx="7527600" cy="17200"/>
          </a:xfrm>
          <a:prstGeom prst="straightConnector1">
            <a:avLst/>
          </a:prstGeom>
          <a:noFill/>
          <a:ln w="9525" cap="flat" cmpd="sng">
            <a:solidFill>
              <a:schemeClr val="accent4"/>
            </a:solidFill>
            <a:prstDash val="solid"/>
            <a:round/>
            <a:headEnd type="none" w="med" len="med"/>
            <a:tailEnd type="none" w="med" len="med"/>
          </a:ln>
        </p:spPr>
      </p:cxnSp>
      <p:cxnSp>
        <p:nvCxnSpPr>
          <p:cNvPr id="212" name="Google Shape;212;p33"/>
          <p:cNvCxnSpPr/>
          <p:nvPr/>
        </p:nvCxnSpPr>
        <p:spPr>
          <a:xfrm>
            <a:off x="3449700" y="3978533"/>
            <a:ext cx="7536400" cy="16400"/>
          </a:xfrm>
          <a:prstGeom prst="straightConnector1">
            <a:avLst/>
          </a:prstGeom>
          <a:noFill/>
          <a:ln w="9525" cap="flat" cmpd="sng">
            <a:solidFill>
              <a:srgbClr val="E53935"/>
            </a:solidFill>
            <a:prstDash val="solid"/>
            <a:round/>
            <a:headEnd type="none" w="med" len="med"/>
            <a:tailEnd type="none" w="med" len="med"/>
          </a:ln>
        </p:spPr>
      </p:cxnSp>
      <p:cxnSp>
        <p:nvCxnSpPr>
          <p:cNvPr id="213" name="Google Shape;213;p33"/>
          <p:cNvCxnSpPr/>
          <p:nvPr/>
        </p:nvCxnSpPr>
        <p:spPr>
          <a:xfrm>
            <a:off x="3348100" y="5356696"/>
            <a:ext cx="7612400" cy="10400"/>
          </a:xfrm>
          <a:prstGeom prst="straightConnector1">
            <a:avLst/>
          </a:prstGeom>
          <a:noFill/>
          <a:ln w="9525" cap="flat" cmpd="sng">
            <a:solidFill>
              <a:srgbClr val="BF9000"/>
            </a:solidFill>
            <a:prstDash val="solid"/>
            <a:round/>
            <a:headEnd type="none" w="med" len="med"/>
            <a:tailEnd type="none" w="med" len="med"/>
          </a:ln>
        </p:spPr>
      </p:cxnSp>
      <p:cxnSp>
        <p:nvCxnSpPr>
          <p:cNvPr id="214" name="Google Shape;214;p33"/>
          <p:cNvCxnSpPr/>
          <p:nvPr/>
        </p:nvCxnSpPr>
        <p:spPr>
          <a:xfrm>
            <a:off x="3441617" y="1311167"/>
            <a:ext cx="7527600" cy="17200"/>
          </a:xfrm>
          <a:prstGeom prst="straightConnector1">
            <a:avLst/>
          </a:prstGeom>
          <a:noFill/>
          <a:ln w="9525" cap="flat" cmpd="sng">
            <a:solidFill>
              <a:srgbClr val="C00000"/>
            </a:solidFill>
            <a:prstDash val="solid"/>
            <a:round/>
            <a:headEnd type="none" w="med" len="med"/>
            <a:tailEnd type="none" w="med" len="med"/>
          </a:ln>
        </p:spPr>
      </p:cxnSp>
      <p:sp>
        <p:nvSpPr>
          <p:cNvPr id="215" name="Google Shape;215;p33"/>
          <p:cNvSpPr txBox="1"/>
          <p:nvPr/>
        </p:nvSpPr>
        <p:spPr>
          <a:xfrm>
            <a:off x="189867" y="845067"/>
            <a:ext cx="2973600" cy="5087600"/>
          </a:xfrm>
          <a:prstGeom prst="rect">
            <a:avLst/>
          </a:prstGeom>
          <a:noFill/>
          <a:ln>
            <a:noFill/>
          </a:ln>
        </p:spPr>
        <p:txBody>
          <a:bodyPr spcFirstLastPara="1" wrap="square" lIns="121900" tIns="121900" rIns="121900" bIns="121900" anchor="t" anchorCtr="0">
            <a:noAutofit/>
          </a:bodyPr>
          <a:lstStyle/>
          <a:p>
            <a:pPr defTabSz="1219170">
              <a:lnSpc>
                <a:spcPct val="115000"/>
              </a:lnSpc>
              <a:spcBef>
                <a:spcPts val="1600"/>
              </a:spcBef>
              <a:spcAft>
                <a:spcPts val="1600"/>
              </a:spcAft>
              <a:buClr>
                <a:srgbClr val="000000"/>
              </a:buClr>
            </a:pPr>
            <a:r>
              <a:rPr lang="en" sz="1067" kern="0">
                <a:solidFill>
                  <a:srgbClr val="000000"/>
                </a:solidFill>
                <a:latin typeface="Roboto"/>
                <a:ea typeface="Roboto"/>
                <a:cs typeface="Roboto"/>
                <a:sym typeface="Roboto"/>
              </a:rPr>
              <a:t>At CDW Education, we know schools cannot achieve their educational goals with classrooms absent of technology. We also know learning outcomes are enhanced when technology is aligned and integrated with pedagogical goals. Over the last decade, the way students learn and collaborate has drastically changed. With educated and passionate school leaders, technology can better prepare students to quickly adapt new skills for the complex and evolving needs of the future. In response to the increasing complexities that schools face scaling digital learning, we’ve built a K-12 customer-focused Education Strategy Impact team. Comprised of a diverse group of educators who understand the unique needs of our customers and partner with administrators, IT teams and instructional leaders, we work to ensure everyone understands the benefits, challenges and impact technology can have in the classroom.</a:t>
            </a:r>
            <a:endParaRPr sz="1067" kern="0">
              <a:solidFill>
                <a:srgbClr val="000000"/>
              </a:solidFill>
              <a:latin typeface="Roboto"/>
              <a:ea typeface="Roboto"/>
              <a:cs typeface="Roboto"/>
              <a:sym typeface="Roboto"/>
            </a:endParaRPr>
          </a:p>
        </p:txBody>
      </p:sp>
      <p:sp>
        <p:nvSpPr>
          <p:cNvPr id="216" name="Google Shape;216;p33"/>
          <p:cNvSpPr/>
          <p:nvPr/>
        </p:nvSpPr>
        <p:spPr>
          <a:xfrm>
            <a:off x="0" y="6142500"/>
            <a:ext cx="2019200" cy="571600"/>
          </a:xfrm>
          <a:prstGeom prst="rect">
            <a:avLst/>
          </a:prstGeom>
          <a:solidFill>
            <a:srgbClr val="CC0000"/>
          </a:solidFill>
          <a:ln>
            <a:noFill/>
          </a:ln>
        </p:spPr>
        <p:txBody>
          <a:bodyPr spcFirstLastPara="1" wrap="square" lIns="121900" tIns="121900" rIns="121900" bIns="121900" anchor="ctr" anchorCtr="0">
            <a:noAutofit/>
          </a:bodyPr>
          <a:lstStyle/>
          <a:p>
            <a:pPr algn="r" defTabSz="1219170">
              <a:buClr>
                <a:srgbClr val="000000"/>
              </a:buClr>
              <a:buSzPts val="1400"/>
            </a:pPr>
            <a:endParaRPr sz="1867" b="1" kern="0">
              <a:solidFill>
                <a:srgbClr val="CC0000"/>
              </a:solidFill>
              <a:latin typeface="Verdana"/>
              <a:ea typeface="Verdana"/>
              <a:cs typeface="Verdana"/>
              <a:sym typeface="Verdana"/>
            </a:endParaRPr>
          </a:p>
        </p:txBody>
      </p:sp>
      <p:pic>
        <p:nvPicPr>
          <p:cNvPr id="217" name="Google Shape;217;p33"/>
          <p:cNvPicPr preferRelativeResize="0"/>
          <p:nvPr/>
        </p:nvPicPr>
        <p:blipFill>
          <a:blip r:embed="rId10">
            <a:alphaModFix/>
          </a:blip>
          <a:stretch>
            <a:fillRect/>
          </a:stretch>
        </p:blipFill>
        <p:spPr>
          <a:xfrm>
            <a:off x="-39319" y="6060595"/>
            <a:ext cx="1952000" cy="728571"/>
          </a:xfrm>
          <a:prstGeom prst="rect">
            <a:avLst/>
          </a:prstGeom>
          <a:noFill/>
          <a:ln>
            <a:noFill/>
          </a:ln>
        </p:spPr>
      </p:pic>
      <p:pic>
        <p:nvPicPr>
          <p:cNvPr id="218" name="Google Shape;218;p33"/>
          <p:cNvPicPr preferRelativeResize="0"/>
          <p:nvPr/>
        </p:nvPicPr>
        <p:blipFill rotWithShape="1">
          <a:blip r:embed="rId11">
            <a:alphaModFix/>
          </a:blip>
          <a:srcRect l="6568" b="8975"/>
          <a:stretch/>
        </p:blipFill>
        <p:spPr>
          <a:xfrm>
            <a:off x="11066867" y="5424068"/>
            <a:ext cx="1011936" cy="1171117"/>
          </a:xfrm>
          <a:prstGeom prst="rect">
            <a:avLst/>
          </a:prstGeom>
          <a:noFill/>
          <a:ln>
            <a:noFill/>
          </a:ln>
        </p:spPr>
      </p:pic>
      <p:sp>
        <p:nvSpPr>
          <p:cNvPr id="219" name="Google Shape;219;p33"/>
          <p:cNvSpPr txBox="1"/>
          <p:nvPr/>
        </p:nvSpPr>
        <p:spPr>
          <a:xfrm>
            <a:off x="7738200" y="5379823"/>
            <a:ext cx="4000000" cy="458547"/>
          </a:xfrm>
          <a:prstGeom prst="rect">
            <a:avLst/>
          </a:prstGeom>
          <a:noFill/>
          <a:ln>
            <a:noFill/>
          </a:ln>
        </p:spPr>
        <p:txBody>
          <a:bodyPr spcFirstLastPara="1" wrap="square" lIns="121900" tIns="121900" rIns="121900" bIns="121900" anchor="t" anchorCtr="0">
            <a:spAutoFit/>
          </a:bodyPr>
          <a:lstStyle/>
          <a:p>
            <a:pPr defTabSz="1219170">
              <a:lnSpc>
                <a:spcPct val="115000"/>
              </a:lnSpc>
              <a:buClr>
                <a:srgbClr val="000000"/>
              </a:buClr>
            </a:pPr>
            <a:r>
              <a:rPr lang="en" sz="1200" b="1" kern="0">
                <a:solidFill>
                  <a:srgbClr val="000000"/>
                </a:solidFill>
                <a:latin typeface="Verdana"/>
                <a:ea typeface="Verdana"/>
                <a:cs typeface="Verdana"/>
                <a:sym typeface="Verdana"/>
              </a:rPr>
              <a:t>BRYAN KRAUSE, M.Ed</a:t>
            </a:r>
            <a:endParaRPr sz="1333" b="1" kern="0">
              <a:solidFill>
                <a:srgbClr val="000000"/>
              </a:solidFill>
              <a:latin typeface="Verdana"/>
              <a:ea typeface="Verdana"/>
              <a:cs typeface="Verdana"/>
              <a:sym typeface="Verdana"/>
            </a:endParaRPr>
          </a:p>
        </p:txBody>
      </p:sp>
      <p:sp>
        <p:nvSpPr>
          <p:cNvPr id="220" name="Google Shape;220;p33"/>
          <p:cNvSpPr txBox="1"/>
          <p:nvPr/>
        </p:nvSpPr>
        <p:spPr>
          <a:xfrm>
            <a:off x="7680020" y="5604897"/>
            <a:ext cx="3543600" cy="1150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Roboto"/>
                <a:ea typeface="Roboto"/>
                <a:cs typeface="Roboto"/>
                <a:sym typeface="Roboto"/>
              </a:rPr>
              <a:t>Bryan is a former Area Assistant Superintendent and Career and Technical Education Director with 30 years of leadership and professional development experience.  He works closely with school districts on implementing best practices across a variety  of platforms.   He is passionate about the use of technology to improve learning with coding, robotics, and the inclusion of special populations.   </a:t>
            </a: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a:p>
            <a:pPr defTabSz="1219170">
              <a:buClr>
                <a:srgbClr val="000000"/>
              </a:buClr>
            </a:pPr>
            <a:endParaRPr sz="933" kern="0">
              <a:solidFill>
                <a:srgbClr val="000000"/>
              </a:solidFill>
              <a:latin typeface="Roboto"/>
              <a:ea typeface="Roboto"/>
              <a:cs typeface="Roboto"/>
              <a:sym typeface="Roboto"/>
            </a:endParaRPr>
          </a:p>
        </p:txBody>
      </p:sp>
      <p:pic>
        <p:nvPicPr>
          <p:cNvPr id="221" name="Google Shape;221;p33"/>
          <p:cNvPicPr preferRelativeResize="0"/>
          <p:nvPr/>
        </p:nvPicPr>
        <p:blipFill rotWithShape="1">
          <a:blip r:embed="rId12">
            <a:alphaModFix/>
          </a:blip>
          <a:srcRect b="-34898"/>
          <a:stretch/>
        </p:blipFill>
        <p:spPr>
          <a:xfrm>
            <a:off x="3353500" y="5424067"/>
            <a:ext cx="1011933" cy="1365100"/>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226" name="Google Shape;226;p34"/>
          <p:cNvPicPr preferRelativeResize="0"/>
          <p:nvPr/>
        </p:nvPicPr>
        <p:blipFill>
          <a:blip r:embed="rId3">
            <a:alphaModFix/>
          </a:blip>
          <a:stretch>
            <a:fillRect/>
          </a:stretch>
        </p:blipFill>
        <p:spPr>
          <a:xfrm>
            <a:off x="152281" y="6129428"/>
            <a:ext cx="1952000" cy="728571"/>
          </a:xfrm>
          <a:prstGeom prst="rect">
            <a:avLst/>
          </a:prstGeom>
          <a:noFill/>
          <a:ln>
            <a:noFill/>
          </a:ln>
        </p:spPr>
      </p:pic>
      <p:sp>
        <p:nvSpPr>
          <p:cNvPr id="227" name="Google Shape;227;p34"/>
          <p:cNvSpPr/>
          <p:nvPr/>
        </p:nvSpPr>
        <p:spPr>
          <a:xfrm>
            <a:off x="0" y="-16367"/>
            <a:ext cx="3344000" cy="6201600"/>
          </a:xfrm>
          <a:prstGeom prst="rect">
            <a:avLst/>
          </a:prstGeom>
          <a:solidFill>
            <a:srgbClr val="EFEFEF"/>
          </a:solidFill>
          <a:ln>
            <a:noFill/>
          </a:ln>
        </p:spPr>
        <p:txBody>
          <a:bodyPr spcFirstLastPara="1" wrap="square" lIns="365733" tIns="121900" rIns="365733" bIns="121900" anchor="ctr" anchorCtr="0">
            <a:noAutofit/>
          </a:bodyPr>
          <a:lstStyle/>
          <a:p>
            <a:pPr algn="just" defTabSz="1219170">
              <a:lnSpc>
                <a:spcPct val="115000"/>
              </a:lnSpc>
              <a:spcBef>
                <a:spcPts val="1600"/>
              </a:spcBef>
              <a:spcAft>
                <a:spcPts val="1600"/>
              </a:spcAft>
              <a:buClr>
                <a:srgbClr val="000000"/>
              </a:buClr>
            </a:pPr>
            <a:endParaRPr sz="933" kern="0">
              <a:solidFill>
                <a:srgbClr val="000000"/>
              </a:solidFill>
              <a:latin typeface="Roboto"/>
              <a:ea typeface="Roboto"/>
              <a:cs typeface="Roboto"/>
              <a:sym typeface="Roboto"/>
            </a:endParaRPr>
          </a:p>
        </p:txBody>
      </p:sp>
      <p:sp>
        <p:nvSpPr>
          <p:cNvPr id="228" name="Google Shape;228;p34"/>
          <p:cNvSpPr/>
          <p:nvPr/>
        </p:nvSpPr>
        <p:spPr>
          <a:xfrm>
            <a:off x="6500820" y="4082137"/>
            <a:ext cx="1048400" cy="553600"/>
          </a:xfrm>
          <a:custGeom>
            <a:avLst/>
            <a:gdLst/>
            <a:ahLst/>
            <a:cxnLst/>
            <a:rect l="l" t="t" r="r" b="b"/>
            <a:pathLst>
              <a:path w="120000" h="120000" extrusionOk="0">
                <a:moveTo>
                  <a:pt x="54" y="0"/>
                </a:moveTo>
                <a:lnTo>
                  <a:pt x="13769" y="720"/>
                </a:lnTo>
                <a:lnTo>
                  <a:pt x="37442" y="3601"/>
                </a:lnTo>
                <a:lnTo>
                  <a:pt x="89796" y="6380"/>
                </a:lnTo>
                <a:lnTo>
                  <a:pt x="116898" y="5454"/>
                </a:lnTo>
                <a:lnTo>
                  <a:pt x="116844" y="21303"/>
                </a:lnTo>
                <a:lnTo>
                  <a:pt x="117769" y="33345"/>
                </a:lnTo>
                <a:lnTo>
                  <a:pt x="118803" y="37050"/>
                </a:lnTo>
                <a:lnTo>
                  <a:pt x="118857" y="47959"/>
                </a:lnTo>
                <a:lnTo>
                  <a:pt x="120000" y="53208"/>
                </a:lnTo>
                <a:lnTo>
                  <a:pt x="119837" y="120000"/>
                </a:lnTo>
                <a:lnTo>
                  <a:pt x="118095" y="117736"/>
                </a:lnTo>
                <a:lnTo>
                  <a:pt x="116299" y="115883"/>
                </a:lnTo>
                <a:lnTo>
                  <a:pt x="114504" y="116090"/>
                </a:lnTo>
                <a:lnTo>
                  <a:pt x="112327" y="113722"/>
                </a:lnTo>
                <a:lnTo>
                  <a:pt x="110803" y="109091"/>
                </a:lnTo>
                <a:lnTo>
                  <a:pt x="108898" y="108062"/>
                </a:lnTo>
                <a:lnTo>
                  <a:pt x="108191" y="111252"/>
                </a:lnTo>
                <a:lnTo>
                  <a:pt x="105143" y="111252"/>
                </a:lnTo>
                <a:lnTo>
                  <a:pt x="103945" y="108371"/>
                </a:lnTo>
                <a:lnTo>
                  <a:pt x="102041" y="111046"/>
                </a:lnTo>
                <a:lnTo>
                  <a:pt x="96054" y="111458"/>
                </a:lnTo>
                <a:lnTo>
                  <a:pt x="94857" y="115781"/>
                </a:lnTo>
                <a:lnTo>
                  <a:pt x="92843" y="115781"/>
                </a:lnTo>
                <a:lnTo>
                  <a:pt x="90884" y="114648"/>
                </a:lnTo>
                <a:lnTo>
                  <a:pt x="88707" y="112281"/>
                </a:lnTo>
                <a:lnTo>
                  <a:pt x="85877" y="112281"/>
                </a:lnTo>
                <a:lnTo>
                  <a:pt x="84245" y="107547"/>
                </a:lnTo>
                <a:lnTo>
                  <a:pt x="82014" y="115986"/>
                </a:lnTo>
                <a:lnTo>
                  <a:pt x="80163" y="115986"/>
                </a:lnTo>
                <a:lnTo>
                  <a:pt x="76572" y="112487"/>
                </a:lnTo>
                <a:lnTo>
                  <a:pt x="76245" y="109811"/>
                </a:lnTo>
                <a:lnTo>
                  <a:pt x="74503" y="109811"/>
                </a:lnTo>
                <a:lnTo>
                  <a:pt x="73089" y="107650"/>
                </a:lnTo>
                <a:lnTo>
                  <a:pt x="71401" y="111355"/>
                </a:lnTo>
                <a:lnTo>
                  <a:pt x="69388" y="110841"/>
                </a:lnTo>
                <a:lnTo>
                  <a:pt x="69497" y="106929"/>
                </a:lnTo>
                <a:lnTo>
                  <a:pt x="67156" y="106106"/>
                </a:lnTo>
                <a:lnTo>
                  <a:pt x="67156" y="102505"/>
                </a:lnTo>
                <a:lnTo>
                  <a:pt x="64707" y="102196"/>
                </a:lnTo>
                <a:lnTo>
                  <a:pt x="63456" y="100652"/>
                </a:lnTo>
                <a:lnTo>
                  <a:pt x="62149" y="103842"/>
                </a:lnTo>
                <a:lnTo>
                  <a:pt x="60299" y="101475"/>
                </a:lnTo>
                <a:lnTo>
                  <a:pt x="56980" y="101270"/>
                </a:lnTo>
                <a:lnTo>
                  <a:pt x="54585" y="98182"/>
                </a:lnTo>
                <a:lnTo>
                  <a:pt x="51810" y="97873"/>
                </a:lnTo>
                <a:lnTo>
                  <a:pt x="51320" y="94991"/>
                </a:lnTo>
                <a:lnTo>
                  <a:pt x="51265" y="91698"/>
                </a:lnTo>
                <a:lnTo>
                  <a:pt x="49524" y="90669"/>
                </a:lnTo>
                <a:lnTo>
                  <a:pt x="48327" y="92418"/>
                </a:lnTo>
                <a:lnTo>
                  <a:pt x="46639" y="90155"/>
                </a:lnTo>
                <a:lnTo>
                  <a:pt x="45986" y="92625"/>
                </a:lnTo>
                <a:lnTo>
                  <a:pt x="44462" y="92418"/>
                </a:lnTo>
                <a:lnTo>
                  <a:pt x="42993" y="89434"/>
                </a:lnTo>
                <a:lnTo>
                  <a:pt x="40490" y="85626"/>
                </a:lnTo>
                <a:lnTo>
                  <a:pt x="40109" y="80994"/>
                </a:lnTo>
                <a:lnTo>
                  <a:pt x="41742" y="20583"/>
                </a:lnTo>
                <a:lnTo>
                  <a:pt x="25415" y="19656"/>
                </a:lnTo>
                <a:lnTo>
                  <a:pt x="0" y="16363"/>
                </a:lnTo>
                <a:close/>
              </a:path>
            </a:pathLst>
          </a:custGeom>
          <a:solidFill>
            <a:srgbClr val="E06666"/>
          </a:solidFill>
          <a:ln w="9525" cap="flat" cmpd="sng">
            <a:solidFill>
              <a:srgbClr val="FFFFFF"/>
            </a:solidFill>
            <a:prstDash val="solid"/>
            <a:round/>
            <a:headEnd type="none" w="sm" len="sm"/>
            <a:tailEnd type="none" w="sm" len="sm"/>
          </a:ln>
        </p:spPr>
      </p:sp>
      <p:sp>
        <p:nvSpPr>
          <p:cNvPr id="229" name="Google Shape;229;p34"/>
          <p:cNvSpPr/>
          <p:nvPr/>
        </p:nvSpPr>
        <p:spPr>
          <a:xfrm>
            <a:off x="5973613" y="4157763"/>
            <a:ext cx="1701600" cy="1671200"/>
          </a:xfrm>
          <a:custGeom>
            <a:avLst/>
            <a:gdLst/>
            <a:ahLst/>
            <a:cxnLst/>
            <a:rect l="l" t="t" r="r" b="b"/>
            <a:pathLst>
              <a:path w="120000" h="120000" extrusionOk="0">
                <a:moveTo>
                  <a:pt x="36268" y="546"/>
                </a:moveTo>
                <a:lnTo>
                  <a:pt x="37207" y="0"/>
                </a:lnTo>
                <a:lnTo>
                  <a:pt x="53162" y="1092"/>
                </a:lnTo>
                <a:lnTo>
                  <a:pt x="62883" y="1365"/>
                </a:lnTo>
                <a:lnTo>
                  <a:pt x="62481" y="8737"/>
                </a:lnTo>
                <a:lnTo>
                  <a:pt x="62213" y="14539"/>
                </a:lnTo>
                <a:lnTo>
                  <a:pt x="62079" y="18157"/>
                </a:lnTo>
                <a:lnTo>
                  <a:pt x="61877" y="21501"/>
                </a:lnTo>
                <a:lnTo>
                  <a:pt x="62078" y="23002"/>
                </a:lnTo>
                <a:lnTo>
                  <a:pt x="62749" y="23550"/>
                </a:lnTo>
                <a:lnTo>
                  <a:pt x="63620" y="24232"/>
                </a:lnTo>
                <a:lnTo>
                  <a:pt x="64492" y="25189"/>
                </a:lnTo>
                <a:lnTo>
                  <a:pt x="65497" y="25255"/>
                </a:lnTo>
                <a:lnTo>
                  <a:pt x="65899" y="24437"/>
                </a:lnTo>
                <a:lnTo>
                  <a:pt x="66905" y="25255"/>
                </a:lnTo>
                <a:lnTo>
                  <a:pt x="67642" y="24640"/>
                </a:lnTo>
                <a:lnTo>
                  <a:pt x="68715" y="24913"/>
                </a:lnTo>
                <a:lnTo>
                  <a:pt x="68782" y="26007"/>
                </a:lnTo>
                <a:lnTo>
                  <a:pt x="69050" y="27030"/>
                </a:lnTo>
                <a:lnTo>
                  <a:pt x="70793" y="27099"/>
                </a:lnTo>
                <a:lnTo>
                  <a:pt x="72201" y="28121"/>
                </a:lnTo>
                <a:lnTo>
                  <a:pt x="74279" y="28191"/>
                </a:lnTo>
                <a:lnTo>
                  <a:pt x="75486" y="29010"/>
                </a:lnTo>
                <a:lnTo>
                  <a:pt x="76223" y="27917"/>
                </a:lnTo>
                <a:lnTo>
                  <a:pt x="77028" y="28464"/>
                </a:lnTo>
                <a:lnTo>
                  <a:pt x="78503" y="28532"/>
                </a:lnTo>
                <a:lnTo>
                  <a:pt x="78503" y="29760"/>
                </a:lnTo>
                <a:lnTo>
                  <a:pt x="79977" y="29965"/>
                </a:lnTo>
                <a:lnTo>
                  <a:pt x="79911" y="31330"/>
                </a:lnTo>
                <a:lnTo>
                  <a:pt x="81184" y="31468"/>
                </a:lnTo>
                <a:lnTo>
                  <a:pt x="82123" y="30237"/>
                </a:lnTo>
                <a:lnTo>
                  <a:pt x="82994" y="30989"/>
                </a:lnTo>
                <a:lnTo>
                  <a:pt x="84134" y="30989"/>
                </a:lnTo>
                <a:lnTo>
                  <a:pt x="84335" y="31876"/>
                </a:lnTo>
                <a:lnTo>
                  <a:pt x="86480" y="33037"/>
                </a:lnTo>
                <a:lnTo>
                  <a:pt x="87687" y="33037"/>
                </a:lnTo>
                <a:lnTo>
                  <a:pt x="89028" y="30171"/>
                </a:lnTo>
                <a:lnTo>
                  <a:pt x="90033" y="31809"/>
                </a:lnTo>
                <a:lnTo>
                  <a:pt x="91844" y="31809"/>
                </a:lnTo>
                <a:lnTo>
                  <a:pt x="93117" y="32560"/>
                </a:lnTo>
                <a:lnTo>
                  <a:pt x="94324" y="32968"/>
                </a:lnTo>
                <a:lnTo>
                  <a:pt x="95598" y="32968"/>
                </a:lnTo>
                <a:lnTo>
                  <a:pt x="96268" y="31534"/>
                </a:lnTo>
                <a:lnTo>
                  <a:pt x="97743" y="31468"/>
                </a:lnTo>
                <a:lnTo>
                  <a:pt x="100022" y="31398"/>
                </a:lnTo>
                <a:lnTo>
                  <a:pt x="101162" y="30443"/>
                </a:lnTo>
                <a:lnTo>
                  <a:pt x="101899" y="31468"/>
                </a:lnTo>
                <a:lnTo>
                  <a:pt x="103777" y="31468"/>
                </a:lnTo>
                <a:lnTo>
                  <a:pt x="104179" y="30375"/>
                </a:lnTo>
                <a:lnTo>
                  <a:pt x="105385" y="30716"/>
                </a:lnTo>
                <a:lnTo>
                  <a:pt x="106391" y="32286"/>
                </a:lnTo>
                <a:lnTo>
                  <a:pt x="107665" y="33037"/>
                </a:lnTo>
                <a:lnTo>
                  <a:pt x="108804" y="33037"/>
                </a:lnTo>
                <a:lnTo>
                  <a:pt x="110011" y="33653"/>
                </a:lnTo>
                <a:lnTo>
                  <a:pt x="111821" y="34948"/>
                </a:lnTo>
                <a:lnTo>
                  <a:pt x="113229" y="34471"/>
                </a:lnTo>
                <a:lnTo>
                  <a:pt x="114771" y="34606"/>
                </a:lnTo>
                <a:lnTo>
                  <a:pt x="115106" y="35427"/>
                </a:lnTo>
                <a:lnTo>
                  <a:pt x="115039" y="41842"/>
                </a:lnTo>
                <a:lnTo>
                  <a:pt x="115508" y="52011"/>
                </a:lnTo>
                <a:lnTo>
                  <a:pt x="117117" y="53922"/>
                </a:lnTo>
                <a:lnTo>
                  <a:pt x="117385" y="56379"/>
                </a:lnTo>
                <a:lnTo>
                  <a:pt x="118793" y="58427"/>
                </a:lnTo>
                <a:lnTo>
                  <a:pt x="119598" y="59315"/>
                </a:lnTo>
                <a:lnTo>
                  <a:pt x="119665" y="61089"/>
                </a:lnTo>
                <a:lnTo>
                  <a:pt x="120000" y="65185"/>
                </a:lnTo>
                <a:lnTo>
                  <a:pt x="118458" y="68324"/>
                </a:lnTo>
                <a:lnTo>
                  <a:pt x="118994" y="69281"/>
                </a:lnTo>
                <a:lnTo>
                  <a:pt x="118592" y="74261"/>
                </a:lnTo>
                <a:lnTo>
                  <a:pt x="117721" y="75423"/>
                </a:lnTo>
                <a:lnTo>
                  <a:pt x="117788" y="77675"/>
                </a:lnTo>
                <a:lnTo>
                  <a:pt x="116179" y="77675"/>
                </a:lnTo>
                <a:lnTo>
                  <a:pt x="109609" y="80681"/>
                </a:lnTo>
                <a:lnTo>
                  <a:pt x="109743" y="81773"/>
                </a:lnTo>
                <a:lnTo>
                  <a:pt x="107329" y="83206"/>
                </a:lnTo>
                <a:lnTo>
                  <a:pt x="105720" y="84434"/>
                </a:lnTo>
                <a:lnTo>
                  <a:pt x="103307" y="86684"/>
                </a:lnTo>
                <a:lnTo>
                  <a:pt x="97877" y="89756"/>
                </a:lnTo>
                <a:lnTo>
                  <a:pt x="95330" y="90918"/>
                </a:lnTo>
                <a:lnTo>
                  <a:pt x="92648" y="93238"/>
                </a:lnTo>
                <a:lnTo>
                  <a:pt x="89631" y="95151"/>
                </a:lnTo>
                <a:lnTo>
                  <a:pt x="88961" y="96311"/>
                </a:lnTo>
                <a:lnTo>
                  <a:pt x="87151" y="98085"/>
                </a:lnTo>
                <a:lnTo>
                  <a:pt x="86547" y="99450"/>
                </a:lnTo>
                <a:lnTo>
                  <a:pt x="84938" y="102316"/>
                </a:lnTo>
                <a:lnTo>
                  <a:pt x="83732" y="104568"/>
                </a:lnTo>
                <a:lnTo>
                  <a:pt x="82794" y="109077"/>
                </a:lnTo>
                <a:lnTo>
                  <a:pt x="83464" y="112080"/>
                </a:lnTo>
                <a:lnTo>
                  <a:pt x="84537" y="117131"/>
                </a:lnTo>
                <a:lnTo>
                  <a:pt x="85475" y="118292"/>
                </a:lnTo>
                <a:lnTo>
                  <a:pt x="83598" y="120000"/>
                </a:lnTo>
                <a:lnTo>
                  <a:pt x="82123" y="119043"/>
                </a:lnTo>
                <a:lnTo>
                  <a:pt x="80984" y="117677"/>
                </a:lnTo>
                <a:lnTo>
                  <a:pt x="79509" y="117405"/>
                </a:lnTo>
                <a:lnTo>
                  <a:pt x="77297" y="117677"/>
                </a:lnTo>
                <a:lnTo>
                  <a:pt x="74682" y="116927"/>
                </a:lnTo>
                <a:lnTo>
                  <a:pt x="73945" y="115696"/>
                </a:lnTo>
                <a:lnTo>
                  <a:pt x="71933" y="115083"/>
                </a:lnTo>
                <a:lnTo>
                  <a:pt x="70392" y="114536"/>
                </a:lnTo>
                <a:lnTo>
                  <a:pt x="66906" y="113102"/>
                </a:lnTo>
                <a:lnTo>
                  <a:pt x="66302" y="111190"/>
                </a:lnTo>
                <a:lnTo>
                  <a:pt x="65765" y="108459"/>
                </a:lnTo>
                <a:lnTo>
                  <a:pt x="64760" y="107504"/>
                </a:lnTo>
                <a:lnTo>
                  <a:pt x="63888" y="106207"/>
                </a:lnTo>
                <a:lnTo>
                  <a:pt x="64290" y="104637"/>
                </a:lnTo>
                <a:lnTo>
                  <a:pt x="63285" y="103272"/>
                </a:lnTo>
                <a:lnTo>
                  <a:pt x="64022" y="101498"/>
                </a:lnTo>
                <a:lnTo>
                  <a:pt x="63553" y="99996"/>
                </a:lnTo>
                <a:lnTo>
                  <a:pt x="62011" y="99654"/>
                </a:lnTo>
                <a:lnTo>
                  <a:pt x="60134" y="97675"/>
                </a:lnTo>
                <a:lnTo>
                  <a:pt x="58123" y="93649"/>
                </a:lnTo>
                <a:lnTo>
                  <a:pt x="56782" y="92966"/>
                </a:lnTo>
                <a:lnTo>
                  <a:pt x="55911" y="91463"/>
                </a:lnTo>
                <a:lnTo>
                  <a:pt x="53564" y="85116"/>
                </a:lnTo>
                <a:lnTo>
                  <a:pt x="53296" y="83137"/>
                </a:lnTo>
                <a:lnTo>
                  <a:pt x="48670" y="78019"/>
                </a:lnTo>
                <a:lnTo>
                  <a:pt x="46525" y="75423"/>
                </a:lnTo>
                <a:lnTo>
                  <a:pt x="42972" y="75082"/>
                </a:lnTo>
                <a:lnTo>
                  <a:pt x="39888" y="74672"/>
                </a:lnTo>
                <a:lnTo>
                  <a:pt x="38078" y="73512"/>
                </a:lnTo>
                <a:lnTo>
                  <a:pt x="36335" y="74467"/>
                </a:lnTo>
                <a:lnTo>
                  <a:pt x="34324" y="75286"/>
                </a:lnTo>
                <a:lnTo>
                  <a:pt x="33184" y="77266"/>
                </a:lnTo>
                <a:lnTo>
                  <a:pt x="32447" y="79245"/>
                </a:lnTo>
                <a:lnTo>
                  <a:pt x="31106" y="81293"/>
                </a:lnTo>
                <a:lnTo>
                  <a:pt x="29296" y="83342"/>
                </a:lnTo>
                <a:lnTo>
                  <a:pt x="26816" y="81977"/>
                </a:lnTo>
                <a:lnTo>
                  <a:pt x="24402" y="80681"/>
                </a:lnTo>
                <a:lnTo>
                  <a:pt x="23799" y="79383"/>
                </a:lnTo>
                <a:lnTo>
                  <a:pt x="21855" y="78906"/>
                </a:lnTo>
                <a:lnTo>
                  <a:pt x="16961" y="74126"/>
                </a:lnTo>
                <a:lnTo>
                  <a:pt x="16022" y="71534"/>
                </a:lnTo>
                <a:lnTo>
                  <a:pt x="16089" y="67711"/>
                </a:lnTo>
                <a:lnTo>
                  <a:pt x="14413" y="64162"/>
                </a:lnTo>
                <a:lnTo>
                  <a:pt x="12872" y="61840"/>
                </a:lnTo>
                <a:lnTo>
                  <a:pt x="10458" y="60679"/>
                </a:lnTo>
                <a:lnTo>
                  <a:pt x="7911" y="57744"/>
                </a:lnTo>
                <a:lnTo>
                  <a:pt x="5028" y="53719"/>
                </a:lnTo>
                <a:lnTo>
                  <a:pt x="3419" y="53103"/>
                </a:lnTo>
                <a:lnTo>
                  <a:pt x="3017" y="51467"/>
                </a:lnTo>
                <a:lnTo>
                  <a:pt x="2011" y="50033"/>
                </a:lnTo>
                <a:lnTo>
                  <a:pt x="871" y="49281"/>
                </a:lnTo>
                <a:lnTo>
                  <a:pt x="134" y="48463"/>
                </a:lnTo>
                <a:lnTo>
                  <a:pt x="0" y="47439"/>
                </a:lnTo>
                <a:lnTo>
                  <a:pt x="670" y="46825"/>
                </a:lnTo>
                <a:lnTo>
                  <a:pt x="2413" y="46757"/>
                </a:lnTo>
                <a:lnTo>
                  <a:pt x="15084" y="48325"/>
                </a:lnTo>
                <a:lnTo>
                  <a:pt x="32514" y="49486"/>
                </a:lnTo>
                <a:lnTo>
                  <a:pt x="32983" y="48804"/>
                </a:lnTo>
                <a:lnTo>
                  <a:pt x="33385" y="39316"/>
                </a:lnTo>
                <a:lnTo>
                  <a:pt x="34994" y="24232"/>
                </a:lnTo>
                <a:close/>
              </a:path>
            </a:pathLst>
          </a:custGeom>
          <a:solidFill>
            <a:srgbClr val="E53935"/>
          </a:solidFill>
          <a:ln w="9525" cap="flat" cmpd="sng">
            <a:solidFill>
              <a:srgbClr val="FFFFFF"/>
            </a:solidFill>
            <a:prstDash val="solid"/>
            <a:round/>
            <a:headEnd type="none" w="sm" len="sm"/>
            <a:tailEnd type="none" w="sm" len="sm"/>
          </a:ln>
        </p:spPr>
      </p:sp>
      <p:sp>
        <p:nvSpPr>
          <p:cNvPr id="230" name="Google Shape;230;p34"/>
          <p:cNvSpPr/>
          <p:nvPr/>
        </p:nvSpPr>
        <p:spPr>
          <a:xfrm>
            <a:off x="9766724" y="3684483"/>
            <a:ext cx="67200" cy="154800"/>
          </a:xfrm>
          <a:custGeom>
            <a:avLst/>
            <a:gdLst/>
            <a:ahLst/>
            <a:cxnLst/>
            <a:rect l="l" t="t" r="r" b="b"/>
            <a:pathLst>
              <a:path w="120000" h="120000" extrusionOk="0">
                <a:moveTo>
                  <a:pt x="42251" y="14724"/>
                </a:moveTo>
                <a:lnTo>
                  <a:pt x="72674" y="5152"/>
                </a:lnTo>
                <a:lnTo>
                  <a:pt x="120000" y="0"/>
                </a:lnTo>
                <a:lnTo>
                  <a:pt x="96337" y="19876"/>
                </a:lnTo>
                <a:lnTo>
                  <a:pt x="72674" y="39017"/>
                </a:lnTo>
                <a:lnTo>
                  <a:pt x="72674" y="83190"/>
                </a:lnTo>
                <a:lnTo>
                  <a:pt x="59153" y="100859"/>
                </a:lnTo>
                <a:lnTo>
                  <a:pt x="40565" y="120000"/>
                </a:lnTo>
                <a:lnTo>
                  <a:pt x="15207" y="114110"/>
                </a:lnTo>
                <a:lnTo>
                  <a:pt x="0" y="96441"/>
                </a:lnTo>
                <a:lnTo>
                  <a:pt x="6761" y="69938"/>
                </a:lnTo>
                <a:lnTo>
                  <a:pt x="16902" y="48590"/>
                </a:lnTo>
                <a:lnTo>
                  <a:pt x="40565" y="30921"/>
                </a:lnTo>
                <a:close/>
              </a:path>
            </a:pathLst>
          </a:custGeom>
          <a:solidFill>
            <a:srgbClr val="00517C"/>
          </a:solidFill>
          <a:ln w="9525" cap="flat" cmpd="sng">
            <a:solidFill>
              <a:srgbClr val="FFFFFF"/>
            </a:solidFill>
            <a:prstDash val="solid"/>
            <a:round/>
            <a:headEnd type="none" w="sm" len="sm"/>
            <a:tailEnd type="none" w="sm" len="sm"/>
          </a:ln>
        </p:spPr>
      </p:sp>
      <p:sp>
        <p:nvSpPr>
          <p:cNvPr id="231" name="Google Shape;231;p34"/>
          <p:cNvSpPr/>
          <p:nvPr/>
        </p:nvSpPr>
        <p:spPr>
          <a:xfrm>
            <a:off x="6620619" y="3630028"/>
            <a:ext cx="900400" cy="481200"/>
          </a:xfrm>
          <a:custGeom>
            <a:avLst/>
            <a:gdLst/>
            <a:ahLst/>
            <a:cxnLst/>
            <a:rect l="l" t="t" r="r" b="b"/>
            <a:pathLst>
              <a:path w="120000" h="120000" extrusionOk="0">
                <a:moveTo>
                  <a:pt x="3166" y="0"/>
                </a:moveTo>
                <a:lnTo>
                  <a:pt x="24696" y="948"/>
                </a:lnTo>
                <a:lnTo>
                  <a:pt x="69720" y="3079"/>
                </a:lnTo>
                <a:lnTo>
                  <a:pt x="108284" y="3435"/>
                </a:lnTo>
                <a:lnTo>
                  <a:pt x="108918" y="5449"/>
                </a:lnTo>
                <a:lnTo>
                  <a:pt x="110944" y="7344"/>
                </a:lnTo>
                <a:lnTo>
                  <a:pt x="111577" y="9477"/>
                </a:lnTo>
                <a:lnTo>
                  <a:pt x="114870" y="9477"/>
                </a:lnTo>
                <a:lnTo>
                  <a:pt x="114997" y="14925"/>
                </a:lnTo>
                <a:lnTo>
                  <a:pt x="113097" y="16584"/>
                </a:lnTo>
                <a:lnTo>
                  <a:pt x="112591" y="19427"/>
                </a:lnTo>
                <a:lnTo>
                  <a:pt x="112718" y="24284"/>
                </a:lnTo>
                <a:lnTo>
                  <a:pt x="113477" y="26891"/>
                </a:lnTo>
                <a:lnTo>
                  <a:pt x="115187" y="29970"/>
                </a:lnTo>
                <a:lnTo>
                  <a:pt x="116770" y="33643"/>
                </a:lnTo>
                <a:lnTo>
                  <a:pt x="118037" y="35538"/>
                </a:lnTo>
                <a:lnTo>
                  <a:pt x="119747" y="36248"/>
                </a:lnTo>
                <a:lnTo>
                  <a:pt x="120000" y="118816"/>
                </a:lnTo>
                <a:lnTo>
                  <a:pt x="103536" y="119882"/>
                </a:lnTo>
                <a:lnTo>
                  <a:pt x="87514" y="120000"/>
                </a:lnTo>
                <a:lnTo>
                  <a:pt x="27419" y="116801"/>
                </a:lnTo>
                <a:lnTo>
                  <a:pt x="0" y="113484"/>
                </a:lnTo>
                <a:lnTo>
                  <a:pt x="316" y="91807"/>
                </a:lnTo>
                <a:lnTo>
                  <a:pt x="1457" y="85291"/>
                </a:lnTo>
                <a:lnTo>
                  <a:pt x="1963" y="36248"/>
                </a:lnTo>
                <a:lnTo>
                  <a:pt x="3356" y="31629"/>
                </a:lnTo>
                <a:close/>
              </a:path>
            </a:pathLst>
          </a:custGeom>
          <a:solidFill>
            <a:srgbClr val="E06666"/>
          </a:solidFill>
          <a:ln w="9525" cap="flat" cmpd="sng">
            <a:solidFill>
              <a:srgbClr val="FFFFFF"/>
            </a:solidFill>
            <a:prstDash val="solid"/>
            <a:round/>
            <a:headEnd type="none" w="sm" len="sm"/>
            <a:tailEnd type="none" w="sm" len="sm"/>
          </a:ln>
        </p:spPr>
      </p:sp>
      <p:sp>
        <p:nvSpPr>
          <p:cNvPr id="232" name="Google Shape;232;p34"/>
          <p:cNvSpPr/>
          <p:nvPr/>
        </p:nvSpPr>
        <p:spPr>
          <a:xfrm>
            <a:off x="4180953" y="2254611"/>
            <a:ext cx="981600" cy="815200"/>
          </a:xfrm>
          <a:custGeom>
            <a:avLst/>
            <a:gdLst/>
            <a:ahLst/>
            <a:cxnLst/>
            <a:rect l="l" t="t" r="r" b="b"/>
            <a:pathLst>
              <a:path w="120000" h="120000" extrusionOk="0">
                <a:moveTo>
                  <a:pt x="112267" y="57566"/>
                </a:moveTo>
                <a:lnTo>
                  <a:pt x="112397" y="54726"/>
                </a:lnTo>
                <a:lnTo>
                  <a:pt x="120000" y="43668"/>
                </a:lnTo>
                <a:lnTo>
                  <a:pt x="119862" y="38930"/>
                </a:lnTo>
                <a:lnTo>
                  <a:pt x="116056" y="34493"/>
                </a:lnTo>
                <a:lnTo>
                  <a:pt x="114711" y="31902"/>
                </a:lnTo>
                <a:lnTo>
                  <a:pt x="90585" y="24640"/>
                </a:lnTo>
                <a:lnTo>
                  <a:pt x="79177" y="25584"/>
                </a:lnTo>
                <a:lnTo>
                  <a:pt x="76031" y="24479"/>
                </a:lnTo>
                <a:lnTo>
                  <a:pt x="69736" y="25746"/>
                </a:lnTo>
                <a:lnTo>
                  <a:pt x="68297" y="24169"/>
                </a:lnTo>
                <a:lnTo>
                  <a:pt x="62130" y="24479"/>
                </a:lnTo>
                <a:lnTo>
                  <a:pt x="58196" y="21159"/>
                </a:lnTo>
                <a:lnTo>
                  <a:pt x="54002" y="20687"/>
                </a:lnTo>
                <a:lnTo>
                  <a:pt x="51774" y="19274"/>
                </a:lnTo>
                <a:lnTo>
                  <a:pt x="50067" y="21159"/>
                </a:lnTo>
                <a:lnTo>
                  <a:pt x="44822" y="20524"/>
                </a:lnTo>
                <a:lnTo>
                  <a:pt x="39974" y="16585"/>
                </a:lnTo>
                <a:lnTo>
                  <a:pt x="40756" y="14055"/>
                </a:lnTo>
                <a:lnTo>
                  <a:pt x="40756" y="7577"/>
                </a:lnTo>
                <a:lnTo>
                  <a:pt x="38135" y="3320"/>
                </a:lnTo>
                <a:lnTo>
                  <a:pt x="34857" y="3320"/>
                </a:lnTo>
                <a:lnTo>
                  <a:pt x="34334" y="0"/>
                </a:lnTo>
                <a:lnTo>
                  <a:pt x="32498" y="0"/>
                </a:lnTo>
                <a:lnTo>
                  <a:pt x="31085" y="1010"/>
                </a:lnTo>
                <a:lnTo>
                  <a:pt x="27676" y="1959"/>
                </a:lnTo>
                <a:lnTo>
                  <a:pt x="27019" y="4327"/>
                </a:lnTo>
                <a:lnTo>
                  <a:pt x="25839" y="7803"/>
                </a:lnTo>
                <a:lnTo>
                  <a:pt x="25314" y="10645"/>
                </a:lnTo>
                <a:lnTo>
                  <a:pt x="24395" y="13647"/>
                </a:lnTo>
                <a:lnTo>
                  <a:pt x="23609" y="16332"/>
                </a:lnTo>
                <a:lnTo>
                  <a:pt x="22822" y="19018"/>
                </a:lnTo>
                <a:lnTo>
                  <a:pt x="21380" y="23441"/>
                </a:lnTo>
                <a:lnTo>
                  <a:pt x="19412" y="28179"/>
                </a:lnTo>
                <a:lnTo>
                  <a:pt x="18100" y="32602"/>
                </a:lnTo>
                <a:lnTo>
                  <a:pt x="16658" y="36867"/>
                </a:lnTo>
                <a:lnTo>
                  <a:pt x="15215" y="41290"/>
                </a:lnTo>
                <a:lnTo>
                  <a:pt x="12592" y="48556"/>
                </a:lnTo>
                <a:lnTo>
                  <a:pt x="10493" y="54085"/>
                </a:lnTo>
                <a:lnTo>
                  <a:pt x="8131" y="58665"/>
                </a:lnTo>
                <a:lnTo>
                  <a:pt x="5771" y="62930"/>
                </a:lnTo>
                <a:lnTo>
                  <a:pt x="3279" y="67511"/>
                </a:lnTo>
                <a:lnTo>
                  <a:pt x="1705" y="70381"/>
                </a:lnTo>
                <a:lnTo>
                  <a:pt x="1180" y="77648"/>
                </a:lnTo>
                <a:lnTo>
                  <a:pt x="525" y="82231"/>
                </a:lnTo>
                <a:lnTo>
                  <a:pt x="0" y="86658"/>
                </a:lnTo>
                <a:lnTo>
                  <a:pt x="1049" y="88234"/>
                </a:lnTo>
                <a:lnTo>
                  <a:pt x="2229" y="90292"/>
                </a:lnTo>
                <a:lnTo>
                  <a:pt x="71741" y="113358"/>
                </a:lnTo>
                <a:lnTo>
                  <a:pt x="98102" y="120000"/>
                </a:lnTo>
                <a:lnTo>
                  <a:pt x="105969" y="80970"/>
                </a:lnTo>
                <a:lnTo>
                  <a:pt x="108858" y="73221"/>
                </a:lnTo>
                <a:lnTo>
                  <a:pt x="107806" y="70534"/>
                </a:lnTo>
                <a:lnTo>
                  <a:pt x="105315" y="70527"/>
                </a:lnTo>
                <a:lnTo>
                  <a:pt x="105706" y="68313"/>
                </a:lnTo>
                <a:lnTo>
                  <a:pt x="105841" y="65144"/>
                </a:lnTo>
                <a:lnTo>
                  <a:pt x="106628" y="63723"/>
                </a:lnTo>
                <a:lnTo>
                  <a:pt x="109513" y="59307"/>
                </a:lnTo>
                <a:lnTo>
                  <a:pt x="111349" y="59149"/>
                </a:lnTo>
                <a:close/>
              </a:path>
            </a:pathLst>
          </a:custGeom>
          <a:solidFill>
            <a:srgbClr val="FFCC66"/>
          </a:solidFill>
          <a:ln w="9525" cap="flat" cmpd="sng">
            <a:solidFill>
              <a:srgbClr val="FFFFFF"/>
            </a:solidFill>
            <a:prstDash val="solid"/>
            <a:round/>
            <a:headEnd type="none" w="sm" len="sm"/>
            <a:tailEnd type="none" w="sm" len="sm"/>
          </a:ln>
        </p:spPr>
      </p:sp>
      <p:sp>
        <p:nvSpPr>
          <p:cNvPr id="233" name="Google Shape;233;p34"/>
          <p:cNvSpPr/>
          <p:nvPr/>
        </p:nvSpPr>
        <p:spPr>
          <a:xfrm>
            <a:off x="6427133" y="3145116"/>
            <a:ext cx="1006400" cy="497600"/>
          </a:xfrm>
          <a:custGeom>
            <a:avLst/>
            <a:gdLst/>
            <a:ahLst/>
            <a:cxnLst/>
            <a:rect l="l" t="t" r="r" b="b"/>
            <a:pathLst>
              <a:path w="120000" h="120000" extrusionOk="0">
                <a:moveTo>
                  <a:pt x="2948" y="0"/>
                </a:moveTo>
                <a:lnTo>
                  <a:pt x="77204" y="8015"/>
                </a:lnTo>
                <a:lnTo>
                  <a:pt x="79245" y="12023"/>
                </a:lnTo>
                <a:lnTo>
                  <a:pt x="80718" y="13626"/>
                </a:lnTo>
                <a:lnTo>
                  <a:pt x="83269" y="17175"/>
                </a:lnTo>
                <a:lnTo>
                  <a:pt x="84516" y="17175"/>
                </a:lnTo>
                <a:lnTo>
                  <a:pt x="87010" y="14084"/>
                </a:lnTo>
                <a:lnTo>
                  <a:pt x="90241" y="14427"/>
                </a:lnTo>
                <a:lnTo>
                  <a:pt x="91658" y="13053"/>
                </a:lnTo>
                <a:lnTo>
                  <a:pt x="93132" y="13053"/>
                </a:lnTo>
                <a:lnTo>
                  <a:pt x="95343" y="16259"/>
                </a:lnTo>
                <a:lnTo>
                  <a:pt x="100785" y="20267"/>
                </a:lnTo>
                <a:lnTo>
                  <a:pt x="101068" y="23587"/>
                </a:lnTo>
                <a:lnTo>
                  <a:pt x="102655" y="27367"/>
                </a:lnTo>
                <a:lnTo>
                  <a:pt x="105319" y="27251"/>
                </a:lnTo>
                <a:lnTo>
                  <a:pt x="105432" y="35381"/>
                </a:lnTo>
                <a:lnTo>
                  <a:pt x="106793" y="43397"/>
                </a:lnTo>
                <a:lnTo>
                  <a:pt x="108663" y="51412"/>
                </a:lnTo>
                <a:lnTo>
                  <a:pt x="108833" y="58054"/>
                </a:lnTo>
                <a:lnTo>
                  <a:pt x="111441" y="65382"/>
                </a:lnTo>
                <a:lnTo>
                  <a:pt x="111441" y="75687"/>
                </a:lnTo>
                <a:lnTo>
                  <a:pt x="112575" y="77633"/>
                </a:lnTo>
                <a:lnTo>
                  <a:pt x="112858" y="82901"/>
                </a:lnTo>
                <a:lnTo>
                  <a:pt x="112971" y="94580"/>
                </a:lnTo>
                <a:lnTo>
                  <a:pt x="113651" y="98359"/>
                </a:lnTo>
                <a:lnTo>
                  <a:pt x="115409" y="103397"/>
                </a:lnTo>
                <a:lnTo>
                  <a:pt x="115635" y="107977"/>
                </a:lnTo>
                <a:lnTo>
                  <a:pt x="117733" y="113474"/>
                </a:lnTo>
                <a:lnTo>
                  <a:pt x="120000" y="120000"/>
                </a:lnTo>
                <a:lnTo>
                  <a:pt x="89731" y="120000"/>
                </a:lnTo>
                <a:lnTo>
                  <a:pt x="55891" y="118168"/>
                </a:lnTo>
                <a:lnTo>
                  <a:pt x="25904" y="116794"/>
                </a:lnTo>
                <a:lnTo>
                  <a:pt x="27435" y="77977"/>
                </a:lnTo>
                <a:lnTo>
                  <a:pt x="0" y="73969"/>
                </a:lnTo>
                <a:close/>
              </a:path>
            </a:pathLst>
          </a:custGeom>
          <a:solidFill>
            <a:srgbClr val="E06666"/>
          </a:solidFill>
          <a:ln w="9525" cap="flat" cmpd="sng">
            <a:solidFill>
              <a:srgbClr val="FFFFFF"/>
            </a:solidFill>
            <a:prstDash val="solid"/>
            <a:round/>
            <a:headEnd type="none" w="sm" len="sm"/>
            <a:tailEnd type="none" w="sm" len="sm"/>
          </a:ln>
        </p:spPr>
      </p:sp>
      <p:sp>
        <p:nvSpPr>
          <p:cNvPr id="234" name="Google Shape;234;p34"/>
          <p:cNvSpPr/>
          <p:nvPr/>
        </p:nvSpPr>
        <p:spPr>
          <a:xfrm>
            <a:off x="5770145" y="3391412"/>
            <a:ext cx="886400" cy="693600"/>
          </a:xfrm>
          <a:custGeom>
            <a:avLst/>
            <a:gdLst/>
            <a:ahLst/>
            <a:cxnLst/>
            <a:rect l="l" t="t" r="r" b="b"/>
            <a:pathLst>
              <a:path w="120000" h="120000" extrusionOk="0">
                <a:moveTo>
                  <a:pt x="11447" y="0"/>
                </a:moveTo>
                <a:lnTo>
                  <a:pt x="45788" y="5589"/>
                </a:lnTo>
                <a:lnTo>
                  <a:pt x="89003" y="10521"/>
                </a:lnTo>
                <a:lnTo>
                  <a:pt x="120000" y="13315"/>
                </a:lnTo>
                <a:lnTo>
                  <a:pt x="118199" y="41589"/>
                </a:lnTo>
                <a:lnTo>
                  <a:pt x="118328" y="63288"/>
                </a:lnTo>
                <a:lnTo>
                  <a:pt x="117042" y="66411"/>
                </a:lnTo>
                <a:lnTo>
                  <a:pt x="116528" y="100439"/>
                </a:lnTo>
                <a:lnTo>
                  <a:pt x="115370" y="104877"/>
                </a:lnTo>
                <a:lnTo>
                  <a:pt x="115113" y="120000"/>
                </a:lnTo>
                <a:lnTo>
                  <a:pt x="99164" y="119342"/>
                </a:lnTo>
                <a:lnTo>
                  <a:pt x="65081" y="115562"/>
                </a:lnTo>
                <a:lnTo>
                  <a:pt x="23666" y="109808"/>
                </a:lnTo>
                <a:lnTo>
                  <a:pt x="0" y="105205"/>
                </a:lnTo>
                <a:close/>
              </a:path>
            </a:pathLst>
          </a:custGeom>
          <a:solidFill>
            <a:srgbClr val="FFCC66"/>
          </a:solidFill>
          <a:ln w="9525" cap="flat" cmpd="sng">
            <a:solidFill>
              <a:srgbClr val="FFFFFF"/>
            </a:solidFill>
            <a:prstDash val="solid"/>
            <a:round/>
            <a:headEnd type="none" w="sm" len="sm"/>
            <a:tailEnd type="none" w="sm" len="sm"/>
          </a:ln>
        </p:spPr>
      </p:sp>
      <p:sp>
        <p:nvSpPr>
          <p:cNvPr id="235" name="Google Shape;235;p34"/>
          <p:cNvSpPr/>
          <p:nvPr/>
        </p:nvSpPr>
        <p:spPr>
          <a:xfrm>
            <a:off x="5168312" y="3144083"/>
            <a:ext cx="685200" cy="855200"/>
          </a:xfrm>
          <a:custGeom>
            <a:avLst/>
            <a:gdLst/>
            <a:ahLst/>
            <a:cxnLst/>
            <a:rect l="l" t="t" r="r" b="b"/>
            <a:pathLst>
              <a:path w="120000" h="120000" extrusionOk="0">
                <a:moveTo>
                  <a:pt x="25874" y="0"/>
                </a:moveTo>
                <a:lnTo>
                  <a:pt x="84187" y="7957"/>
                </a:lnTo>
                <a:lnTo>
                  <a:pt x="80061" y="30063"/>
                </a:lnTo>
                <a:lnTo>
                  <a:pt x="90561" y="31266"/>
                </a:lnTo>
                <a:lnTo>
                  <a:pt x="104250" y="32619"/>
                </a:lnTo>
                <a:lnTo>
                  <a:pt x="120000" y="34586"/>
                </a:lnTo>
                <a:lnTo>
                  <a:pt x="105000" y="120000"/>
                </a:lnTo>
                <a:lnTo>
                  <a:pt x="0" y="106467"/>
                </a:lnTo>
                <a:close/>
              </a:path>
            </a:pathLst>
          </a:custGeom>
          <a:solidFill>
            <a:srgbClr val="FFCC66"/>
          </a:solidFill>
          <a:ln w="9525" cap="flat" cmpd="sng">
            <a:solidFill>
              <a:srgbClr val="FFFFFF"/>
            </a:solidFill>
            <a:prstDash val="solid"/>
            <a:round/>
            <a:headEnd type="none" w="sm" len="sm"/>
            <a:tailEnd type="none" w="sm" len="sm"/>
          </a:ln>
        </p:spPr>
      </p:sp>
      <p:sp>
        <p:nvSpPr>
          <p:cNvPr id="236" name="Google Shape;236;p34"/>
          <p:cNvSpPr/>
          <p:nvPr/>
        </p:nvSpPr>
        <p:spPr>
          <a:xfrm>
            <a:off x="5627255" y="2746157"/>
            <a:ext cx="850000" cy="705200"/>
          </a:xfrm>
          <a:custGeom>
            <a:avLst/>
            <a:gdLst/>
            <a:ahLst/>
            <a:cxnLst/>
            <a:rect l="l" t="t" r="r" b="b"/>
            <a:pathLst>
              <a:path w="120000" h="120000" extrusionOk="0">
                <a:moveTo>
                  <a:pt x="13939" y="0"/>
                </a:moveTo>
                <a:lnTo>
                  <a:pt x="21665" y="2188"/>
                </a:lnTo>
                <a:lnTo>
                  <a:pt x="28636" y="2554"/>
                </a:lnTo>
                <a:lnTo>
                  <a:pt x="50909" y="6202"/>
                </a:lnTo>
                <a:lnTo>
                  <a:pt x="55909" y="6747"/>
                </a:lnTo>
                <a:lnTo>
                  <a:pt x="65606" y="7842"/>
                </a:lnTo>
                <a:lnTo>
                  <a:pt x="77878" y="10942"/>
                </a:lnTo>
                <a:lnTo>
                  <a:pt x="98333" y="12219"/>
                </a:lnTo>
                <a:lnTo>
                  <a:pt x="112727" y="14771"/>
                </a:lnTo>
                <a:lnTo>
                  <a:pt x="120000" y="15319"/>
                </a:lnTo>
                <a:lnTo>
                  <a:pt x="113030" y="120000"/>
                </a:lnTo>
                <a:lnTo>
                  <a:pt x="68181" y="115257"/>
                </a:lnTo>
                <a:lnTo>
                  <a:pt x="32121" y="109787"/>
                </a:lnTo>
                <a:lnTo>
                  <a:pt x="0" y="104133"/>
                </a:lnTo>
                <a:close/>
              </a:path>
            </a:pathLst>
          </a:custGeom>
          <a:solidFill>
            <a:srgbClr val="FFCC66"/>
          </a:solidFill>
          <a:ln w="9525" cap="flat" cmpd="sng">
            <a:solidFill>
              <a:srgbClr val="FFFFFF"/>
            </a:solidFill>
            <a:prstDash val="solid"/>
            <a:round/>
            <a:headEnd type="none" w="sm" len="sm"/>
            <a:tailEnd type="none" w="sm" len="sm"/>
          </a:ln>
        </p:spPr>
      </p:sp>
      <p:sp>
        <p:nvSpPr>
          <p:cNvPr id="237" name="Google Shape;237;p34"/>
          <p:cNvSpPr/>
          <p:nvPr/>
        </p:nvSpPr>
        <p:spPr>
          <a:xfrm>
            <a:off x="6496544" y="2229527"/>
            <a:ext cx="797600" cy="497600"/>
          </a:xfrm>
          <a:custGeom>
            <a:avLst/>
            <a:gdLst/>
            <a:ahLst/>
            <a:cxnLst/>
            <a:rect l="l" t="t" r="r" b="b"/>
            <a:pathLst>
              <a:path w="120000" h="120000" extrusionOk="0">
                <a:moveTo>
                  <a:pt x="5435" y="0"/>
                </a:moveTo>
                <a:lnTo>
                  <a:pt x="24171" y="1832"/>
                </a:lnTo>
                <a:lnTo>
                  <a:pt x="45339" y="3894"/>
                </a:lnTo>
                <a:lnTo>
                  <a:pt x="68939" y="5954"/>
                </a:lnTo>
                <a:lnTo>
                  <a:pt x="109416" y="7100"/>
                </a:lnTo>
                <a:lnTo>
                  <a:pt x="110704" y="10992"/>
                </a:lnTo>
                <a:lnTo>
                  <a:pt x="111848" y="17405"/>
                </a:lnTo>
                <a:lnTo>
                  <a:pt x="111562" y="22214"/>
                </a:lnTo>
                <a:lnTo>
                  <a:pt x="111704" y="40077"/>
                </a:lnTo>
                <a:lnTo>
                  <a:pt x="112563" y="46489"/>
                </a:lnTo>
                <a:lnTo>
                  <a:pt x="113564" y="50382"/>
                </a:lnTo>
                <a:lnTo>
                  <a:pt x="115280" y="54275"/>
                </a:lnTo>
                <a:lnTo>
                  <a:pt x="115567" y="63664"/>
                </a:lnTo>
                <a:lnTo>
                  <a:pt x="116139" y="80153"/>
                </a:lnTo>
                <a:lnTo>
                  <a:pt x="116711" y="94581"/>
                </a:lnTo>
                <a:lnTo>
                  <a:pt x="120000" y="107863"/>
                </a:lnTo>
                <a:lnTo>
                  <a:pt x="119857" y="120000"/>
                </a:lnTo>
                <a:lnTo>
                  <a:pt x="81812" y="118856"/>
                </a:lnTo>
                <a:lnTo>
                  <a:pt x="52634" y="117024"/>
                </a:lnTo>
                <a:lnTo>
                  <a:pt x="20882" y="113817"/>
                </a:lnTo>
                <a:lnTo>
                  <a:pt x="0" y="111298"/>
                </a:lnTo>
                <a:lnTo>
                  <a:pt x="286" y="89543"/>
                </a:lnTo>
                <a:lnTo>
                  <a:pt x="1430" y="86107"/>
                </a:lnTo>
                <a:close/>
              </a:path>
            </a:pathLst>
          </a:custGeom>
          <a:solidFill>
            <a:srgbClr val="E06666"/>
          </a:solidFill>
          <a:ln w="9525" cap="flat" cmpd="sng">
            <a:solidFill>
              <a:srgbClr val="FFFFFF"/>
            </a:solidFill>
            <a:prstDash val="solid"/>
            <a:round/>
            <a:headEnd type="none" w="sm" len="sm"/>
            <a:tailEnd type="none" w="sm" len="sm"/>
          </a:ln>
        </p:spPr>
      </p:sp>
      <p:sp>
        <p:nvSpPr>
          <p:cNvPr id="238" name="Google Shape;238;p34"/>
          <p:cNvSpPr/>
          <p:nvPr/>
        </p:nvSpPr>
        <p:spPr>
          <a:xfrm>
            <a:off x="4544229" y="2992797"/>
            <a:ext cx="770800" cy="1202000"/>
          </a:xfrm>
          <a:custGeom>
            <a:avLst/>
            <a:gdLst/>
            <a:ahLst/>
            <a:cxnLst/>
            <a:rect l="l" t="t" r="r" b="b"/>
            <a:pathLst>
              <a:path w="120000" h="120000" extrusionOk="0">
                <a:moveTo>
                  <a:pt x="17189" y="0"/>
                </a:moveTo>
                <a:lnTo>
                  <a:pt x="120000" y="15092"/>
                </a:lnTo>
                <a:lnTo>
                  <a:pt x="94456" y="100089"/>
                </a:lnTo>
                <a:lnTo>
                  <a:pt x="94456" y="103087"/>
                </a:lnTo>
                <a:lnTo>
                  <a:pt x="91120" y="105228"/>
                </a:lnTo>
                <a:lnTo>
                  <a:pt x="88784" y="105111"/>
                </a:lnTo>
                <a:lnTo>
                  <a:pt x="87447" y="103301"/>
                </a:lnTo>
                <a:lnTo>
                  <a:pt x="84446" y="103077"/>
                </a:lnTo>
                <a:lnTo>
                  <a:pt x="83777" y="101802"/>
                </a:lnTo>
                <a:lnTo>
                  <a:pt x="79771" y="103087"/>
                </a:lnTo>
                <a:lnTo>
                  <a:pt x="78769" y="118073"/>
                </a:lnTo>
                <a:lnTo>
                  <a:pt x="76766" y="120000"/>
                </a:lnTo>
                <a:lnTo>
                  <a:pt x="0" y="46572"/>
                </a:lnTo>
                <a:lnTo>
                  <a:pt x="0" y="42289"/>
                </a:lnTo>
                <a:close/>
              </a:path>
            </a:pathLst>
          </a:custGeom>
          <a:solidFill>
            <a:srgbClr val="FFCC66"/>
          </a:solidFill>
          <a:ln w="9525" cap="flat" cmpd="sng">
            <a:solidFill>
              <a:srgbClr val="FFFFFF"/>
            </a:solidFill>
            <a:prstDash val="solid"/>
            <a:round/>
            <a:headEnd type="none" w="sm" len="sm"/>
            <a:tailEnd type="none" w="sm" len="sm"/>
          </a:ln>
        </p:spPr>
      </p:sp>
      <p:sp>
        <p:nvSpPr>
          <p:cNvPr id="239" name="Google Shape;239;p34"/>
          <p:cNvSpPr/>
          <p:nvPr/>
        </p:nvSpPr>
        <p:spPr>
          <a:xfrm>
            <a:off x="4984945" y="2025555"/>
            <a:ext cx="727200" cy="1176000"/>
          </a:xfrm>
          <a:custGeom>
            <a:avLst/>
            <a:gdLst/>
            <a:ahLst/>
            <a:cxnLst/>
            <a:rect l="l" t="t" r="r" b="b"/>
            <a:pathLst>
              <a:path w="120000" h="120000" extrusionOk="0">
                <a:moveTo>
                  <a:pt x="38938" y="0"/>
                </a:moveTo>
                <a:lnTo>
                  <a:pt x="55222" y="2188"/>
                </a:lnTo>
                <a:lnTo>
                  <a:pt x="51150" y="12580"/>
                </a:lnTo>
                <a:lnTo>
                  <a:pt x="49203" y="16956"/>
                </a:lnTo>
                <a:lnTo>
                  <a:pt x="53451" y="21549"/>
                </a:lnTo>
                <a:lnTo>
                  <a:pt x="53451" y="24175"/>
                </a:lnTo>
                <a:lnTo>
                  <a:pt x="51858" y="25050"/>
                </a:lnTo>
                <a:lnTo>
                  <a:pt x="52213" y="27019"/>
                </a:lnTo>
                <a:lnTo>
                  <a:pt x="53982" y="28988"/>
                </a:lnTo>
                <a:lnTo>
                  <a:pt x="57346" y="29645"/>
                </a:lnTo>
                <a:lnTo>
                  <a:pt x="59646" y="32379"/>
                </a:lnTo>
                <a:lnTo>
                  <a:pt x="61593" y="35114"/>
                </a:lnTo>
                <a:lnTo>
                  <a:pt x="62125" y="37302"/>
                </a:lnTo>
                <a:lnTo>
                  <a:pt x="64778" y="38396"/>
                </a:lnTo>
                <a:lnTo>
                  <a:pt x="64778" y="39709"/>
                </a:lnTo>
                <a:lnTo>
                  <a:pt x="67081" y="39600"/>
                </a:lnTo>
                <a:lnTo>
                  <a:pt x="67257" y="41350"/>
                </a:lnTo>
                <a:lnTo>
                  <a:pt x="70797" y="41240"/>
                </a:lnTo>
                <a:lnTo>
                  <a:pt x="71682" y="42662"/>
                </a:lnTo>
                <a:lnTo>
                  <a:pt x="66902" y="49335"/>
                </a:lnTo>
                <a:lnTo>
                  <a:pt x="63717" y="54586"/>
                </a:lnTo>
                <a:lnTo>
                  <a:pt x="62478" y="56883"/>
                </a:lnTo>
                <a:lnTo>
                  <a:pt x="64602" y="58304"/>
                </a:lnTo>
                <a:lnTo>
                  <a:pt x="66194" y="59836"/>
                </a:lnTo>
                <a:lnTo>
                  <a:pt x="70089" y="59070"/>
                </a:lnTo>
                <a:lnTo>
                  <a:pt x="72566" y="57211"/>
                </a:lnTo>
                <a:lnTo>
                  <a:pt x="75398" y="57320"/>
                </a:lnTo>
                <a:lnTo>
                  <a:pt x="75929" y="63337"/>
                </a:lnTo>
                <a:lnTo>
                  <a:pt x="78053" y="67821"/>
                </a:lnTo>
                <a:lnTo>
                  <a:pt x="78761" y="70447"/>
                </a:lnTo>
                <a:lnTo>
                  <a:pt x="81593" y="71760"/>
                </a:lnTo>
                <a:lnTo>
                  <a:pt x="83894" y="73401"/>
                </a:lnTo>
                <a:lnTo>
                  <a:pt x="85133" y="75260"/>
                </a:lnTo>
                <a:lnTo>
                  <a:pt x="83894" y="77448"/>
                </a:lnTo>
                <a:lnTo>
                  <a:pt x="85309" y="79636"/>
                </a:lnTo>
                <a:lnTo>
                  <a:pt x="88849" y="77994"/>
                </a:lnTo>
                <a:lnTo>
                  <a:pt x="92036" y="77776"/>
                </a:lnTo>
                <a:lnTo>
                  <a:pt x="95576" y="78760"/>
                </a:lnTo>
                <a:lnTo>
                  <a:pt x="99469" y="78214"/>
                </a:lnTo>
                <a:lnTo>
                  <a:pt x="104425" y="78105"/>
                </a:lnTo>
                <a:lnTo>
                  <a:pt x="107611" y="79417"/>
                </a:lnTo>
                <a:lnTo>
                  <a:pt x="110975" y="79198"/>
                </a:lnTo>
                <a:lnTo>
                  <a:pt x="112567" y="77557"/>
                </a:lnTo>
                <a:lnTo>
                  <a:pt x="115223" y="76682"/>
                </a:lnTo>
                <a:lnTo>
                  <a:pt x="117876" y="79526"/>
                </a:lnTo>
                <a:lnTo>
                  <a:pt x="120000" y="81386"/>
                </a:lnTo>
                <a:lnTo>
                  <a:pt x="109735" y="120000"/>
                </a:lnTo>
                <a:lnTo>
                  <a:pt x="54514" y="114094"/>
                </a:lnTo>
                <a:lnTo>
                  <a:pt x="0" y="106327"/>
                </a:lnTo>
                <a:lnTo>
                  <a:pt x="10088" y="79745"/>
                </a:lnTo>
                <a:lnTo>
                  <a:pt x="14336" y="73947"/>
                </a:lnTo>
                <a:lnTo>
                  <a:pt x="12743" y="72197"/>
                </a:lnTo>
                <a:lnTo>
                  <a:pt x="9204" y="72197"/>
                </a:lnTo>
                <a:lnTo>
                  <a:pt x="10088" y="70556"/>
                </a:lnTo>
                <a:lnTo>
                  <a:pt x="10088" y="68588"/>
                </a:lnTo>
                <a:lnTo>
                  <a:pt x="15044" y="64430"/>
                </a:lnTo>
                <a:lnTo>
                  <a:pt x="17699" y="64430"/>
                </a:lnTo>
                <a:lnTo>
                  <a:pt x="19115" y="63228"/>
                </a:lnTo>
                <a:lnTo>
                  <a:pt x="19115" y="61149"/>
                </a:lnTo>
                <a:lnTo>
                  <a:pt x="29203" y="53601"/>
                </a:lnTo>
                <a:lnTo>
                  <a:pt x="29203" y="50319"/>
                </a:lnTo>
                <a:lnTo>
                  <a:pt x="24071" y="47256"/>
                </a:lnTo>
                <a:lnTo>
                  <a:pt x="22300" y="45506"/>
                </a:lnTo>
                <a:lnTo>
                  <a:pt x="24424" y="44740"/>
                </a:lnTo>
                <a:lnTo>
                  <a:pt x="24424" y="38834"/>
                </a:lnTo>
                <a:close/>
              </a:path>
            </a:pathLst>
          </a:custGeom>
          <a:solidFill>
            <a:srgbClr val="FFCC66"/>
          </a:solidFill>
          <a:ln w="9525" cap="flat" cmpd="sng">
            <a:solidFill>
              <a:srgbClr val="FFFFFF"/>
            </a:solidFill>
            <a:prstDash val="solid"/>
            <a:round/>
            <a:headEnd type="none" w="sm" len="sm"/>
            <a:tailEnd type="none" w="sm" len="sm"/>
          </a:ln>
        </p:spPr>
      </p:sp>
      <p:sp>
        <p:nvSpPr>
          <p:cNvPr id="240" name="Google Shape;240;p34"/>
          <p:cNvSpPr/>
          <p:nvPr/>
        </p:nvSpPr>
        <p:spPr>
          <a:xfrm>
            <a:off x="6451855" y="2691579"/>
            <a:ext cx="857600" cy="567600"/>
          </a:xfrm>
          <a:custGeom>
            <a:avLst/>
            <a:gdLst/>
            <a:ahLst/>
            <a:cxnLst/>
            <a:rect l="l" t="t" r="r" b="b"/>
            <a:pathLst>
              <a:path w="120000" h="120000" extrusionOk="0">
                <a:moveTo>
                  <a:pt x="6183" y="0"/>
                </a:moveTo>
                <a:lnTo>
                  <a:pt x="26261" y="2314"/>
                </a:lnTo>
                <a:lnTo>
                  <a:pt x="55446" y="5030"/>
                </a:lnTo>
                <a:lnTo>
                  <a:pt x="83967" y="6740"/>
                </a:lnTo>
                <a:lnTo>
                  <a:pt x="117740" y="7645"/>
                </a:lnTo>
                <a:lnTo>
                  <a:pt x="117740" y="12674"/>
                </a:lnTo>
                <a:lnTo>
                  <a:pt x="115081" y="15993"/>
                </a:lnTo>
                <a:lnTo>
                  <a:pt x="113618" y="17603"/>
                </a:lnTo>
                <a:lnTo>
                  <a:pt x="114150" y="20721"/>
                </a:lnTo>
                <a:lnTo>
                  <a:pt x="116011" y="23940"/>
                </a:lnTo>
                <a:lnTo>
                  <a:pt x="118604" y="26555"/>
                </a:lnTo>
                <a:lnTo>
                  <a:pt x="119535" y="29573"/>
                </a:lnTo>
                <a:lnTo>
                  <a:pt x="119402" y="87008"/>
                </a:lnTo>
                <a:lnTo>
                  <a:pt x="117341" y="87208"/>
                </a:lnTo>
                <a:lnTo>
                  <a:pt x="116876" y="88617"/>
                </a:lnTo>
                <a:lnTo>
                  <a:pt x="116876" y="93948"/>
                </a:lnTo>
                <a:lnTo>
                  <a:pt x="117540" y="96362"/>
                </a:lnTo>
                <a:lnTo>
                  <a:pt x="119003" y="96965"/>
                </a:lnTo>
                <a:lnTo>
                  <a:pt x="119269" y="101290"/>
                </a:lnTo>
                <a:lnTo>
                  <a:pt x="118338" y="108332"/>
                </a:lnTo>
                <a:lnTo>
                  <a:pt x="117208" y="111449"/>
                </a:lnTo>
                <a:lnTo>
                  <a:pt x="117208" y="114165"/>
                </a:lnTo>
                <a:lnTo>
                  <a:pt x="119136" y="116781"/>
                </a:lnTo>
                <a:lnTo>
                  <a:pt x="120000" y="119899"/>
                </a:lnTo>
                <a:lnTo>
                  <a:pt x="116942" y="120000"/>
                </a:lnTo>
                <a:lnTo>
                  <a:pt x="115081" y="116680"/>
                </a:lnTo>
                <a:lnTo>
                  <a:pt x="114681" y="113763"/>
                </a:lnTo>
                <a:lnTo>
                  <a:pt x="112022" y="112154"/>
                </a:lnTo>
                <a:lnTo>
                  <a:pt x="108100" y="110042"/>
                </a:lnTo>
                <a:lnTo>
                  <a:pt x="105707" y="107527"/>
                </a:lnTo>
                <a:lnTo>
                  <a:pt x="104044" y="107426"/>
                </a:lnTo>
                <a:lnTo>
                  <a:pt x="102316" y="108633"/>
                </a:lnTo>
                <a:lnTo>
                  <a:pt x="98659" y="108332"/>
                </a:lnTo>
                <a:lnTo>
                  <a:pt x="95602" y="111047"/>
                </a:lnTo>
                <a:lnTo>
                  <a:pt x="94205" y="111047"/>
                </a:lnTo>
                <a:lnTo>
                  <a:pt x="91347" y="108030"/>
                </a:lnTo>
                <a:lnTo>
                  <a:pt x="89485" y="106521"/>
                </a:lnTo>
                <a:lnTo>
                  <a:pt x="87025" y="103000"/>
                </a:lnTo>
                <a:lnTo>
                  <a:pt x="54781" y="100988"/>
                </a:lnTo>
                <a:lnTo>
                  <a:pt x="22538" y="98273"/>
                </a:lnTo>
                <a:lnTo>
                  <a:pt x="0" y="95960"/>
                </a:lnTo>
                <a:lnTo>
                  <a:pt x="3457" y="30578"/>
                </a:lnTo>
                <a:lnTo>
                  <a:pt x="5053" y="23135"/>
                </a:lnTo>
                <a:lnTo>
                  <a:pt x="5385" y="2012"/>
                </a:lnTo>
                <a:close/>
              </a:path>
            </a:pathLst>
          </a:custGeom>
          <a:solidFill>
            <a:srgbClr val="E06666"/>
          </a:solidFill>
          <a:ln w="9525" cap="flat" cmpd="sng">
            <a:solidFill>
              <a:srgbClr val="FFFFFF"/>
            </a:solidFill>
            <a:prstDash val="solid"/>
            <a:round/>
            <a:headEnd type="none" w="sm" len="sm"/>
            <a:tailEnd type="none" w="sm" len="sm"/>
          </a:ln>
        </p:spPr>
      </p:sp>
      <p:sp>
        <p:nvSpPr>
          <p:cNvPr id="241" name="Google Shape;241;p34"/>
          <p:cNvSpPr/>
          <p:nvPr/>
        </p:nvSpPr>
        <p:spPr>
          <a:xfrm>
            <a:off x="5283005" y="2047001"/>
            <a:ext cx="1249200" cy="788800"/>
          </a:xfrm>
          <a:custGeom>
            <a:avLst/>
            <a:gdLst/>
            <a:ahLst/>
            <a:cxnLst/>
            <a:rect l="l" t="t" r="r" b="b"/>
            <a:pathLst>
              <a:path w="120000" h="120000" extrusionOk="0">
                <a:moveTo>
                  <a:pt x="46447" y="12883"/>
                </a:moveTo>
                <a:lnTo>
                  <a:pt x="3505" y="0"/>
                </a:lnTo>
                <a:lnTo>
                  <a:pt x="1133" y="15488"/>
                </a:lnTo>
                <a:lnTo>
                  <a:pt x="0" y="22010"/>
                </a:lnTo>
                <a:lnTo>
                  <a:pt x="2472" y="28855"/>
                </a:lnTo>
                <a:lnTo>
                  <a:pt x="2472" y="32766"/>
                </a:lnTo>
                <a:lnTo>
                  <a:pt x="1548" y="34072"/>
                </a:lnTo>
                <a:lnTo>
                  <a:pt x="1753" y="37004"/>
                </a:lnTo>
                <a:lnTo>
                  <a:pt x="2784" y="39940"/>
                </a:lnTo>
                <a:lnTo>
                  <a:pt x="4743" y="40919"/>
                </a:lnTo>
                <a:lnTo>
                  <a:pt x="6079" y="44993"/>
                </a:lnTo>
                <a:lnTo>
                  <a:pt x="7213" y="49072"/>
                </a:lnTo>
                <a:lnTo>
                  <a:pt x="7521" y="52331"/>
                </a:lnTo>
                <a:lnTo>
                  <a:pt x="9067" y="53961"/>
                </a:lnTo>
                <a:lnTo>
                  <a:pt x="9067" y="55919"/>
                </a:lnTo>
                <a:lnTo>
                  <a:pt x="10406" y="55755"/>
                </a:lnTo>
                <a:lnTo>
                  <a:pt x="10510" y="58364"/>
                </a:lnTo>
                <a:lnTo>
                  <a:pt x="12567" y="58201"/>
                </a:lnTo>
                <a:lnTo>
                  <a:pt x="13083" y="60318"/>
                </a:lnTo>
                <a:lnTo>
                  <a:pt x="10304" y="70262"/>
                </a:lnTo>
                <a:lnTo>
                  <a:pt x="8448" y="78090"/>
                </a:lnTo>
                <a:lnTo>
                  <a:pt x="7726" y="81513"/>
                </a:lnTo>
                <a:lnTo>
                  <a:pt x="8964" y="83631"/>
                </a:lnTo>
                <a:lnTo>
                  <a:pt x="9891" y="85912"/>
                </a:lnTo>
                <a:lnTo>
                  <a:pt x="12155" y="84771"/>
                </a:lnTo>
                <a:lnTo>
                  <a:pt x="13597" y="82001"/>
                </a:lnTo>
                <a:lnTo>
                  <a:pt x="15247" y="82165"/>
                </a:lnTo>
                <a:lnTo>
                  <a:pt x="15555" y="91133"/>
                </a:lnTo>
                <a:lnTo>
                  <a:pt x="16791" y="97814"/>
                </a:lnTo>
                <a:lnTo>
                  <a:pt x="17203" y="101729"/>
                </a:lnTo>
                <a:lnTo>
                  <a:pt x="18850" y="103685"/>
                </a:lnTo>
                <a:lnTo>
                  <a:pt x="20189" y="106128"/>
                </a:lnTo>
                <a:lnTo>
                  <a:pt x="20912" y="108899"/>
                </a:lnTo>
                <a:lnTo>
                  <a:pt x="20189" y="112160"/>
                </a:lnTo>
                <a:lnTo>
                  <a:pt x="21013" y="115419"/>
                </a:lnTo>
                <a:lnTo>
                  <a:pt x="23075" y="112973"/>
                </a:lnTo>
                <a:lnTo>
                  <a:pt x="24928" y="112651"/>
                </a:lnTo>
                <a:lnTo>
                  <a:pt x="26988" y="114117"/>
                </a:lnTo>
                <a:lnTo>
                  <a:pt x="29253" y="113302"/>
                </a:lnTo>
                <a:lnTo>
                  <a:pt x="32137" y="113139"/>
                </a:lnTo>
                <a:lnTo>
                  <a:pt x="33990" y="115096"/>
                </a:lnTo>
                <a:lnTo>
                  <a:pt x="35949" y="114769"/>
                </a:lnTo>
                <a:lnTo>
                  <a:pt x="36875" y="112323"/>
                </a:lnTo>
                <a:lnTo>
                  <a:pt x="38420" y="111020"/>
                </a:lnTo>
                <a:lnTo>
                  <a:pt x="39966" y="115258"/>
                </a:lnTo>
                <a:lnTo>
                  <a:pt x="41201" y="118028"/>
                </a:lnTo>
                <a:lnTo>
                  <a:pt x="42336" y="106299"/>
                </a:lnTo>
                <a:lnTo>
                  <a:pt x="47588" y="107937"/>
                </a:lnTo>
                <a:lnTo>
                  <a:pt x="53464" y="108750"/>
                </a:lnTo>
                <a:lnTo>
                  <a:pt x="66132" y="111522"/>
                </a:lnTo>
                <a:lnTo>
                  <a:pt x="77667" y="113316"/>
                </a:lnTo>
                <a:lnTo>
                  <a:pt x="81996" y="114620"/>
                </a:lnTo>
                <a:lnTo>
                  <a:pt x="85499" y="115924"/>
                </a:lnTo>
                <a:lnTo>
                  <a:pt x="95181" y="116902"/>
                </a:lnTo>
                <a:lnTo>
                  <a:pt x="100125" y="117229"/>
                </a:lnTo>
                <a:lnTo>
                  <a:pt x="105174" y="118370"/>
                </a:lnTo>
                <a:lnTo>
                  <a:pt x="109702" y="119510"/>
                </a:lnTo>
                <a:lnTo>
                  <a:pt x="114645" y="120000"/>
                </a:lnTo>
                <a:lnTo>
                  <a:pt x="115778" y="114620"/>
                </a:lnTo>
                <a:lnTo>
                  <a:pt x="115981" y="99454"/>
                </a:lnTo>
                <a:lnTo>
                  <a:pt x="116495" y="97660"/>
                </a:lnTo>
                <a:lnTo>
                  <a:pt x="116807" y="84129"/>
                </a:lnTo>
                <a:lnTo>
                  <a:pt x="117422" y="81845"/>
                </a:lnTo>
                <a:lnTo>
                  <a:pt x="120000" y="27717"/>
                </a:lnTo>
                <a:lnTo>
                  <a:pt x="89403" y="22337"/>
                </a:lnTo>
                <a:close/>
              </a:path>
            </a:pathLst>
          </a:custGeom>
          <a:solidFill>
            <a:srgbClr val="FFCC66"/>
          </a:solidFill>
          <a:ln w="9525" cap="flat" cmpd="sng">
            <a:solidFill>
              <a:srgbClr val="FFFFFF"/>
            </a:solidFill>
            <a:prstDash val="solid"/>
            <a:round/>
            <a:headEnd type="none" w="sm" len="sm"/>
            <a:tailEnd type="none" w="sm" len="sm"/>
          </a:ln>
        </p:spPr>
      </p:sp>
      <p:sp>
        <p:nvSpPr>
          <p:cNvPr id="242" name="Google Shape;242;p34"/>
          <p:cNvSpPr/>
          <p:nvPr/>
        </p:nvSpPr>
        <p:spPr>
          <a:xfrm>
            <a:off x="8658623" y="4315596"/>
            <a:ext cx="660400" cy="685600"/>
          </a:xfrm>
          <a:custGeom>
            <a:avLst/>
            <a:gdLst/>
            <a:ahLst/>
            <a:cxnLst/>
            <a:rect l="l" t="t" r="r" b="b"/>
            <a:pathLst>
              <a:path w="120000" h="120000" extrusionOk="0">
                <a:moveTo>
                  <a:pt x="0" y="6150"/>
                </a:moveTo>
                <a:lnTo>
                  <a:pt x="28317" y="3491"/>
                </a:lnTo>
                <a:lnTo>
                  <a:pt x="44202" y="1496"/>
                </a:lnTo>
                <a:lnTo>
                  <a:pt x="51971" y="0"/>
                </a:lnTo>
                <a:lnTo>
                  <a:pt x="55079" y="0"/>
                </a:lnTo>
                <a:lnTo>
                  <a:pt x="55252" y="2327"/>
                </a:lnTo>
                <a:lnTo>
                  <a:pt x="52316" y="3823"/>
                </a:lnTo>
                <a:lnTo>
                  <a:pt x="50935" y="6150"/>
                </a:lnTo>
                <a:lnTo>
                  <a:pt x="51453" y="8975"/>
                </a:lnTo>
                <a:lnTo>
                  <a:pt x="55597" y="10305"/>
                </a:lnTo>
                <a:lnTo>
                  <a:pt x="57841" y="12299"/>
                </a:lnTo>
                <a:lnTo>
                  <a:pt x="63194" y="12798"/>
                </a:lnTo>
                <a:lnTo>
                  <a:pt x="66302" y="18117"/>
                </a:lnTo>
                <a:lnTo>
                  <a:pt x="69065" y="22438"/>
                </a:lnTo>
                <a:lnTo>
                  <a:pt x="73381" y="26759"/>
                </a:lnTo>
                <a:lnTo>
                  <a:pt x="78906" y="28920"/>
                </a:lnTo>
                <a:lnTo>
                  <a:pt x="81324" y="31911"/>
                </a:lnTo>
                <a:lnTo>
                  <a:pt x="84777" y="35070"/>
                </a:lnTo>
                <a:lnTo>
                  <a:pt x="88403" y="36898"/>
                </a:lnTo>
                <a:lnTo>
                  <a:pt x="90475" y="42050"/>
                </a:lnTo>
                <a:lnTo>
                  <a:pt x="94274" y="44543"/>
                </a:lnTo>
                <a:lnTo>
                  <a:pt x="99108" y="46372"/>
                </a:lnTo>
                <a:lnTo>
                  <a:pt x="102907" y="53020"/>
                </a:lnTo>
                <a:lnTo>
                  <a:pt x="104115" y="57175"/>
                </a:lnTo>
                <a:lnTo>
                  <a:pt x="105842" y="59169"/>
                </a:lnTo>
                <a:lnTo>
                  <a:pt x="109640" y="60499"/>
                </a:lnTo>
                <a:lnTo>
                  <a:pt x="111540" y="65984"/>
                </a:lnTo>
                <a:lnTo>
                  <a:pt x="112231" y="69474"/>
                </a:lnTo>
                <a:lnTo>
                  <a:pt x="115856" y="71136"/>
                </a:lnTo>
                <a:lnTo>
                  <a:pt x="119137" y="71302"/>
                </a:lnTo>
                <a:lnTo>
                  <a:pt x="120000" y="73297"/>
                </a:lnTo>
                <a:lnTo>
                  <a:pt x="117756" y="76454"/>
                </a:lnTo>
                <a:lnTo>
                  <a:pt x="114475" y="80443"/>
                </a:lnTo>
                <a:lnTo>
                  <a:pt x="114993" y="83102"/>
                </a:lnTo>
                <a:lnTo>
                  <a:pt x="113784" y="85264"/>
                </a:lnTo>
                <a:lnTo>
                  <a:pt x="112748" y="90582"/>
                </a:lnTo>
                <a:lnTo>
                  <a:pt x="111195" y="98560"/>
                </a:lnTo>
                <a:lnTo>
                  <a:pt x="110331" y="101552"/>
                </a:lnTo>
                <a:lnTo>
                  <a:pt x="111195" y="106538"/>
                </a:lnTo>
                <a:lnTo>
                  <a:pt x="111367" y="109030"/>
                </a:lnTo>
                <a:lnTo>
                  <a:pt x="105496" y="109030"/>
                </a:lnTo>
                <a:lnTo>
                  <a:pt x="99799" y="107368"/>
                </a:lnTo>
                <a:lnTo>
                  <a:pt x="96346" y="108698"/>
                </a:lnTo>
                <a:lnTo>
                  <a:pt x="96346" y="111690"/>
                </a:lnTo>
                <a:lnTo>
                  <a:pt x="98590" y="113851"/>
                </a:lnTo>
                <a:lnTo>
                  <a:pt x="98418" y="120000"/>
                </a:lnTo>
                <a:lnTo>
                  <a:pt x="94619" y="120000"/>
                </a:lnTo>
                <a:lnTo>
                  <a:pt x="93755" y="114848"/>
                </a:lnTo>
                <a:lnTo>
                  <a:pt x="41957" y="118505"/>
                </a:lnTo>
                <a:lnTo>
                  <a:pt x="30215" y="118505"/>
                </a:lnTo>
                <a:lnTo>
                  <a:pt x="26072" y="112854"/>
                </a:lnTo>
                <a:lnTo>
                  <a:pt x="24863" y="108698"/>
                </a:lnTo>
                <a:lnTo>
                  <a:pt x="21928" y="106704"/>
                </a:lnTo>
                <a:lnTo>
                  <a:pt x="22791" y="100887"/>
                </a:lnTo>
                <a:lnTo>
                  <a:pt x="22791" y="95568"/>
                </a:lnTo>
                <a:lnTo>
                  <a:pt x="20546" y="91413"/>
                </a:lnTo>
                <a:lnTo>
                  <a:pt x="21065" y="83602"/>
                </a:lnTo>
                <a:lnTo>
                  <a:pt x="24000" y="79114"/>
                </a:lnTo>
                <a:lnTo>
                  <a:pt x="23482" y="76122"/>
                </a:lnTo>
                <a:lnTo>
                  <a:pt x="20892" y="76122"/>
                </a:lnTo>
                <a:lnTo>
                  <a:pt x="21237" y="71801"/>
                </a:lnTo>
                <a:lnTo>
                  <a:pt x="18474" y="68643"/>
                </a:lnTo>
                <a:lnTo>
                  <a:pt x="15540" y="62660"/>
                </a:lnTo>
                <a:lnTo>
                  <a:pt x="12777" y="52188"/>
                </a:lnTo>
                <a:lnTo>
                  <a:pt x="10187" y="45707"/>
                </a:lnTo>
                <a:lnTo>
                  <a:pt x="8805" y="38892"/>
                </a:lnTo>
                <a:lnTo>
                  <a:pt x="5871" y="28255"/>
                </a:lnTo>
                <a:lnTo>
                  <a:pt x="1381" y="13131"/>
                </a:lnTo>
                <a:lnTo>
                  <a:pt x="172" y="11634"/>
                </a:lnTo>
                <a:close/>
              </a:path>
            </a:pathLst>
          </a:custGeom>
          <a:solidFill>
            <a:srgbClr val="0B5394"/>
          </a:solidFill>
          <a:ln w="9525" cap="flat" cmpd="sng">
            <a:solidFill>
              <a:srgbClr val="FFFFFF"/>
            </a:solidFill>
            <a:prstDash val="solid"/>
            <a:round/>
            <a:headEnd type="none" w="sm" len="sm"/>
            <a:tailEnd type="none" w="sm" len="sm"/>
          </a:ln>
        </p:spPr>
      </p:sp>
      <p:sp>
        <p:nvSpPr>
          <p:cNvPr id="243" name="Google Shape;243;p34"/>
          <p:cNvSpPr/>
          <p:nvPr/>
        </p:nvSpPr>
        <p:spPr>
          <a:xfrm>
            <a:off x="8939100" y="4253797"/>
            <a:ext cx="620800" cy="468800"/>
          </a:xfrm>
          <a:custGeom>
            <a:avLst/>
            <a:gdLst/>
            <a:ahLst/>
            <a:cxnLst/>
            <a:rect l="l" t="t" r="r" b="b"/>
            <a:pathLst>
              <a:path w="120000" h="120000" extrusionOk="0">
                <a:moveTo>
                  <a:pt x="4595" y="16065"/>
                </a:moveTo>
                <a:lnTo>
                  <a:pt x="10108" y="11684"/>
                </a:lnTo>
                <a:lnTo>
                  <a:pt x="14334" y="10466"/>
                </a:lnTo>
                <a:lnTo>
                  <a:pt x="20031" y="5355"/>
                </a:lnTo>
                <a:lnTo>
                  <a:pt x="25912" y="2434"/>
                </a:lnTo>
                <a:lnTo>
                  <a:pt x="40980" y="1216"/>
                </a:lnTo>
                <a:lnTo>
                  <a:pt x="46309" y="0"/>
                </a:lnTo>
                <a:lnTo>
                  <a:pt x="55497" y="0"/>
                </a:lnTo>
                <a:lnTo>
                  <a:pt x="60827" y="6085"/>
                </a:lnTo>
                <a:lnTo>
                  <a:pt x="61195" y="10223"/>
                </a:lnTo>
                <a:lnTo>
                  <a:pt x="70016" y="8763"/>
                </a:lnTo>
                <a:lnTo>
                  <a:pt x="84165" y="6815"/>
                </a:lnTo>
                <a:lnTo>
                  <a:pt x="88208" y="6815"/>
                </a:lnTo>
                <a:lnTo>
                  <a:pt x="97580" y="14847"/>
                </a:lnTo>
                <a:lnTo>
                  <a:pt x="108790" y="25315"/>
                </a:lnTo>
                <a:lnTo>
                  <a:pt x="115957" y="32130"/>
                </a:lnTo>
                <a:lnTo>
                  <a:pt x="120000" y="36511"/>
                </a:lnTo>
                <a:lnTo>
                  <a:pt x="116140" y="39432"/>
                </a:lnTo>
                <a:lnTo>
                  <a:pt x="114119" y="43083"/>
                </a:lnTo>
                <a:lnTo>
                  <a:pt x="111730" y="47464"/>
                </a:lnTo>
                <a:lnTo>
                  <a:pt x="109157" y="55010"/>
                </a:lnTo>
                <a:lnTo>
                  <a:pt x="108239" y="60365"/>
                </a:lnTo>
                <a:lnTo>
                  <a:pt x="108422" y="68155"/>
                </a:lnTo>
                <a:lnTo>
                  <a:pt x="105849" y="70102"/>
                </a:lnTo>
                <a:lnTo>
                  <a:pt x="104564" y="74970"/>
                </a:lnTo>
                <a:lnTo>
                  <a:pt x="101256" y="75213"/>
                </a:lnTo>
                <a:lnTo>
                  <a:pt x="98316" y="79838"/>
                </a:lnTo>
                <a:lnTo>
                  <a:pt x="94088" y="87627"/>
                </a:lnTo>
                <a:lnTo>
                  <a:pt x="89862" y="93712"/>
                </a:lnTo>
                <a:lnTo>
                  <a:pt x="84165" y="100285"/>
                </a:lnTo>
                <a:lnTo>
                  <a:pt x="80674" y="100285"/>
                </a:lnTo>
                <a:lnTo>
                  <a:pt x="81225" y="103935"/>
                </a:lnTo>
                <a:lnTo>
                  <a:pt x="81409" y="107587"/>
                </a:lnTo>
                <a:lnTo>
                  <a:pt x="73874" y="117323"/>
                </a:lnTo>
                <a:lnTo>
                  <a:pt x="72588" y="120000"/>
                </a:lnTo>
                <a:lnTo>
                  <a:pt x="68913" y="120000"/>
                </a:lnTo>
                <a:lnTo>
                  <a:pt x="65238" y="117323"/>
                </a:lnTo>
                <a:lnTo>
                  <a:pt x="64503" y="112455"/>
                </a:lnTo>
                <a:lnTo>
                  <a:pt x="62481" y="104422"/>
                </a:lnTo>
                <a:lnTo>
                  <a:pt x="58438" y="102475"/>
                </a:lnTo>
                <a:lnTo>
                  <a:pt x="56600" y="99798"/>
                </a:lnTo>
                <a:lnTo>
                  <a:pt x="55497" y="93469"/>
                </a:lnTo>
                <a:lnTo>
                  <a:pt x="51271" y="83975"/>
                </a:lnTo>
                <a:lnTo>
                  <a:pt x="46493" y="81055"/>
                </a:lnTo>
                <a:lnTo>
                  <a:pt x="42083" y="77404"/>
                </a:lnTo>
                <a:lnTo>
                  <a:pt x="40061" y="69615"/>
                </a:lnTo>
                <a:lnTo>
                  <a:pt x="35835" y="67181"/>
                </a:lnTo>
                <a:lnTo>
                  <a:pt x="29770" y="58174"/>
                </a:lnTo>
                <a:lnTo>
                  <a:pt x="24074" y="55253"/>
                </a:lnTo>
                <a:lnTo>
                  <a:pt x="19112" y="48438"/>
                </a:lnTo>
                <a:lnTo>
                  <a:pt x="13048" y="34320"/>
                </a:lnTo>
                <a:lnTo>
                  <a:pt x="7351" y="33833"/>
                </a:lnTo>
                <a:lnTo>
                  <a:pt x="4962" y="30912"/>
                </a:lnTo>
                <a:lnTo>
                  <a:pt x="552" y="28965"/>
                </a:lnTo>
                <a:lnTo>
                  <a:pt x="0" y="24828"/>
                </a:lnTo>
                <a:lnTo>
                  <a:pt x="1470" y="21420"/>
                </a:lnTo>
                <a:lnTo>
                  <a:pt x="4778" y="18986"/>
                </a:lnTo>
                <a:close/>
              </a:path>
            </a:pathLst>
          </a:custGeom>
          <a:solidFill>
            <a:srgbClr val="0B5394"/>
          </a:solidFill>
          <a:ln w="9525" cap="flat" cmpd="sng">
            <a:solidFill>
              <a:srgbClr val="FFFFFF"/>
            </a:solidFill>
            <a:prstDash val="solid"/>
            <a:round/>
            <a:headEnd type="none" w="sm" len="sm"/>
            <a:tailEnd type="none" w="sm" len="sm"/>
          </a:ln>
        </p:spPr>
      </p:sp>
      <p:sp>
        <p:nvSpPr>
          <p:cNvPr id="244" name="Google Shape;244;p34"/>
          <p:cNvSpPr/>
          <p:nvPr/>
        </p:nvSpPr>
        <p:spPr>
          <a:xfrm>
            <a:off x="8320144" y="3303939"/>
            <a:ext cx="362800" cy="636000"/>
          </a:xfrm>
          <a:custGeom>
            <a:avLst/>
            <a:gdLst/>
            <a:ahLst/>
            <a:cxnLst/>
            <a:rect l="l" t="t" r="r" b="b"/>
            <a:pathLst>
              <a:path w="120000" h="120000" extrusionOk="0">
                <a:moveTo>
                  <a:pt x="2513" y="6826"/>
                </a:moveTo>
                <a:lnTo>
                  <a:pt x="7853" y="7725"/>
                </a:lnTo>
                <a:lnTo>
                  <a:pt x="11937" y="8444"/>
                </a:lnTo>
                <a:lnTo>
                  <a:pt x="17905" y="7186"/>
                </a:lnTo>
                <a:lnTo>
                  <a:pt x="22931" y="5030"/>
                </a:lnTo>
                <a:lnTo>
                  <a:pt x="28272" y="3054"/>
                </a:lnTo>
                <a:lnTo>
                  <a:pt x="48062" y="3414"/>
                </a:lnTo>
                <a:lnTo>
                  <a:pt x="53716" y="1796"/>
                </a:lnTo>
                <a:lnTo>
                  <a:pt x="103037" y="0"/>
                </a:lnTo>
                <a:lnTo>
                  <a:pt x="106178" y="21378"/>
                </a:lnTo>
                <a:lnTo>
                  <a:pt x="108691" y="23353"/>
                </a:lnTo>
                <a:lnTo>
                  <a:pt x="113089" y="55150"/>
                </a:lnTo>
                <a:lnTo>
                  <a:pt x="118115" y="76886"/>
                </a:lnTo>
                <a:lnTo>
                  <a:pt x="120000" y="84252"/>
                </a:lnTo>
                <a:lnTo>
                  <a:pt x="106806" y="88923"/>
                </a:lnTo>
                <a:lnTo>
                  <a:pt x="100209" y="88923"/>
                </a:lnTo>
                <a:lnTo>
                  <a:pt x="97382" y="91078"/>
                </a:lnTo>
                <a:lnTo>
                  <a:pt x="97696" y="95390"/>
                </a:lnTo>
                <a:lnTo>
                  <a:pt x="92041" y="97725"/>
                </a:lnTo>
                <a:lnTo>
                  <a:pt x="80419" y="105090"/>
                </a:lnTo>
                <a:lnTo>
                  <a:pt x="81047" y="111377"/>
                </a:lnTo>
                <a:lnTo>
                  <a:pt x="66910" y="111198"/>
                </a:lnTo>
                <a:lnTo>
                  <a:pt x="66597" y="108324"/>
                </a:lnTo>
                <a:lnTo>
                  <a:pt x="57173" y="111377"/>
                </a:lnTo>
                <a:lnTo>
                  <a:pt x="57486" y="116228"/>
                </a:lnTo>
                <a:lnTo>
                  <a:pt x="51518" y="117665"/>
                </a:lnTo>
                <a:lnTo>
                  <a:pt x="47749" y="112994"/>
                </a:lnTo>
                <a:lnTo>
                  <a:pt x="42094" y="113713"/>
                </a:lnTo>
                <a:lnTo>
                  <a:pt x="37381" y="116587"/>
                </a:lnTo>
                <a:lnTo>
                  <a:pt x="36440" y="120000"/>
                </a:lnTo>
                <a:lnTo>
                  <a:pt x="29214" y="119102"/>
                </a:lnTo>
                <a:lnTo>
                  <a:pt x="28901" y="116407"/>
                </a:lnTo>
                <a:lnTo>
                  <a:pt x="20105" y="116228"/>
                </a:lnTo>
                <a:lnTo>
                  <a:pt x="0" y="118743"/>
                </a:lnTo>
                <a:lnTo>
                  <a:pt x="0" y="108503"/>
                </a:lnTo>
                <a:lnTo>
                  <a:pt x="6596" y="103832"/>
                </a:lnTo>
                <a:lnTo>
                  <a:pt x="9109" y="99342"/>
                </a:lnTo>
                <a:lnTo>
                  <a:pt x="11937" y="96468"/>
                </a:lnTo>
                <a:lnTo>
                  <a:pt x="15079" y="92695"/>
                </a:lnTo>
                <a:lnTo>
                  <a:pt x="13507" y="85689"/>
                </a:lnTo>
                <a:lnTo>
                  <a:pt x="8481" y="82456"/>
                </a:lnTo>
                <a:lnTo>
                  <a:pt x="10681" y="76348"/>
                </a:lnTo>
                <a:close/>
              </a:path>
            </a:pathLst>
          </a:custGeom>
          <a:solidFill>
            <a:srgbClr val="E06666"/>
          </a:solidFill>
          <a:ln w="9525" cap="flat" cmpd="sng">
            <a:solidFill>
              <a:srgbClr val="FFFFFF"/>
            </a:solidFill>
            <a:prstDash val="solid"/>
            <a:round/>
            <a:headEnd type="none" w="sm" len="sm"/>
            <a:tailEnd type="none" w="sm" len="sm"/>
          </a:ln>
        </p:spPr>
      </p:sp>
      <p:sp>
        <p:nvSpPr>
          <p:cNvPr id="245" name="Google Shape;245;p34"/>
          <p:cNvSpPr/>
          <p:nvPr/>
        </p:nvSpPr>
        <p:spPr>
          <a:xfrm>
            <a:off x="8165164" y="3707080"/>
            <a:ext cx="875200" cy="450400"/>
          </a:xfrm>
          <a:custGeom>
            <a:avLst/>
            <a:gdLst/>
            <a:ahLst/>
            <a:cxnLst/>
            <a:rect l="l" t="t" r="r" b="b"/>
            <a:pathLst>
              <a:path w="120000" h="120000" extrusionOk="0">
                <a:moveTo>
                  <a:pt x="18762" y="70634"/>
                </a:moveTo>
                <a:lnTo>
                  <a:pt x="20065" y="65316"/>
                </a:lnTo>
                <a:lnTo>
                  <a:pt x="20977" y="60253"/>
                </a:lnTo>
                <a:lnTo>
                  <a:pt x="26971" y="57722"/>
                </a:lnTo>
                <a:lnTo>
                  <a:pt x="29577" y="56456"/>
                </a:lnTo>
                <a:lnTo>
                  <a:pt x="33225" y="56709"/>
                </a:lnTo>
                <a:lnTo>
                  <a:pt x="33486" y="60507"/>
                </a:lnTo>
                <a:lnTo>
                  <a:pt x="36352" y="61520"/>
                </a:lnTo>
                <a:lnTo>
                  <a:pt x="36743" y="56963"/>
                </a:lnTo>
                <a:lnTo>
                  <a:pt x="38567" y="52912"/>
                </a:lnTo>
                <a:lnTo>
                  <a:pt x="41043" y="51899"/>
                </a:lnTo>
                <a:lnTo>
                  <a:pt x="42475" y="58482"/>
                </a:lnTo>
                <a:lnTo>
                  <a:pt x="45081" y="56456"/>
                </a:lnTo>
                <a:lnTo>
                  <a:pt x="44821" y="49368"/>
                </a:lnTo>
                <a:lnTo>
                  <a:pt x="48860" y="45317"/>
                </a:lnTo>
                <a:lnTo>
                  <a:pt x="48990" y="49368"/>
                </a:lnTo>
                <a:lnTo>
                  <a:pt x="54854" y="49114"/>
                </a:lnTo>
                <a:lnTo>
                  <a:pt x="54593" y="40760"/>
                </a:lnTo>
                <a:lnTo>
                  <a:pt x="56938" y="36203"/>
                </a:lnTo>
                <a:lnTo>
                  <a:pt x="59284" y="30380"/>
                </a:lnTo>
                <a:lnTo>
                  <a:pt x="61759" y="26835"/>
                </a:lnTo>
                <a:lnTo>
                  <a:pt x="61629" y="20759"/>
                </a:lnTo>
                <a:lnTo>
                  <a:pt x="62671" y="17722"/>
                </a:lnTo>
                <a:lnTo>
                  <a:pt x="65538" y="17722"/>
                </a:lnTo>
                <a:lnTo>
                  <a:pt x="71010" y="11393"/>
                </a:lnTo>
                <a:lnTo>
                  <a:pt x="70619" y="5823"/>
                </a:lnTo>
                <a:lnTo>
                  <a:pt x="70098" y="760"/>
                </a:lnTo>
                <a:lnTo>
                  <a:pt x="74267" y="254"/>
                </a:lnTo>
                <a:lnTo>
                  <a:pt x="78306" y="0"/>
                </a:lnTo>
                <a:lnTo>
                  <a:pt x="80260" y="6582"/>
                </a:lnTo>
                <a:lnTo>
                  <a:pt x="81433" y="10380"/>
                </a:lnTo>
                <a:lnTo>
                  <a:pt x="86384" y="9874"/>
                </a:lnTo>
                <a:lnTo>
                  <a:pt x="88339" y="15190"/>
                </a:lnTo>
                <a:lnTo>
                  <a:pt x="91987" y="12406"/>
                </a:lnTo>
                <a:lnTo>
                  <a:pt x="95505" y="11899"/>
                </a:lnTo>
                <a:lnTo>
                  <a:pt x="96938" y="14684"/>
                </a:lnTo>
                <a:lnTo>
                  <a:pt x="100325" y="7849"/>
                </a:lnTo>
                <a:lnTo>
                  <a:pt x="102541" y="7595"/>
                </a:lnTo>
                <a:lnTo>
                  <a:pt x="103452" y="10633"/>
                </a:lnTo>
                <a:lnTo>
                  <a:pt x="103452" y="14177"/>
                </a:lnTo>
                <a:lnTo>
                  <a:pt x="107882" y="17469"/>
                </a:lnTo>
                <a:lnTo>
                  <a:pt x="108013" y="30380"/>
                </a:lnTo>
                <a:lnTo>
                  <a:pt x="111661" y="34937"/>
                </a:lnTo>
                <a:lnTo>
                  <a:pt x="111661" y="39241"/>
                </a:lnTo>
                <a:lnTo>
                  <a:pt x="113746" y="42785"/>
                </a:lnTo>
                <a:lnTo>
                  <a:pt x="116221" y="49368"/>
                </a:lnTo>
                <a:lnTo>
                  <a:pt x="120000" y="53925"/>
                </a:lnTo>
                <a:lnTo>
                  <a:pt x="116742" y="61520"/>
                </a:lnTo>
                <a:lnTo>
                  <a:pt x="113485" y="67342"/>
                </a:lnTo>
                <a:lnTo>
                  <a:pt x="110098" y="73672"/>
                </a:lnTo>
                <a:lnTo>
                  <a:pt x="107492" y="79494"/>
                </a:lnTo>
                <a:lnTo>
                  <a:pt x="107622" y="85063"/>
                </a:lnTo>
                <a:lnTo>
                  <a:pt x="100456" y="92912"/>
                </a:lnTo>
                <a:lnTo>
                  <a:pt x="96677" y="97215"/>
                </a:lnTo>
                <a:lnTo>
                  <a:pt x="89902" y="100759"/>
                </a:lnTo>
                <a:lnTo>
                  <a:pt x="78957" y="102278"/>
                </a:lnTo>
                <a:lnTo>
                  <a:pt x="70489" y="103291"/>
                </a:lnTo>
                <a:lnTo>
                  <a:pt x="56678" y="105570"/>
                </a:lnTo>
                <a:lnTo>
                  <a:pt x="41303" y="107848"/>
                </a:lnTo>
                <a:lnTo>
                  <a:pt x="31531" y="109621"/>
                </a:lnTo>
                <a:lnTo>
                  <a:pt x="27492" y="111392"/>
                </a:lnTo>
                <a:lnTo>
                  <a:pt x="24495" y="109873"/>
                </a:lnTo>
                <a:lnTo>
                  <a:pt x="22671" y="110127"/>
                </a:lnTo>
                <a:lnTo>
                  <a:pt x="22541" y="118229"/>
                </a:lnTo>
                <a:lnTo>
                  <a:pt x="11726" y="119241"/>
                </a:lnTo>
                <a:lnTo>
                  <a:pt x="0" y="120000"/>
                </a:lnTo>
                <a:lnTo>
                  <a:pt x="782" y="114684"/>
                </a:lnTo>
                <a:lnTo>
                  <a:pt x="2736" y="115191"/>
                </a:lnTo>
                <a:lnTo>
                  <a:pt x="3779" y="112659"/>
                </a:lnTo>
                <a:lnTo>
                  <a:pt x="4430" y="102278"/>
                </a:lnTo>
                <a:lnTo>
                  <a:pt x="3518" y="100001"/>
                </a:lnTo>
                <a:lnTo>
                  <a:pt x="3388" y="96456"/>
                </a:lnTo>
                <a:lnTo>
                  <a:pt x="6775" y="90887"/>
                </a:lnTo>
                <a:lnTo>
                  <a:pt x="12508" y="94431"/>
                </a:lnTo>
                <a:lnTo>
                  <a:pt x="15114" y="94937"/>
                </a:lnTo>
                <a:lnTo>
                  <a:pt x="14853" y="90380"/>
                </a:lnTo>
                <a:lnTo>
                  <a:pt x="13550" y="86582"/>
                </a:lnTo>
                <a:lnTo>
                  <a:pt x="13550" y="81519"/>
                </a:lnTo>
                <a:lnTo>
                  <a:pt x="16548" y="78735"/>
                </a:lnTo>
                <a:lnTo>
                  <a:pt x="20196" y="77722"/>
                </a:lnTo>
                <a:lnTo>
                  <a:pt x="20326" y="74430"/>
                </a:lnTo>
                <a:close/>
              </a:path>
            </a:pathLst>
          </a:custGeom>
          <a:solidFill>
            <a:srgbClr val="E06666"/>
          </a:solidFill>
          <a:ln w="9525" cap="flat" cmpd="sng">
            <a:solidFill>
              <a:srgbClr val="FFFFFF"/>
            </a:solidFill>
            <a:prstDash val="solid"/>
            <a:round/>
            <a:headEnd type="none" w="sm" len="sm"/>
            <a:tailEnd type="none" w="sm" len="sm"/>
          </a:ln>
        </p:spPr>
      </p:sp>
      <p:sp>
        <p:nvSpPr>
          <p:cNvPr id="246" name="Google Shape;246;p34"/>
          <p:cNvSpPr/>
          <p:nvPr/>
        </p:nvSpPr>
        <p:spPr>
          <a:xfrm>
            <a:off x="7605629" y="4713473"/>
            <a:ext cx="692800" cy="606800"/>
          </a:xfrm>
          <a:custGeom>
            <a:avLst/>
            <a:gdLst/>
            <a:ahLst/>
            <a:cxnLst/>
            <a:rect l="l" t="t" r="r" b="b"/>
            <a:pathLst>
              <a:path w="120000" h="120000" extrusionOk="0">
                <a:moveTo>
                  <a:pt x="0" y="1785"/>
                </a:moveTo>
                <a:lnTo>
                  <a:pt x="37639" y="1691"/>
                </a:lnTo>
                <a:lnTo>
                  <a:pt x="63747" y="0"/>
                </a:lnTo>
                <a:lnTo>
                  <a:pt x="63418" y="1785"/>
                </a:lnTo>
                <a:lnTo>
                  <a:pt x="63583" y="6014"/>
                </a:lnTo>
                <a:lnTo>
                  <a:pt x="64735" y="12309"/>
                </a:lnTo>
                <a:lnTo>
                  <a:pt x="66466" y="13625"/>
                </a:lnTo>
                <a:lnTo>
                  <a:pt x="65724" y="16163"/>
                </a:lnTo>
                <a:lnTo>
                  <a:pt x="66959" y="17948"/>
                </a:lnTo>
                <a:lnTo>
                  <a:pt x="69018" y="19075"/>
                </a:lnTo>
                <a:lnTo>
                  <a:pt x="69101" y="24056"/>
                </a:lnTo>
                <a:lnTo>
                  <a:pt x="66712" y="24244"/>
                </a:lnTo>
                <a:lnTo>
                  <a:pt x="68113" y="26123"/>
                </a:lnTo>
                <a:lnTo>
                  <a:pt x="67866" y="28003"/>
                </a:lnTo>
                <a:lnTo>
                  <a:pt x="65724" y="31479"/>
                </a:lnTo>
                <a:lnTo>
                  <a:pt x="63583" y="34769"/>
                </a:lnTo>
                <a:lnTo>
                  <a:pt x="60453" y="40031"/>
                </a:lnTo>
                <a:lnTo>
                  <a:pt x="58559" y="45669"/>
                </a:lnTo>
                <a:lnTo>
                  <a:pt x="57158" y="53469"/>
                </a:lnTo>
                <a:lnTo>
                  <a:pt x="56417" y="55912"/>
                </a:lnTo>
                <a:lnTo>
                  <a:pt x="56417" y="61645"/>
                </a:lnTo>
                <a:lnTo>
                  <a:pt x="75361" y="60798"/>
                </a:lnTo>
                <a:lnTo>
                  <a:pt x="92245" y="59670"/>
                </a:lnTo>
                <a:lnTo>
                  <a:pt x="96939" y="59201"/>
                </a:lnTo>
                <a:lnTo>
                  <a:pt x="98833" y="58449"/>
                </a:lnTo>
                <a:lnTo>
                  <a:pt x="99657" y="60046"/>
                </a:lnTo>
                <a:lnTo>
                  <a:pt x="98586" y="63994"/>
                </a:lnTo>
                <a:lnTo>
                  <a:pt x="97680" y="68316"/>
                </a:lnTo>
                <a:lnTo>
                  <a:pt x="98009" y="71323"/>
                </a:lnTo>
                <a:lnTo>
                  <a:pt x="100315" y="73860"/>
                </a:lnTo>
                <a:lnTo>
                  <a:pt x="101551" y="75646"/>
                </a:lnTo>
                <a:lnTo>
                  <a:pt x="103280" y="78277"/>
                </a:lnTo>
                <a:lnTo>
                  <a:pt x="103280" y="81660"/>
                </a:lnTo>
                <a:lnTo>
                  <a:pt x="104022" y="83822"/>
                </a:lnTo>
                <a:lnTo>
                  <a:pt x="101140" y="87580"/>
                </a:lnTo>
                <a:lnTo>
                  <a:pt x="98504" y="88896"/>
                </a:lnTo>
                <a:lnTo>
                  <a:pt x="98668" y="91339"/>
                </a:lnTo>
                <a:lnTo>
                  <a:pt x="101716" y="93500"/>
                </a:lnTo>
                <a:lnTo>
                  <a:pt x="104022" y="93500"/>
                </a:lnTo>
                <a:lnTo>
                  <a:pt x="105011" y="92091"/>
                </a:lnTo>
                <a:lnTo>
                  <a:pt x="105011" y="89365"/>
                </a:lnTo>
                <a:lnTo>
                  <a:pt x="106328" y="87392"/>
                </a:lnTo>
                <a:lnTo>
                  <a:pt x="108469" y="88426"/>
                </a:lnTo>
                <a:lnTo>
                  <a:pt x="109540" y="90775"/>
                </a:lnTo>
                <a:lnTo>
                  <a:pt x="110776" y="92091"/>
                </a:lnTo>
                <a:lnTo>
                  <a:pt x="110693" y="93782"/>
                </a:lnTo>
                <a:lnTo>
                  <a:pt x="108469" y="96977"/>
                </a:lnTo>
                <a:lnTo>
                  <a:pt x="104187" y="97165"/>
                </a:lnTo>
                <a:lnTo>
                  <a:pt x="103363" y="101582"/>
                </a:lnTo>
                <a:lnTo>
                  <a:pt x="102705" y="103837"/>
                </a:lnTo>
                <a:lnTo>
                  <a:pt x="107728" y="107220"/>
                </a:lnTo>
                <a:lnTo>
                  <a:pt x="111517" y="107407"/>
                </a:lnTo>
                <a:lnTo>
                  <a:pt x="115470" y="109006"/>
                </a:lnTo>
                <a:lnTo>
                  <a:pt x="118105" y="112013"/>
                </a:lnTo>
                <a:lnTo>
                  <a:pt x="120000" y="113422"/>
                </a:lnTo>
                <a:lnTo>
                  <a:pt x="118518" y="115865"/>
                </a:lnTo>
                <a:lnTo>
                  <a:pt x="116376" y="117651"/>
                </a:lnTo>
                <a:lnTo>
                  <a:pt x="114565" y="116617"/>
                </a:lnTo>
                <a:lnTo>
                  <a:pt x="111682" y="116711"/>
                </a:lnTo>
                <a:lnTo>
                  <a:pt x="110199" y="114362"/>
                </a:lnTo>
                <a:lnTo>
                  <a:pt x="107811" y="112200"/>
                </a:lnTo>
                <a:lnTo>
                  <a:pt x="104352" y="110509"/>
                </a:lnTo>
                <a:lnTo>
                  <a:pt x="100974" y="110603"/>
                </a:lnTo>
                <a:lnTo>
                  <a:pt x="100315" y="107314"/>
                </a:lnTo>
                <a:lnTo>
                  <a:pt x="99410" y="105341"/>
                </a:lnTo>
                <a:lnTo>
                  <a:pt x="97350" y="107032"/>
                </a:lnTo>
                <a:lnTo>
                  <a:pt x="94880" y="107126"/>
                </a:lnTo>
                <a:lnTo>
                  <a:pt x="96033" y="110133"/>
                </a:lnTo>
                <a:lnTo>
                  <a:pt x="94551" y="112200"/>
                </a:lnTo>
                <a:lnTo>
                  <a:pt x="95292" y="113986"/>
                </a:lnTo>
                <a:lnTo>
                  <a:pt x="93892" y="116711"/>
                </a:lnTo>
                <a:lnTo>
                  <a:pt x="91668" y="117463"/>
                </a:lnTo>
                <a:lnTo>
                  <a:pt x="90679" y="114925"/>
                </a:lnTo>
                <a:lnTo>
                  <a:pt x="89280" y="112576"/>
                </a:lnTo>
                <a:lnTo>
                  <a:pt x="87221" y="112765"/>
                </a:lnTo>
                <a:lnTo>
                  <a:pt x="86397" y="115020"/>
                </a:lnTo>
                <a:lnTo>
                  <a:pt x="83184" y="115020"/>
                </a:lnTo>
                <a:lnTo>
                  <a:pt x="81702" y="117745"/>
                </a:lnTo>
                <a:lnTo>
                  <a:pt x="80219" y="119342"/>
                </a:lnTo>
                <a:lnTo>
                  <a:pt x="77502" y="120000"/>
                </a:lnTo>
                <a:lnTo>
                  <a:pt x="72478" y="117556"/>
                </a:lnTo>
                <a:lnTo>
                  <a:pt x="66712" y="114831"/>
                </a:lnTo>
                <a:lnTo>
                  <a:pt x="65477" y="113328"/>
                </a:lnTo>
                <a:lnTo>
                  <a:pt x="68277" y="110885"/>
                </a:lnTo>
                <a:lnTo>
                  <a:pt x="68195" y="108724"/>
                </a:lnTo>
                <a:lnTo>
                  <a:pt x="66383" y="107220"/>
                </a:lnTo>
                <a:lnTo>
                  <a:pt x="60536" y="106375"/>
                </a:lnTo>
                <a:lnTo>
                  <a:pt x="59877" y="104119"/>
                </a:lnTo>
                <a:lnTo>
                  <a:pt x="58723" y="100454"/>
                </a:lnTo>
                <a:lnTo>
                  <a:pt x="56006" y="99609"/>
                </a:lnTo>
                <a:lnTo>
                  <a:pt x="53782" y="100172"/>
                </a:lnTo>
                <a:lnTo>
                  <a:pt x="52217" y="101393"/>
                </a:lnTo>
                <a:lnTo>
                  <a:pt x="50405" y="98951"/>
                </a:lnTo>
                <a:lnTo>
                  <a:pt x="46945" y="100360"/>
                </a:lnTo>
                <a:lnTo>
                  <a:pt x="45463" y="102051"/>
                </a:lnTo>
                <a:lnTo>
                  <a:pt x="47440" y="104589"/>
                </a:lnTo>
                <a:lnTo>
                  <a:pt x="49664" y="104965"/>
                </a:lnTo>
                <a:lnTo>
                  <a:pt x="49417" y="106092"/>
                </a:lnTo>
                <a:lnTo>
                  <a:pt x="47440" y="107502"/>
                </a:lnTo>
                <a:lnTo>
                  <a:pt x="44722" y="106468"/>
                </a:lnTo>
                <a:lnTo>
                  <a:pt x="43569" y="107314"/>
                </a:lnTo>
                <a:lnTo>
                  <a:pt x="36157" y="106280"/>
                </a:lnTo>
                <a:lnTo>
                  <a:pt x="30144" y="103837"/>
                </a:lnTo>
                <a:lnTo>
                  <a:pt x="25285" y="101393"/>
                </a:lnTo>
                <a:lnTo>
                  <a:pt x="22155" y="100360"/>
                </a:lnTo>
                <a:lnTo>
                  <a:pt x="14084" y="101112"/>
                </a:lnTo>
                <a:lnTo>
                  <a:pt x="8895" y="101958"/>
                </a:lnTo>
                <a:lnTo>
                  <a:pt x="6671" y="103931"/>
                </a:lnTo>
                <a:lnTo>
                  <a:pt x="6589" y="97917"/>
                </a:lnTo>
                <a:lnTo>
                  <a:pt x="8730" y="94534"/>
                </a:lnTo>
                <a:lnTo>
                  <a:pt x="9636" y="81002"/>
                </a:lnTo>
                <a:lnTo>
                  <a:pt x="8236" y="78277"/>
                </a:lnTo>
                <a:lnTo>
                  <a:pt x="12189" y="69726"/>
                </a:lnTo>
                <a:lnTo>
                  <a:pt x="11119" y="53469"/>
                </a:lnTo>
                <a:lnTo>
                  <a:pt x="5601" y="45293"/>
                </a:lnTo>
                <a:lnTo>
                  <a:pt x="5024" y="38810"/>
                </a:lnTo>
                <a:lnTo>
                  <a:pt x="1070" y="33359"/>
                </a:lnTo>
                <a:close/>
              </a:path>
            </a:pathLst>
          </a:custGeom>
          <a:solidFill>
            <a:srgbClr val="E53935"/>
          </a:solidFill>
          <a:ln w="9525" cap="flat" cmpd="sng">
            <a:solidFill>
              <a:srgbClr val="FFFFFF"/>
            </a:solidFill>
            <a:prstDash val="solid"/>
            <a:round/>
            <a:headEnd type="none" w="sm" len="sm"/>
            <a:tailEnd type="none" w="sm" len="sm"/>
          </a:ln>
        </p:spPr>
      </p:sp>
      <p:sp>
        <p:nvSpPr>
          <p:cNvPr id="247" name="Google Shape;247;p34"/>
          <p:cNvSpPr/>
          <p:nvPr/>
        </p:nvSpPr>
        <p:spPr>
          <a:xfrm>
            <a:off x="8068184" y="4038915"/>
            <a:ext cx="1036800" cy="358400"/>
          </a:xfrm>
          <a:custGeom>
            <a:avLst/>
            <a:gdLst/>
            <a:ahLst/>
            <a:cxnLst/>
            <a:rect l="l" t="t" r="r" b="b"/>
            <a:pathLst>
              <a:path w="120000" h="120000" extrusionOk="0">
                <a:moveTo>
                  <a:pt x="120000" y="0"/>
                </a:moveTo>
                <a:lnTo>
                  <a:pt x="120000" y="14005"/>
                </a:lnTo>
                <a:lnTo>
                  <a:pt x="118129" y="15279"/>
                </a:lnTo>
                <a:lnTo>
                  <a:pt x="116587" y="22281"/>
                </a:lnTo>
                <a:lnTo>
                  <a:pt x="116037" y="28965"/>
                </a:lnTo>
                <a:lnTo>
                  <a:pt x="114386" y="27055"/>
                </a:lnTo>
                <a:lnTo>
                  <a:pt x="112404" y="29284"/>
                </a:lnTo>
                <a:lnTo>
                  <a:pt x="110532" y="37241"/>
                </a:lnTo>
                <a:lnTo>
                  <a:pt x="108771" y="35331"/>
                </a:lnTo>
                <a:lnTo>
                  <a:pt x="105908" y="37877"/>
                </a:lnTo>
                <a:lnTo>
                  <a:pt x="104477" y="42653"/>
                </a:lnTo>
                <a:lnTo>
                  <a:pt x="104477" y="50610"/>
                </a:lnTo>
                <a:lnTo>
                  <a:pt x="99963" y="55702"/>
                </a:lnTo>
                <a:lnTo>
                  <a:pt x="99413" y="59841"/>
                </a:lnTo>
                <a:lnTo>
                  <a:pt x="96551" y="64615"/>
                </a:lnTo>
                <a:lnTo>
                  <a:pt x="93248" y="67798"/>
                </a:lnTo>
                <a:lnTo>
                  <a:pt x="90386" y="73528"/>
                </a:lnTo>
                <a:lnTo>
                  <a:pt x="90386" y="82759"/>
                </a:lnTo>
                <a:lnTo>
                  <a:pt x="86312" y="86260"/>
                </a:lnTo>
                <a:lnTo>
                  <a:pt x="86312" y="99311"/>
                </a:lnTo>
                <a:lnTo>
                  <a:pt x="74532" y="102812"/>
                </a:lnTo>
                <a:lnTo>
                  <a:pt x="49101" y="109814"/>
                </a:lnTo>
                <a:lnTo>
                  <a:pt x="30716" y="114271"/>
                </a:lnTo>
                <a:lnTo>
                  <a:pt x="12441" y="118727"/>
                </a:lnTo>
                <a:lnTo>
                  <a:pt x="0" y="120000"/>
                </a:lnTo>
                <a:lnTo>
                  <a:pt x="1982" y="117136"/>
                </a:lnTo>
                <a:lnTo>
                  <a:pt x="3303" y="113316"/>
                </a:lnTo>
                <a:lnTo>
                  <a:pt x="2973" y="106314"/>
                </a:lnTo>
                <a:lnTo>
                  <a:pt x="1652" y="98038"/>
                </a:lnTo>
                <a:lnTo>
                  <a:pt x="5284" y="91353"/>
                </a:lnTo>
                <a:lnTo>
                  <a:pt x="5175" y="82123"/>
                </a:lnTo>
                <a:lnTo>
                  <a:pt x="7156" y="71300"/>
                </a:lnTo>
                <a:lnTo>
                  <a:pt x="7156" y="66525"/>
                </a:lnTo>
                <a:lnTo>
                  <a:pt x="9468" y="53475"/>
                </a:lnTo>
                <a:lnTo>
                  <a:pt x="9468" y="40106"/>
                </a:lnTo>
                <a:lnTo>
                  <a:pt x="30385" y="37877"/>
                </a:lnTo>
                <a:lnTo>
                  <a:pt x="30385" y="27692"/>
                </a:lnTo>
                <a:lnTo>
                  <a:pt x="31927" y="27055"/>
                </a:lnTo>
                <a:lnTo>
                  <a:pt x="34679" y="28965"/>
                </a:lnTo>
                <a:lnTo>
                  <a:pt x="38202" y="26738"/>
                </a:lnTo>
                <a:lnTo>
                  <a:pt x="70679" y="19098"/>
                </a:lnTo>
                <a:lnTo>
                  <a:pt x="83450" y="16552"/>
                </a:lnTo>
                <a:lnTo>
                  <a:pt x="87303" y="15915"/>
                </a:lnTo>
                <a:lnTo>
                  <a:pt x="92697" y="12096"/>
                </a:lnTo>
                <a:lnTo>
                  <a:pt x="105358" y="7003"/>
                </a:lnTo>
                <a:lnTo>
                  <a:pt x="116367" y="3820"/>
                </a:lnTo>
                <a:lnTo>
                  <a:pt x="117909" y="0"/>
                </a:lnTo>
                <a:close/>
              </a:path>
            </a:pathLst>
          </a:custGeom>
          <a:solidFill>
            <a:srgbClr val="0B5394"/>
          </a:solidFill>
          <a:ln w="9525" cap="flat" cmpd="sng">
            <a:solidFill>
              <a:srgbClr val="FFFFFF"/>
            </a:solidFill>
            <a:prstDash val="solid"/>
            <a:round/>
            <a:headEnd type="none" w="sm" len="sm"/>
            <a:tailEnd type="none" w="sm" len="sm"/>
          </a:ln>
        </p:spPr>
      </p:sp>
      <p:sp>
        <p:nvSpPr>
          <p:cNvPr id="248" name="Google Shape;248;p34"/>
          <p:cNvSpPr/>
          <p:nvPr/>
        </p:nvSpPr>
        <p:spPr>
          <a:xfrm>
            <a:off x="5652248" y="3999928"/>
            <a:ext cx="849200" cy="885200"/>
          </a:xfrm>
          <a:custGeom>
            <a:avLst/>
            <a:gdLst/>
            <a:ahLst/>
            <a:cxnLst/>
            <a:rect l="l" t="t" r="r" b="b"/>
            <a:pathLst>
              <a:path w="120000" h="120000" extrusionOk="0">
                <a:moveTo>
                  <a:pt x="16663" y="0"/>
                </a:moveTo>
                <a:lnTo>
                  <a:pt x="41926" y="3738"/>
                </a:lnTo>
                <a:lnTo>
                  <a:pt x="92453" y="8894"/>
                </a:lnTo>
                <a:lnTo>
                  <a:pt x="120000" y="11085"/>
                </a:lnTo>
                <a:lnTo>
                  <a:pt x="119866" y="21526"/>
                </a:lnTo>
                <a:lnTo>
                  <a:pt x="118119" y="22170"/>
                </a:lnTo>
                <a:lnTo>
                  <a:pt x="115700" y="66767"/>
                </a:lnTo>
                <a:lnTo>
                  <a:pt x="112341" y="95768"/>
                </a:lnTo>
                <a:lnTo>
                  <a:pt x="111400" y="113298"/>
                </a:lnTo>
                <a:lnTo>
                  <a:pt x="110728" y="114844"/>
                </a:lnTo>
                <a:lnTo>
                  <a:pt x="75521" y="112653"/>
                </a:lnTo>
                <a:lnTo>
                  <a:pt x="49989" y="109559"/>
                </a:lnTo>
                <a:lnTo>
                  <a:pt x="46629" y="109689"/>
                </a:lnTo>
                <a:lnTo>
                  <a:pt x="45420" y="110977"/>
                </a:lnTo>
                <a:lnTo>
                  <a:pt x="45689" y="113168"/>
                </a:lnTo>
                <a:lnTo>
                  <a:pt x="47033" y="114329"/>
                </a:lnTo>
                <a:lnTo>
                  <a:pt x="16797" y="110462"/>
                </a:lnTo>
                <a:lnTo>
                  <a:pt x="15184" y="120000"/>
                </a:lnTo>
                <a:lnTo>
                  <a:pt x="0" y="118066"/>
                </a:lnTo>
                <a:close/>
              </a:path>
            </a:pathLst>
          </a:custGeom>
          <a:solidFill>
            <a:srgbClr val="FFCC66"/>
          </a:solidFill>
          <a:ln w="9525" cap="flat" cmpd="sng">
            <a:solidFill>
              <a:srgbClr val="FFFFFF"/>
            </a:solidFill>
            <a:prstDash val="solid"/>
            <a:round/>
            <a:headEnd type="none" w="sm" len="sm"/>
            <a:tailEnd type="none" w="sm" len="sm"/>
          </a:ln>
        </p:spPr>
      </p:sp>
      <p:sp>
        <p:nvSpPr>
          <p:cNvPr id="249" name="Google Shape;249;p34"/>
          <p:cNvSpPr/>
          <p:nvPr/>
        </p:nvSpPr>
        <p:spPr>
          <a:xfrm>
            <a:off x="8460380" y="4929777"/>
            <a:ext cx="1107600" cy="844800"/>
          </a:xfrm>
          <a:custGeom>
            <a:avLst/>
            <a:gdLst/>
            <a:ahLst/>
            <a:cxnLst/>
            <a:rect l="l" t="t" r="r" b="b"/>
            <a:pathLst>
              <a:path w="120000" h="120000" extrusionOk="0">
                <a:moveTo>
                  <a:pt x="3191" y="23692"/>
                </a:moveTo>
                <a:lnTo>
                  <a:pt x="3191" y="15389"/>
                </a:lnTo>
                <a:lnTo>
                  <a:pt x="0" y="12420"/>
                </a:lnTo>
                <a:lnTo>
                  <a:pt x="0" y="8842"/>
                </a:lnTo>
                <a:lnTo>
                  <a:pt x="29948" y="4385"/>
                </a:lnTo>
                <a:lnTo>
                  <a:pt x="36996" y="4385"/>
                </a:lnTo>
                <a:lnTo>
                  <a:pt x="38129" y="7020"/>
                </a:lnTo>
                <a:lnTo>
                  <a:pt x="39364" y="9044"/>
                </a:lnTo>
                <a:lnTo>
                  <a:pt x="46156" y="9044"/>
                </a:lnTo>
                <a:lnTo>
                  <a:pt x="65760" y="7424"/>
                </a:lnTo>
                <a:lnTo>
                  <a:pt x="77338" y="6141"/>
                </a:lnTo>
                <a:lnTo>
                  <a:pt x="77801" y="10260"/>
                </a:lnTo>
                <a:lnTo>
                  <a:pt x="80117" y="10260"/>
                </a:lnTo>
                <a:lnTo>
                  <a:pt x="80117" y="5334"/>
                </a:lnTo>
                <a:lnTo>
                  <a:pt x="78881" y="3375"/>
                </a:lnTo>
                <a:lnTo>
                  <a:pt x="78881" y="1011"/>
                </a:lnTo>
                <a:lnTo>
                  <a:pt x="80836" y="0"/>
                </a:lnTo>
                <a:lnTo>
                  <a:pt x="84541" y="1283"/>
                </a:lnTo>
                <a:lnTo>
                  <a:pt x="87732" y="1283"/>
                </a:lnTo>
                <a:lnTo>
                  <a:pt x="89430" y="8775"/>
                </a:lnTo>
                <a:lnTo>
                  <a:pt x="91385" y="15321"/>
                </a:lnTo>
                <a:lnTo>
                  <a:pt x="93752" y="22678"/>
                </a:lnTo>
                <a:lnTo>
                  <a:pt x="96582" y="29024"/>
                </a:lnTo>
                <a:lnTo>
                  <a:pt x="98898" y="33814"/>
                </a:lnTo>
                <a:lnTo>
                  <a:pt x="101779" y="38135"/>
                </a:lnTo>
                <a:lnTo>
                  <a:pt x="104042" y="41779"/>
                </a:lnTo>
                <a:lnTo>
                  <a:pt x="105484" y="44007"/>
                </a:lnTo>
                <a:lnTo>
                  <a:pt x="106821" y="46503"/>
                </a:lnTo>
                <a:lnTo>
                  <a:pt x="105946" y="48259"/>
                </a:lnTo>
                <a:lnTo>
                  <a:pt x="105946" y="50622"/>
                </a:lnTo>
                <a:lnTo>
                  <a:pt x="107903" y="56357"/>
                </a:lnTo>
                <a:lnTo>
                  <a:pt x="110167" y="60071"/>
                </a:lnTo>
                <a:lnTo>
                  <a:pt x="111607" y="63581"/>
                </a:lnTo>
                <a:lnTo>
                  <a:pt x="113049" y="66685"/>
                </a:lnTo>
                <a:lnTo>
                  <a:pt x="114283" y="70464"/>
                </a:lnTo>
                <a:lnTo>
                  <a:pt x="116289" y="74447"/>
                </a:lnTo>
                <a:lnTo>
                  <a:pt x="117680" y="77890"/>
                </a:lnTo>
                <a:lnTo>
                  <a:pt x="118553" y="81262"/>
                </a:lnTo>
                <a:lnTo>
                  <a:pt x="119068" y="87946"/>
                </a:lnTo>
                <a:lnTo>
                  <a:pt x="119791" y="99483"/>
                </a:lnTo>
                <a:lnTo>
                  <a:pt x="120000" y="103329"/>
                </a:lnTo>
                <a:lnTo>
                  <a:pt x="118201" y="105490"/>
                </a:lnTo>
                <a:lnTo>
                  <a:pt x="117635" y="110282"/>
                </a:lnTo>
                <a:lnTo>
                  <a:pt x="118509" y="111968"/>
                </a:lnTo>
                <a:lnTo>
                  <a:pt x="114599" y="117164"/>
                </a:lnTo>
                <a:lnTo>
                  <a:pt x="110791" y="117637"/>
                </a:lnTo>
                <a:lnTo>
                  <a:pt x="107857" y="120000"/>
                </a:lnTo>
                <a:lnTo>
                  <a:pt x="106417" y="119329"/>
                </a:lnTo>
                <a:lnTo>
                  <a:pt x="105799" y="113592"/>
                </a:lnTo>
                <a:lnTo>
                  <a:pt x="100597" y="104679"/>
                </a:lnTo>
                <a:lnTo>
                  <a:pt x="97665" y="104613"/>
                </a:lnTo>
                <a:lnTo>
                  <a:pt x="96532" y="105894"/>
                </a:lnTo>
                <a:lnTo>
                  <a:pt x="94628" y="102995"/>
                </a:lnTo>
                <a:lnTo>
                  <a:pt x="92518" y="95371"/>
                </a:lnTo>
                <a:lnTo>
                  <a:pt x="90153" y="93145"/>
                </a:lnTo>
                <a:lnTo>
                  <a:pt x="88607" y="88821"/>
                </a:lnTo>
                <a:lnTo>
                  <a:pt x="88607" y="85109"/>
                </a:lnTo>
                <a:lnTo>
                  <a:pt x="87526" y="83691"/>
                </a:lnTo>
                <a:lnTo>
                  <a:pt x="86703" y="85109"/>
                </a:lnTo>
                <a:lnTo>
                  <a:pt x="86703" y="87946"/>
                </a:lnTo>
                <a:lnTo>
                  <a:pt x="85262" y="87946"/>
                </a:lnTo>
                <a:lnTo>
                  <a:pt x="84027" y="85178"/>
                </a:lnTo>
                <a:lnTo>
                  <a:pt x="82072" y="81873"/>
                </a:lnTo>
                <a:lnTo>
                  <a:pt x="80579" y="78360"/>
                </a:lnTo>
                <a:lnTo>
                  <a:pt x="78727" y="76135"/>
                </a:lnTo>
                <a:lnTo>
                  <a:pt x="77286" y="73905"/>
                </a:lnTo>
                <a:lnTo>
                  <a:pt x="78779" y="71680"/>
                </a:lnTo>
                <a:lnTo>
                  <a:pt x="80734" y="67358"/>
                </a:lnTo>
                <a:lnTo>
                  <a:pt x="81300" y="64593"/>
                </a:lnTo>
                <a:lnTo>
                  <a:pt x="79447" y="63445"/>
                </a:lnTo>
                <a:lnTo>
                  <a:pt x="76720" y="63445"/>
                </a:lnTo>
                <a:lnTo>
                  <a:pt x="76565" y="65536"/>
                </a:lnTo>
                <a:lnTo>
                  <a:pt x="78418" y="65469"/>
                </a:lnTo>
                <a:lnTo>
                  <a:pt x="77338" y="70870"/>
                </a:lnTo>
                <a:lnTo>
                  <a:pt x="76360" y="68371"/>
                </a:lnTo>
                <a:lnTo>
                  <a:pt x="75485" y="66145"/>
                </a:lnTo>
                <a:lnTo>
                  <a:pt x="74971" y="63445"/>
                </a:lnTo>
                <a:lnTo>
                  <a:pt x="74560" y="58519"/>
                </a:lnTo>
                <a:lnTo>
                  <a:pt x="75485" y="54196"/>
                </a:lnTo>
                <a:lnTo>
                  <a:pt x="75536" y="44613"/>
                </a:lnTo>
                <a:lnTo>
                  <a:pt x="73220" y="41442"/>
                </a:lnTo>
                <a:lnTo>
                  <a:pt x="72603" y="38404"/>
                </a:lnTo>
                <a:lnTo>
                  <a:pt x="67458" y="37057"/>
                </a:lnTo>
                <a:lnTo>
                  <a:pt x="65915" y="34085"/>
                </a:lnTo>
                <a:lnTo>
                  <a:pt x="63599" y="32263"/>
                </a:lnTo>
                <a:lnTo>
                  <a:pt x="62364" y="30172"/>
                </a:lnTo>
                <a:lnTo>
                  <a:pt x="61901" y="28213"/>
                </a:lnTo>
                <a:lnTo>
                  <a:pt x="59894" y="27202"/>
                </a:lnTo>
                <a:lnTo>
                  <a:pt x="57785" y="24028"/>
                </a:lnTo>
                <a:lnTo>
                  <a:pt x="55366" y="22883"/>
                </a:lnTo>
                <a:lnTo>
                  <a:pt x="53256" y="21059"/>
                </a:lnTo>
                <a:lnTo>
                  <a:pt x="50631" y="21127"/>
                </a:lnTo>
                <a:lnTo>
                  <a:pt x="47956" y="22341"/>
                </a:lnTo>
                <a:lnTo>
                  <a:pt x="47803" y="24838"/>
                </a:lnTo>
                <a:lnTo>
                  <a:pt x="45590" y="26053"/>
                </a:lnTo>
                <a:lnTo>
                  <a:pt x="42606" y="29900"/>
                </a:lnTo>
                <a:lnTo>
                  <a:pt x="39827" y="31587"/>
                </a:lnTo>
                <a:lnTo>
                  <a:pt x="34733" y="32734"/>
                </a:lnTo>
                <a:lnTo>
                  <a:pt x="34887" y="29564"/>
                </a:lnTo>
                <a:lnTo>
                  <a:pt x="32983" y="27809"/>
                </a:lnTo>
                <a:lnTo>
                  <a:pt x="30152" y="25715"/>
                </a:lnTo>
                <a:lnTo>
                  <a:pt x="27323" y="23556"/>
                </a:lnTo>
                <a:lnTo>
                  <a:pt x="24390" y="21530"/>
                </a:lnTo>
                <a:lnTo>
                  <a:pt x="18370" y="19977"/>
                </a:lnTo>
                <a:lnTo>
                  <a:pt x="11424" y="20588"/>
                </a:lnTo>
                <a:lnTo>
                  <a:pt x="7152" y="22341"/>
                </a:lnTo>
                <a:close/>
              </a:path>
            </a:pathLst>
          </a:custGeom>
          <a:solidFill>
            <a:srgbClr val="0B5394"/>
          </a:solidFill>
          <a:ln w="9525" cap="flat" cmpd="sng">
            <a:solidFill>
              <a:srgbClr val="FFFFFF"/>
            </a:solidFill>
            <a:prstDash val="solid"/>
            <a:round/>
            <a:headEnd type="none" w="sm" len="sm"/>
            <a:tailEnd type="none" w="sm" len="sm"/>
          </a:ln>
        </p:spPr>
      </p:sp>
      <p:sp>
        <p:nvSpPr>
          <p:cNvPr id="250" name="Google Shape;250;p34"/>
          <p:cNvSpPr/>
          <p:nvPr/>
        </p:nvSpPr>
        <p:spPr>
          <a:xfrm>
            <a:off x="7873276" y="3222169"/>
            <a:ext cx="491600" cy="861600"/>
          </a:xfrm>
          <a:custGeom>
            <a:avLst/>
            <a:gdLst/>
            <a:ahLst/>
            <a:cxnLst/>
            <a:rect l="l" t="t" r="r" b="b"/>
            <a:pathLst>
              <a:path w="120000" h="120000" extrusionOk="0">
                <a:moveTo>
                  <a:pt x="66949" y="110331"/>
                </a:moveTo>
                <a:lnTo>
                  <a:pt x="67181" y="112848"/>
                </a:lnTo>
                <a:lnTo>
                  <a:pt x="66257" y="113508"/>
                </a:lnTo>
                <a:lnTo>
                  <a:pt x="67644" y="115100"/>
                </a:lnTo>
                <a:lnTo>
                  <a:pt x="68339" y="117881"/>
                </a:lnTo>
                <a:lnTo>
                  <a:pt x="71582" y="120000"/>
                </a:lnTo>
                <a:lnTo>
                  <a:pt x="77374" y="119868"/>
                </a:lnTo>
                <a:lnTo>
                  <a:pt x="77143" y="117881"/>
                </a:lnTo>
                <a:lnTo>
                  <a:pt x="80154" y="116291"/>
                </a:lnTo>
                <a:lnTo>
                  <a:pt x="83398" y="115100"/>
                </a:lnTo>
                <a:lnTo>
                  <a:pt x="87798" y="115894"/>
                </a:lnTo>
                <a:lnTo>
                  <a:pt x="93360" y="116954"/>
                </a:lnTo>
                <a:lnTo>
                  <a:pt x="97761" y="117219"/>
                </a:lnTo>
                <a:lnTo>
                  <a:pt x="97297" y="114835"/>
                </a:lnTo>
                <a:lnTo>
                  <a:pt x="94981" y="112848"/>
                </a:lnTo>
                <a:lnTo>
                  <a:pt x="95444" y="110067"/>
                </a:lnTo>
                <a:lnTo>
                  <a:pt x="100772" y="108742"/>
                </a:lnTo>
                <a:lnTo>
                  <a:pt x="107028" y="108212"/>
                </a:lnTo>
                <a:lnTo>
                  <a:pt x="107028" y="106490"/>
                </a:lnTo>
                <a:lnTo>
                  <a:pt x="104014" y="104636"/>
                </a:lnTo>
                <a:lnTo>
                  <a:pt x="106794" y="101987"/>
                </a:lnTo>
                <a:lnTo>
                  <a:pt x="108646" y="98543"/>
                </a:lnTo>
                <a:lnTo>
                  <a:pt x="108646" y="91391"/>
                </a:lnTo>
                <a:lnTo>
                  <a:pt x="113744" y="87815"/>
                </a:lnTo>
                <a:lnTo>
                  <a:pt x="115367" y="84768"/>
                </a:lnTo>
                <a:lnTo>
                  <a:pt x="117914" y="82384"/>
                </a:lnTo>
                <a:lnTo>
                  <a:pt x="120000" y="79603"/>
                </a:lnTo>
                <a:lnTo>
                  <a:pt x="118610" y="74437"/>
                </a:lnTo>
                <a:lnTo>
                  <a:pt x="115136" y="72186"/>
                </a:lnTo>
                <a:lnTo>
                  <a:pt x="116757" y="67418"/>
                </a:lnTo>
                <a:lnTo>
                  <a:pt x="114440" y="48610"/>
                </a:lnTo>
                <a:lnTo>
                  <a:pt x="110501" y="16424"/>
                </a:lnTo>
                <a:lnTo>
                  <a:pt x="107490" y="15099"/>
                </a:lnTo>
                <a:lnTo>
                  <a:pt x="106101" y="12450"/>
                </a:lnTo>
                <a:lnTo>
                  <a:pt x="104479" y="9139"/>
                </a:lnTo>
                <a:lnTo>
                  <a:pt x="100077" y="6755"/>
                </a:lnTo>
                <a:lnTo>
                  <a:pt x="98918" y="3577"/>
                </a:lnTo>
                <a:lnTo>
                  <a:pt x="99151" y="0"/>
                </a:lnTo>
                <a:lnTo>
                  <a:pt x="21313" y="2384"/>
                </a:lnTo>
                <a:lnTo>
                  <a:pt x="21313" y="3444"/>
                </a:lnTo>
                <a:lnTo>
                  <a:pt x="26409" y="5298"/>
                </a:lnTo>
                <a:lnTo>
                  <a:pt x="27567" y="8080"/>
                </a:lnTo>
                <a:lnTo>
                  <a:pt x="32201" y="9801"/>
                </a:lnTo>
                <a:lnTo>
                  <a:pt x="35444" y="12185"/>
                </a:lnTo>
                <a:lnTo>
                  <a:pt x="35444" y="15762"/>
                </a:lnTo>
                <a:lnTo>
                  <a:pt x="33127" y="19603"/>
                </a:lnTo>
                <a:lnTo>
                  <a:pt x="30579" y="20927"/>
                </a:lnTo>
                <a:lnTo>
                  <a:pt x="28957" y="23841"/>
                </a:lnTo>
                <a:lnTo>
                  <a:pt x="24324" y="25166"/>
                </a:lnTo>
                <a:lnTo>
                  <a:pt x="14825" y="25695"/>
                </a:lnTo>
                <a:lnTo>
                  <a:pt x="11814" y="27550"/>
                </a:lnTo>
                <a:lnTo>
                  <a:pt x="11120" y="30199"/>
                </a:lnTo>
                <a:lnTo>
                  <a:pt x="13668" y="31656"/>
                </a:lnTo>
                <a:lnTo>
                  <a:pt x="15752" y="33510"/>
                </a:lnTo>
                <a:lnTo>
                  <a:pt x="15752" y="37616"/>
                </a:lnTo>
                <a:lnTo>
                  <a:pt x="11585" y="39735"/>
                </a:lnTo>
                <a:lnTo>
                  <a:pt x="11585" y="43312"/>
                </a:lnTo>
                <a:lnTo>
                  <a:pt x="6949" y="43312"/>
                </a:lnTo>
                <a:lnTo>
                  <a:pt x="4633" y="44636"/>
                </a:lnTo>
                <a:lnTo>
                  <a:pt x="4864" y="48742"/>
                </a:lnTo>
                <a:lnTo>
                  <a:pt x="2084" y="48609"/>
                </a:lnTo>
                <a:lnTo>
                  <a:pt x="3474" y="49933"/>
                </a:lnTo>
                <a:lnTo>
                  <a:pt x="2317" y="50994"/>
                </a:lnTo>
                <a:lnTo>
                  <a:pt x="0" y="51920"/>
                </a:lnTo>
                <a:lnTo>
                  <a:pt x="2084" y="53113"/>
                </a:lnTo>
                <a:lnTo>
                  <a:pt x="2317" y="55497"/>
                </a:lnTo>
                <a:lnTo>
                  <a:pt x="4170" y="60000"/>
                </a:lnTo>
                <a:lnTo>
                  <a:pt x="6949" y="63444"/>
                </a:lnTo>
                <a:lnTo>
                  <a:pt x="27104" y="74172"/>
                </a:lnTo>
                <a:lnTo>
                  <a:pt x="26873" y="77881"/>
                </a:lnTo>
                <a:lnTo>
                  <a:pt x="29421" y="79735"/>
                </a:lnTo>
                <a:lnTo>
                  <a:pt x="40077" y="79338"/>
                </a:lnTo>
                <a:lnTo>
                  <a:pt x="41700" y="80793"/>
                </a:lnTo>
                <a:lnTo>
                  <a:pt x="44479" y="81457"/>
                </a:lnTo>
                <a:lnTo>
                  <a:pt x="42855" y="83444"/>
                </a:lnTo>
                <a:lnTo>
                  <a:pt x="42626" y="87020"/>
                </a:lnTo>
                <a:lnTo>
                  <a:pt x="38456" y="91788"/>
                </a:lnTo>
                <a:lnTo>
                  <a:pt x="37528" y="94702"/>
                </a:lnTo>
                <a:lnTo>
                  <a:pt x="52123" y="102252"/>
                </a:lnTo>
                <a:lnTo>
                  <a:pt x="59769" y="102781"/>
                </a:lnTo>
                <a:close/>
              </a:path>
            </a:pathLst>
          </a:custGeom>
          <a:solidFill>
            <a:srgbClr val="E06666"/>
          </a:solidFill>
          <a:ln w="9525" cap="flat" cmpd="sng">
            <a:solidFill>
              <a:srgbClr val="FFFFFF"/>
            </a:solidFill>
            <a:prstDash val="solid"/>
            <a:round/>
            <a:headEnd type="none" w="sm" len="sm"/>
            <a:tailEnd type="none" w="sm" len="sm"/>
          </a:ln>
        </p:spPr>
      </p:sp>
      <p:sp>
        <p:nvSpPr>
          <p:cNvPr id="251" name="Google Shape;251;p34"/>
          <p:cNvSpPr/>
          <p:nvPr/>
        </p:nvSpPr>
        <p:spPr>
          <a:xfrm>
            <a:off x="7288069" y="3091396"/>
            <a:ext cx="730400" cy="480000"/>
          </a:xfrm>
          <a:custGeom>
            <a:avLst/>
            <a:gdLst/>
            <a:ahLst/>
            <a:cxnLst/>
            <a:rect l="l" t="t" r="r" b="b"/>
            <a:pathLst>
              <a:path w="120000" h="120000" extrusionOk="0">
                <a:moveTo>
                  <a:pt x="97983" y="0"/>
                </a:moveTo>
                <a:lnTo>
                  <a:pt x="98451" y="5113"/>
                </a:lnTo>
                <a:lnTo>
                  <a:pt x="101497" y="8324"/>
                </a:lnTo>
                <a:lnTo>
                  <a:pt x="101262" y="12963"/>
                </a:lnTo>
                <a:lnTo>
                  <a:pt x="100013" y="15579"/>
                </a:lnTo>
                <a:lnTo>
                  <a:pt x="100170" y="23310"/>
                </a:lnTo>
                <a:lnTo>
                  <a:pt x="102589" y="29970"/>
                </a:lnTo>
                <a:lnTo>
                  <a:pt x="105322" y="31159"/>
                </a:lnTo>
                <a:lnTo>
                  <a:pt x="109070" y="32110"/>
                </a:lnTo>
                <a:lnTo>
                  <a:pt x="110163" y="36035"/>
                </a:lnTo>
                <a:lnTo>
                  <a:pt x="110475" y="38889"/>
                </a:lnTo>
                <a:lnTo>
                  <a:pt x="113832" y="42339"/>
                </a:lnTo>
                <a:lnTo>
                  <a:pt x="114613" y="47096"/>
                </a:lnTo>
                <a:lnTo>
                  <a:pt x="117970" y="50426"/>
                </a:lnTo>
                <a:lnTo>
                  <a:pt x="120000" y="54826"/>
                </a:lnTo>
                <a:lnTo>
                  <a:pt x="119922" y="60892"/>
                </a:lnTo>
                <a:lnTo>
                  <a:pt x="118361" y="67195"/>
                </a:lnTo>
                <a:lnTo>
                  <a:pt x="117034" y="69455"/>
                </a:lnTo>
                <a:lnTo>
                  <a:pt x="115393" y="75282"/>
                </a:lnTo>
                <a:lnTo>
                  <a:pt x="112505" y="77542"/>
                </a:lnTo>
                <a:lnTo>
                  <a:pt x="106024" y="78850"/>
                </a:lnTo>
                <a:lnTo>
                  <a:pt x="104073" y="81942"/>
                </a:lnTo>
                <a:lnTo>
                  <a:pt x="103605" y="86818"/>
                </a:lnTo>
                <a:lnTo>
                  <a:pt x="105479" y="89911"/>
                </a:lnTo>
                <a:lnTo>
                  <a:pt x="106571" y="92765"/>
                </a:lnTo>
                <a:lnTo>
                  <a:pt x="106571" y="99901"/>
                </a:lnTo>
                <a:lnTo>
                  <a:pt x="103683" y="104063"/>
                </a:lnTo>
                <a:lnTo>
                  <a:pt x="103761" y="110129"/>
                </a:lnTo>
                <a:lnTo>
                  <a:pt x="100638" y="110247"/>
                </a:lnTo>
                <a:lnTo>
                  <a:pt x="99233" y="112864"/>
                </a:lnTo>
                <a:lnTo>
                  <a:pt x="99311" y="120000"/>
                </a:lnTo>
                <a:lnTo>
                  <a:pt x="97280" y="120000"/>
                </a:lnTo>
                <a:lnTo>
                  <a:pt x="94626" y="115956"/>
                </a:lnTo>
                <a:lnTo>
                  <a:pt x="93299" y="112626"/>
                </a:lnTo>
                <a:lnTo>
                  <a:pt x="78152" y="113340"/>
                </a:lnTo>
                <a:lnTo>
                  <a:pt x="65426" y="114767"/>
                </a:lnTo>
                <a:lnTo>
                  <a:pt x="34977" y="115600"/>
                </a:lnTo>
                <a:lnTo>
                  <a:pt x="15146" y="115600"/>
                </a:lnTo>
                <a:lnTo>
                  <a:pt x="14288" y="112150"/>
                </a:lnTo>
                <a:lnTo>
                  <a:pt x="14131" y="99187"/>
                </a:lnTo>
                <a:lnTo>
                  <a:pt x="13741" y="94193"/>
                </a:lnTo>
                <a:lnTo>
                  <a:pt x="12023" y="92051"/>
                </a:lnTo>
                <a:lnTo>
                  <a:pt x="12102" y="81585"/>
                </a:lnTo>
                <a:lnTo>
                  <a:pt x="8510" y="73737"/>
                </a:lnTo>
                <a:lnTo>
                  <a:pt x="8354" y="66838"/>
                </a:lnTo>
                <a:lnTo>
                  <a:pt x="5777" y="58869"/>
                </a:lnTo>
                <a:lnTo>
                  <a:pt x="3903" y="50188"/>
                </a:lnTo>
                <a:lnTo>
                  <a:pt x="3670" y="41743"/>
                </a:lnTo>
                <a:lnTo>
                  <a:pt x="2576" y="37938"/>
                </a:lnTo>
                <a:lnTo>
                  <a:pt x="312" y="35083"/>
                </a:lnTo>
                <a:lnTo>
                  <a:pt x="312" y="31635"/>
                </a:lnTo>
                <a:lnTo>
                  <a:pt x="1717" y="27948"/>
                </a:lnTo>
                <a:lnTo>
                  <a:pt x="2733" y="19742"/>
                </a:lnTo>
                <a:lnTo>
                  <a:pt x="2421" y="14627"/>
                </a:lnTo>
                <a:lnTo>
                  <a:pt x="702" y="13914"/>
                </a:lnTo>
                <a:lnTo>
                  <a:pt x="0" y="11179"/>
                </a:lnTo>
                <a:lnTo>
                  <a:pt x="0" y="4876"/>
                </a:lnTo>
                <a:lnTo>
                  <a:pt x="625" y="2973"/>
                </a:lnTo>
                <a:lnTo>
                  <a:pt x="25062" y="3210"/>
                </a:lnTo>
                <a:lnTo>
                  <a:pt x="49499" y="2379"/>
                </a:lnTo>
                <a:lnTo>
                  <a:pt x="75576" y="1189"/>
                </a:lnTo>
                <a:close/>
              </a:path>
            </a:pathLst>
          </a:custGeom>
          <a:solidFill>
            <a:srgbClr val="E06666"/>
          </a:solidFill>
          <a:ln w="9525" cap="flat" cmpd="sng">
            <a:solidFill>
              <a:srgbClr val="FFFFFF"/>
            </a:solidFill>
            <a:prstDash val="solid"/>
            <a:round/>
            <a:headEnd type="none" w="sm" len="sm"/>
            <a:tailEnd type="none" w="sm" len="sm"/>
          </a:ln>
        </p:spPr>
      </p:sp>
      <p:sp>
        <p:nvSpPr>
          <p:cNvPr id="252" name="Google Shape;252;p34"/>
          <p:cNvSpPr/>
          <p:nvPr/>
        </p:nvSpPr>
        <p:spPr>
          <a:xfrm>
            <a:off x="7521961" y="4166757"/>
            <a:ext cx="606800" cy="555600"/>
          </a:xfrm>
          <a:custGeom>
            <a:avLst/>
            <a:gdLst/>
            <a:ahLst/>
            <a:cxnLst/>
            <a:rect l="l" t="t" r="r" b="b"/>
            <a:pathLst>
              <a:path w="120000" h="120000" extrusionOk="0">
                <a:moveTo>
                  <a:pt x="0" y="3593"/>
                </a:moveTo>
                <a:lnTo>
                  <a:pt x="61269" y="2155"/>
                </a:lnTo>
                <a:lnTo>
                  <a:pt x="109382" y="0"/>
                </a:lnTo>
                <a:lnTo>
                  <a:pt x="111261" y="2874"/>
                </a:lnTo>
                <a:lnTo>
                  <a:pt x="110697" y="7801"/>
                </a:lnTo>
                <a:lnTo>
                  <a:pt x="107033" y="11292"/>
                </a:lnTo>
                <a:lnTo>
                  <a:pt x="105058" y="16322"/>
                </a:lnTo>
                <a:lnTo>
                  <a:pt x="113047" y="16424"/>
                </a:lnTo>
                <a:lnTo>
                  <a:pt x="119906" y="15398"/>
                </a:lnTo>
                <a:lnTo>
                  <a:pt x="120000" y="18067"/>
                </a:lnTo>
                <a:lnTo>
                  <a:pt x="116899" y="25766"/>
                </a:lnTo>
                <a:lnTo>
                  <a:pt x="116805" y="31309"/>
                </a:lnTo>
                <a:lnTo>
                  <a:pt x="113610" y="33465"/>
                </a:lnTo>
                <a:lnTo>
                  <a:pt x="110791" y="35621"/>
                </a:lnTo>
                <a:lnTo>
                  <a:pt x="112858" y="40753"/>
                </a:lnTo>
                <a:lnTo>
                  <a:pt x="113423" y="45679"/>
                </a:lnTo>
                <a:lnTo>
                  <a:pt x="111261" y="48144"/>
                </a:lnTo>
                <a:lnTo>
                  <a:pt x="107878" y="49273"/>
                </a:lnTo>
                <a:lnTo>
                  <a:pt x="107878" y="55227"/>
                </a:lnTo>
                <a:lnTo>
                  <a:pt x="105058" y="55843"/>
                </a:lnTo>
                <a:lnTo>
                  <a:pt x="101676" y="62925"/>
                </a:lnTo>
                <a:lnTo>
                  <a:pt x="102240" y="71035"/>
                </a:lnTo>
                <a:lnTo>
                  <a:pt x="98575" y="71446"/>
                </a:lnTo>
                <a:lnTo>
                  <a:pt x="94534" y="78529"/>
                </a:lnTo>
                <a:lnTo>
                  <a:pt x="92749" y="80787"/>
                </a:lnTo>
                <a:lnTo>
                  <a:pt x="94630" y="81300"/>
                </a:lnTo>
                <a:lnTo>
                  <a:pt x="94628" y="84175"/>
                </a:lnTo>
                <a:lnTo>
                  <a:pt x="90023" y="85920"/>
                </a:lnTo>
                <a:lnTo>
                  <a:pt x="88614" y="95672"/>
                </a:lnTo>
                <a:lnTo>
                  <a:pt x="89366" y="99059"/>
                </a:lnTo>
                <a:lnTo>
                  <a:pt x="88520" y="101420"/>
                </a:lnTo>
                <a:lnTo>
                  <a:pt x="88896" y="106143"/>
                </a:lnTo>
                <a:lnTo>
                  <a:pt x="91339" y="110762"/>
                </a:lnTo>
                <a:lnTo>
                  <a:pt x="91339" y="117947"/>
                </a:lnTo>
                <a:lnTo>
                  <a:pt x="75552" y="118768"/>
                </a:lnTo>
                <a:lnTo>
                  <a:pt x="59483" y="119795"/>
                </a:lnTo>
                <a:lnTo>
                  <a:pt x="16539" y="120000"/>
                </a:lnTo>
                <a:lnTo>
                  <a:pt x="16726" y="104705"/>
                </a:lnTo>
                <a:lnTo>
                  <a:pt x="15599" y="102344"/>
                </a:lnTo>
                <a:lnTo>
                  <a:pt x="11370" y="101728"/>
                </a:lnTo>
                <a:lnTo>
                  <a:pt x="7518" y="103269"/>
                </a:lnTo>
                <a:lnTo>
                  <a:pt x="5074" y="101420"/>
                </a:lnTo>
                <a:lnTo>
                  <a:pt x="5450" y="34799"/>
                </a:lnTo>
                <a:lnTo>
                  <a:pt x="3383" y="29461"/>
                </a:lnTo>
                <a:lnTo>
                  <a:pt x="3383" y="18683"/>
                </a:lnTo>
                <a:lnTo>
                  <a:pt x="1504" y="14884"/>
                </a:lnTo>
                <a:close/>
              </a:path>
            </a:pathLst>
          </a:custGeom>
          <a:solidFill>
            <a:srgbClr val="E53935"/>
          </a:solidFill>
          <a:ln w="9525" cap="flat" cmpd="sng">
            <a:solidFill>
              <a:srgbClr val="FFFFFF"/>
            </a:solidFill>
            <a:prstDash val="solid"/>
            <a:round/>
            <a:headEnd type="none" w="sm" len="sm"/>
            <a:tailEnd type="none" w="sm" len="sm"/>
          </a:ln>
        </p:spPr>
      </p:sp>
      <p:sp>
        <p:nvSpPr>
          <p:cNvPr id="253" name="Google Shape;253;p34"/>
          <p:cNvSpPr/>
          <p:nvPr/>
        </p:nvSpPr>
        <p:spPr>
          <a:xfrm>
            <a:off x="4401616" y="1877489"/>
            <a:ext cx="819200" cy="595200"/>
          </a:xfrm>
          <a:custGeom>
            <a:avLst/>
            <a:gdLst/>
            <a:ahLst/>
            <a:cxnLst/>
            <a:rect l="l" t="t" r="r" b="b"/>
            <a:pathLst>
              <a:path w="120000" h="120000" extrusionOk="0">
                <a:moveTo>
                  <a:pt x="35027" y="1299"/>
                </a:moveTo>
                <a:lnTo>
                  <a:pt x="37381" y="0"/>
                </a:lnTo>
                <a:lnTo>
                  <a:pt x="120000" y="30109"/>
                </a:lnTo>
                <a:lnTo>
                  <a:pt x="106963" y="107654"/>
                </a:lnTo>
                <a:lnTo>
                  <a:pt x="106806" y="118701"/>
                </a:lnTo>
                <a:lnTo>
                  <a:pt x="105078" y="120000"/>
                </a:lnTo>
                <a:lnTo>
                  <a:pt x="76178" y="110037"/>
                </a:lnTo>
                <a:lnTo>
                  <a:pt x="62512" y="111336"/>
                </a:lnTo>
                <a:lnTo>
                  <a:pt x="58743" y="109821"/>
                </a:lnTo>
                <a:lnTo>
                  <a:pt x="51203" y="111554"/>
                </a:lnTo>
                <a:lnTo>
                  <a:pt x="49477" y="109387"/>
                </a:lnTo>
                <a:lnTo>
                  <a:pt x="42094" y="109821"/>
                </a:lnTo>
                <a:lnTo>
                  <a:pt x="37381" y="105271"/>
                </a:lnTo>
                <a:lnTo>
                  <a:pt x="32355" y="104622"/>
                </a:lnTo>
                <a:lnTo>
                  <a:pt x="29685" y="102671"/>
                </a:lnTo>
                <a:lnTo>
                  <a:pt x="27644" y="105271"/>
                </a:lnTo>
                <a:lnTo>
                  <a:pt x="21361" y="104404"/>
                </a:lnTo>
                <a:lnTo>
                  <a:pt x="15550" y="98990"/>
                </a:lnTo>
                <a:lnTo>
                  <a:pt x="16492" y="95524"/>
                </a:lnTo>
                <a:lnTo>
                  <a:pt x="16492" y="86643"/>
                </a:lnTo>
                <a:lnTo>
                  <a:pt x="13350" y="80794"/>
                </a:lnTo>
                <a:lnTo>
                  <a:pt x="9424" y="80794"/>
                </a:lnTo>
                <a:lnTo>
                  <a:pt x="8796" y="76246"/>
                </a:lnTo>
                <a:lnTo>
                  <a:pt x="6596" y="76246"/>
                </a:lnTo>
                <a:lnTo>
                  <a:pt x="5026" y="73431"/>
                </a:lnTo>
                <a:lnTo>
                  <a:pt x="2826" y="74729"/>
                </a:lnTo>
                <a:lnTo>
                  <a:pt x="0" y="71698"/>
                </a:lnTo>
                <a:lnTo>
                  <a:pt x="1413" y="66931"/>
                </a:lnTo>
                <a:lnTo>
                  <a:pt x="3770" y="67148"/>
                </a:lnTo>
                <a:lnTo>
                  <a:pt x="5339" y="62815"/>
                </a:lnTo>
                <a:lnTo>
                  <a:pt x="5183" y="60216"/>
                </a:lnTo>
                <a:lnTo>
                  <a:pt x="2985" y="60216"/>
                </a:lnTo>
                <a:lnTo>
                  <a:pt x="2826" y="54801"/>
                </a:lnTo>
                <a:lnTo>
                  <a:pt x="7224" y="54151"/>
                </a:lnTo>
                <a:lnTo>
                  <a:pt x="4555" y="49171"/>
                </a:lnTo>
                <a:lnTo>
                  <a:pt x="3770" y="41154"/>
                </a:lnTo>
                <a:lnTo>
                  <a:pt x="3926" y="24260"/>
                </a:lnTo>
                <a:lnTo>
                  <a:pt x="2198" y="21227"/>
                </a:lnTo>
                <a:lnTo>
                  <a:pt x="2198" y="15812"/>
                </a:lnTo>
                <a:lnTo>
                  <a:pt x="3613" y="7798"/>
                </a:lnTo>
                <a:lnTo>
                  <a:pt x="4398" y="5849"/>
                </a:lnTo>
                <a:lnTo>
                  <a:pt x="6754" y="7364"/>
                </a:lnTo>
                <a:lnTo>
                  <a:pt x="10366" y="14079"/>
                </a:lnTo>
                <a:lnTo>
                  <a:pt x="15079" y="18411"/>
                </a:lnTo>
                <a:lnTo>
                  <a:pt x="21046" y="22311"/>
                </a:lnTo>
                <a:lnTo>
                  <a:pt x="27644" y="25343"/>
                </a:lnTo>
                <a:lnTo>
                  <a:pt x="31257" y="25343"/>
                </a:lnTo>
                <a:lnTo>
                  <a:pt x="32042" y="20360"/>
                </a:lnTo>
                <a:lnTo>
                  <a:pt x="34712" y="18411"/>
                </a:lnTo>
                <a:lnTo>
                  <a:pt x="35968" y="22743"/>
                </a:lnTo>
                <a:lnTo>
                  <a:pt x="33455" y="22743"/>
                </a:lnTo>
                <a:lnTo>
                  <a:pt x="33612" y="26859"/>
                </a:lnTo>
                <a:lnTo>
                  <a:pt x="35340" y="29891"/>
                </a:lnTo>
                <a:lnTo>
                  <a:pt x="37853" y="34223"/>
                </a:lnTo>
                <a:lnTo>
                  <a:pt x="38481" y="30541"/>
                </a:lnTo>
                <a:lnTo>
                  <a:pt x="36911" y="29024"/>
                </a:lnTo>
                <a:lnTo>
                  <a:pt x="37540" y="20360"/>
                </a:lnTo>
                <a:lnTo>
                  <a:pt x="36911" y="17545"/>
                </a:lnTo>
                <a:lnTo>
                  <a:pt x="39110" y="12997"/>
                </a:lnTo>
                <a:close/>
              </a:path>
            </a:pathLst>
          </a:custGeom>
          <a:solidFill>
            <a:srgbClr val="FFCC66"/>
          </a:solidFill>
          <a:ln w="9525" cap="flat" cmpd="sng">
            <a:solidFill>
              <a:srgbClr val="FFFFFF"/>
            </a:solidFill>
            <a:prstDash val="solid"/>
            <a:round/>
            <a:headEnd type="none" w="sm" len="sm"/>
            <a:tailEnd type="none" w="sm" len="sm"/>
          </a:ln>
        </p:spPr>
      </p:sp>
      <p:sp>
        <p:nvSpPr>
          <p:cNvPr id="254" name="Google Shape;254;p34"/>
          <p:cNvSpPr/>
          <p:nvPr/>
        </p:nvSpPr>
        <p:spPr>
          <a:xfrm>
            <a:off x="8333455" y="4351728"/>
            <a:ext cx="466400" cy="762400"/>
          </a:xfrm>
          <a:custGeom>
            <a:avLst/>
            <a:gdLst/>
            <a:ahLst/>
            <a:cxnLst/>
            <a:rect l="l" t="t" r="r" b="b"/>
            <a:pathLst>
              <a:path w="120000" h="120000" extrusionOk="0">
                <a:moveTo>
                  <a:pt x="7101" y="116405"/>
                </a:moveTo>
                <a:lnTo>
                  <a:pt x="12245" y="116554"/>
                </a:lnTo>
                <a:lnTo>
                  <a:pt x="14204" y="117603"/>
                </a:lnTo>
                <a:lnTo>
                  <a:pt x="17387" y="112659"/>
                </a:lnTo>
                <a:lnTo>
                  <a:pt x="18612" y="109063"/>
                </a:lnTo>
                <a:lnTo>
                  <a:pt x="22775" y="109513"/>
                </a:lnTo>
                <a:lnTo>
                  <a:pt x="27429" y="114906"/>
                </a:lnTo>
                <a:lnTo>
                  <a:pt x="29142" y="117752"/>
                </a:lnTo>
                <a:lnTo>
                  <a:pt x="23510" y="120000"/>
                </a:lnTo>
                <a:lnTo>
                  <a:pt x="29632" y="119850"/>
                </a:lnTo>
                <a:lnTo>
                  <a:pt x="40408" y="117453"/>
                </a:lnTo>
                <a:lnTo>
                  <a:pt x="40408" y="108164"/>
                </a:lnTo>
                <a:lnTo>
                  <a:pt x="32571" y="104869"/>
                </a:lnTo>
                <a:lnTo>
                  <a:pt x="32571" y="100973"/>
                </a:lnTo>
                <a:lnTo>
                  <a:pt x="103347" y="96030"/>
                </a:lnTo>
                <a:lnTo>
                  <a:pt x="120000" y="95880"/>
                </a:lnTo>
                <a:lnTo>
                  <a:pt x="118775" y="92284"/>
                </a:lnTo>
                <a:lnTo>
                  <a:pt x="114612" y="90487"/>
                </a:lnTo>
                <a:lnTo>
                  <a:pt x="116082" y="85244"/>
                </a:lnTo>
                <a:lnTo>
                  <a:pt x="115836" y="80749"/>
                </a:lnTo>
                <a:lnTo>
                  <a:pt x="112897" y="76554"/>
                </a:lnTo>
                <a:lnTo>
                  <a:pt x="113633" y="69963"/>
                </a:lnTo>
                <a:lnTo>
                  <a:pt x="117551" y="65618"/>
                </a:lnTo>
                <a:lnTo>
                  <a:pt x="116816" y="62921"/>
                </a:lnTo>
                <a:lnTo>
                  <a:pt x="113387" y="62921"/>
                </a:lnTo>
                <a:lnTo>
                  <a:pt x="113633" y="59026"/>
                </a:lnTo>
                <a:lnTo>
                  <a:pt x="109469" y="56030"/>
                </a:lnTo>
                <a:lnTo>
                  <a:pt x="105550" y="50637"/>
                </a:lnTo>
                <a:lnTo>
                  <a:pt x="101388" y="40749"/>
                </a:lnTo>
                <a:lnTo>
                  <a:pt x="98203" y="35655"/>
                </a:lnTo>
                <a:lnTo>
                  <a:pt x="96000" y="28914"/>
                </a:lnTo>
                <a:lnTo>
                  <a:pt x="92571" y="20974"/>
                </a:lnTo>
                <a:lnTo>
                  <a:pt x="87673" y="10786"/>
                </a:lnTo>
                <a:lnTo>
                  <a:pt x="85714" y="6292"/>
                </a:lnTo>
                <a:lnTo>
                  <a:pt x="83755" y="4944"/>
                </a:lnTo>
                <a:lnTo>
                  <a:pt x="83510" y="0"/>
                </a:lnTo>
                <a:lnTo>
                  <a:pt x="0" y="4645"/>
                </a:lnTo>
                <a:lnTo>
                  <a:pt x="2449" y="7341"/>
                </a:lnTo>
                <a:lnTo>
                  <a:pt x="490" y="56180"/>
                </a:lnTo>
                <a:lnTo>
                  <a:pt x="244" y="70862"/>
                </a:lnTo>
                <a:lnTo>
                  <a:pt x="980" y="82996"/>
                </a:lnTo>
                <a:lnTo>
                  <a:pt x="3429" y="94681"/>
                </a:lnTo>
                <a:lnTo>
                  <a:pt x="3918" y="99775"/>
                </a:lnTo>
                <a:lnTo>
                  <a:pt x="6122" y="103820"/>
                </a:lnTo>
                <a:close/>
              </a:path>
            </a:pathLst>
          </a:custGeom>
          <a:solidFill>
            <a:srgbClr val="E53935"/>
          </a:solidFill>
          <a:ln w="9525" cap="flat" cmpd="sng">
            <a:solidFill>
              <a:srgbClr val="FFFFFF"/>
            </a:solidFill>
            <a:prstDash val="solid"/>
            <a:round/>
            <a:headEnd type="none" w="sm" len="sm"/>
            <a:tailEnd type="none" w="sm" len="sm"/>
          </a:ln>
        </p:spPr>
      </p:sp>
      <p:sp>
        <p:nvSpPr>
          <p:cNvPr id="255" name="Google Shape;255;p34"/>
          <p:cNvSpPr/>
          <p:nvPr/>
        </p:nvSpPr>
        <p:spPr>
          <a:xfrm>
            <a:off x="4938835" y="3904268"/>
            <a:ext cx="830800" cy="966000"/>
          </a:xfrm>
          <a:custGeom>
            <a:avLst/>
            <a:gdLst/>
            <a:ahLst/>
            <a:cxnLst/>
            <a:rect l="l" t="t" r="r" b="b"/>
            <a:pathLst>
              <a:path w="120000" h="120000" extrusionOk="0">
                <a:moveTo>
                  <a:pt x="8205" y="76044"/>
                </a:moveTo>
                <a:lnTo>
                  <a:pt x="8516" y="73512"/>
                </a:lnTo>
                <a:lnTo>
                  <a:pt x="5109" y="72980"/>
                </a:lnTo>
                <a:lnTo>
                  <a:pt x="4490" y="71787"/>
                </a:lnTo>
                <a:lnTo>
                  <a:pt x="5419" y="70982"/>
                </a:lnTo>
                <a:lnTo>
                  <a:pt x="5419" y="65921"/>
                </a:lnTo>
                <a:lnTo>
                  <a:pt x="7432" y="65523"/>
                </a:lnTo>
                <a:lnTo>
                  <a:pt x="10528" y="62992"/>
                </a:lnTo>
                <a:lnTo>
                  <a:pt x="10995" y="58465"/>
                </a:lnTo>
                <a:lnTo>
                  <a:pt x="11612" y="56600"/>
                </a:lnTo>
                <a:lnTo>
                  <a:pt x="13626" y="54070"/>
                </a:lnTo>
                <a:lnTo>
                  <a:pt x="17651" y="52336"/>
                </a:lnTo>
                <a:lnTo>
                  <a:pt x="19816" y="51539"/>
                </a:lnTo>
                <a:lnTo>
                  <a:pt x="19816" y="49141"/>
                </a:lnTo>
                <a:lnTo>
                  <a:pt x="18114" y="48475"/>
                </a:lnTo>
                <a:lnTo>
                  <a:pt x="16725" y="44348"/>
                </a:lnTo>
                <a:lnTo>
                  <a:pt x="15637" y="41018"/>
                </a:lnTo>
                <a:lnTo>
                  <a:pt x="13783" y="38221"/>
                </a:lnTo>
                <a:lnTo>
                  <a:pt x="14246" y="35958"/>
                </a:lnTo>
                <a:lnTo>
                  <a:pt x="16104" y="33960"/>
                </a:lnTo>
                <a:lnTo>
                  <a:pt x="17186" y="15182"/>
                </a:lnTo>
                <a:lnTo>
                  <a:pt x="20749" y="13317"/>
                </a:lnTo>
                <a:lnTo>
                  <a:pt x="21370" y="15315"/>
                </a:lnTo>
                <a:lnTo>
                  <a:pt x="24153" y="15315"/>
                </a:lnTo>
                <a:lnTo>
                  <a:pt x="25395" y="17713"/>
                </a:lnTo>
                <a:lnTo>
                  <a:pt x="27718" y="17845"/>
                </a:lnTo>
                <a:lnTo>
                  <a:pt x="30658" y="15048"/>
                </a:lnTo>
                <a:lnTo>
                  <a:pt x="30502" y="11186"/>
                </a:lnTo>
                <a:lnTo>
                  <a:pt x="33290" y="0"/>
                </a:lnTo>
                <a:lnTo>
                  <a:pt x="120000" y="11853"/>
                </a:lnTo>
                <a:lnTo>
                  <a:pt x="110865" y="71249"/>
                </a:lnTo>
                <a:lnTo>
                  <a:pt x="102801" y="120000"/>
                </a:lnTo>
                <a:lnTo>
                  <a:pt x="100948" y="119862"/>
                </a:lnTo>
                <a:lnTo>
                  <a:pt x="99090" y="119596"/>
                </a:lnTo>
                <a:lnTo>
                  <a:pt x="96304" y="119196"/>
                </a:lnTo>
                <a:lnTo>
                  <a:pt x="93362" y="118663"/>
                </a:lnTo>
                <a:lnTo>
                  <a:pt x="88407" y="118131"/>
                </a:lnTo>
                <a:lnTo>
                  <a:pt x="82679" y="117598"/>
                </a:lnTo>
                <a:lnTo>
                  <a:pt x="79117" y="117198"/>
                </a:lnTo>
                <a:lnTo>
                  <a:pt x="71221" y="115867"/>
                </a:lnTo>
                <a:lnTo>
                  <a:pt x="64099" y="114934"/>
                </a:lnTo>
                <a:lnTo>
                  <a:pt x="30346" y="98153"/>
                </a:lnTo>
                <a:lnTo>
                  <a:pt x="0" y="82571"/>
                </a:lnTo>
                <a:lnTo>
                  <a:pt x="774" y="80440"/>
                </a:lnTo>
                <a:lnTo>
                  <a:pt x="2632" y="78842"/>
                </a:lnTo>
                <a:lnTo>
                  <a:pt x="5728" y="78577"/>
                </a:lnTo>
                <a:lnTo>
                  <a:pt x="7588" y="77644"/>
                </a:lnTo>
                <a:close/>
              </a:path>
            </a:pathLst>
          </a:custGeom>
          <a:solidFill>
            <a:srgbClr val="FFCC66"/>
          </a:solidFill>
          <a:ln w="9525" cap="flat" cmpd="sng">
            <a:solidFill>
              <a:srgbClr val="FFFFFF"/>
            </a:solidFill>
            <a:prstDash val="solid"/>
            <a:round/>
            <a:headEnd type="none" w="sm" len="sm"/>
            <a:tailEnd type="none" w="sm" len="sm"/>
          </a:ln>
        </p:spPr>
      </p:sp>
      <p:sp>
        <p:nvSpPr>
          <p:cNvPr id="256" name="Google Shape;256;p34"/>
          <p:cNvSpPr/>
          <p:nvPr/>
        </p:nvSpPr>
        <p:spPr>
          <a:xfrm>
            <a:off x="7380772" y="3542079"/>
            <a:ext cx="816800" cy="700400"/>
          </a:xfrm>
          <a:custGeom>
            <a:avLst/>
            <a:gdLst/>
            <a:ahLst/>
            <a:cxnLst/>
            <a:rect l="l" t="t" r="r" b="b"/>
            <a:pathLst>
              <a:path w="120000" h="120000" extrusionOk="0">
                <a:moveTo>
                  <a:pt x="20675" y="109816"/>
                </a:moveTo>
                <a:lnTo>
                  <a:pt x="20466" y="40080"/>
                </a:lnTo>
                <a:lnTo>
                  <a:pt x="18509" y="39510"/>
                </a:lnTo>
                <a:lnTo>
                  <a:pt x="17183" y="38369"/>
                </a:lnTo>
                <a:lnTo>
                  <a:pt x="15574" y="35926"/>
                </a:lnTo>
                <a:lnTo>
                  <a:pt x="14528" y="34704"/>
                </a:lnTo>
                <a:lnTo>
                  <a:pt x="13690" y="33971"/>
                </a:lnTo>
                <a:lnTo>
                  <a:pt x="12643" y="31772"/>
                </a:lnTo>
                <a:lnTo>
                  <a:pt x="12503" y="28432"/>
                </a:lnTo>
                <a:lnTo>
                  <a:pt x="13061" y="26557"/>
                </a:lnTo>
                <a:lnTo>
                  <a:pt x="15157" y="25254"/>
                </a:lnTo>
                <a:lnTo>
                  <a:pt x="15016" y="21669"/>
                </a:lnTo>
                <a:lnTo>
                  <a:pt x="11385" y="21588"/>
                </a:lnTo>
                <a:lnTo>
                  <a:pt x="10756" y="20038"/>
                </a:lnTo>
                <a:lnTo>
                  <a:pt x="8382" y="18736"/>
                </a:lnTo>
                <a:lnTo>
                  <a:pt x="7752" y="17433"/>
                </a:lnTo>
                <a:lnTo>
                  <a:pt x="5728" y="13848"/>
                </a:lnTo>
                <a:lnTo>
                  <a:pt x="2374" y="8716"/>
                </a:lnTo>
                <a:lnTo>
                  <a:pt x="2095" y="5538"/>
                </a:lnTo>
                <a:lnTo>
                  <a:pt x="0" y="2037"/>
                </a:lnTo>
                <a:lnTo>
                  <a:pt x="18789" y="1955"/>
                </a:lnTo>
                <a:lnTo>
                  <a:pt x="45261" y="1466"/>
                </a:lnTo>
                <a:lnTo>
                  <a:pt x="57204" y="326"/>
                </a:lnTo>
                <a:lnTo>
                  <a:pt x="69916" y="0"/>
                </a:lnTo>
                <a:lnTo>
                  <a:pt x="71034" y="2118"/>
                </a:lnTo>
                <a:lnTo>
                  <a:pt x="73479" y="5050"/>
                </a:lnTo>
                <a:lnTo>
                  <a:pt x="74177" y="6191"/>
                </a:lnTo>
                <a:lnTo>
                  <a:pt x="73618" y="7738"/>
                </a:lnTo>
                <a:lnTo>
                  <a:pt x="72501" y="9041"/>
                </a:lnTo>
                <a:lnTo>
                  <a:pt x="72990" y="10019"/>
                </a:lnTo>
                <a:lnTo>
                  <a:pt x="73481" y="10670"/>
                </a:lnTo>
                <a:lnTo>
                  <a:pt x="73690" y="13197"/>
                </a:lnTo>
                <a:lnTo>
                  <a:pt x="74807" y="19061"/>
                </a:lnTo>
                <a:lnTo>
                  <a:pt x="76554" y="23052"/>
                </a:lnTo>
                <a:lnTo>
                  <a:pt x="85843" y="33646"/>
                </a:lnTo>
                <a:lnTo>
                  <a:pt x="88569" y="36251"/>
                </a:lnTo>
                <a:lnTo>
                  <a:pt x="88569" y="40976"/>
                </a:lnTo>
                <a:lnTo>
                  <a:pt x="90175" y="43178"/>
                </a:lnTo>
                <a:lnTo>
                  <a:pt x="96320" y="42770"/>
                </a:lnTo>
                <a:lnTo>
                  <a:pt x="97299" y="44479"/>
                </a:lnTo>
                <a:lnTo>
                  <a:pt x="99254" y="45132"/>
                </a:lnTo>
                <a:lnTo>
                  <a:pt x="98276" y="47903"/>
                </a:lnTo>
                <a:lnTo>
                  <a:pt x="97857" y="52056"/>
                </a:lnTo>
                <a:lnTo>
                  <a:pt x="96602" y="54908"/>
                </a:lnTo>
                <a:lnTo>
                  <a:pt x="95482" y="57840"/>
                </a:lnTo>
                <a:lnTo>
                  <a:pt x="94993" y="61424"/>
                </a:lnTo>
                <a:lnTo>
                  <a:pt x="100094" y="67454"/>
                </a:lnTo>
                <a:lnTo>
                  <a:pt x="103795" y="70957"/>
                </a:lnTo>
                <a:lnTo>
                  <a:pt x="108405" y="71607"/>
                </a:lnTo>
                <a:lnTo>
                  <a:pt x="111059" y="77718"/>
                </a:lnTo>
                <a:lnTo>
                  <a:pt x="112664" y="80978"/>
                </a:lnTo>
                <a:lnTo>
                  <a:pt x="112736" y="83585"/>
                </a:lnTo>
                <a:lnTo>
                  <a:pt x="112177" y="84725"/>
                </a:lnTo>
                <a:lnTo>
                  <a:pt x="113224" y="86844"/>
                </a:lnTo>
                <a:lnTo>
                  <a:pt x="113574" y="89858"/>
                </a:lnTo>
                <a:lnTo>
                  <a:pt x="115459" y="92627"/>
                </a:lnTo>
                <a:lnTo>
                  <a:pt x="118882" y="92463"/>
                </a:lnTo>
                <a:lnTo>
                  <a:pt x="120000" y="94338"/>
                </a:lnTo>
                <a:lnTo>
                  <a:pt x="119092" y="100855"/>
                </a:lnTo>
                <a:lnTo>
                  <a:pt x="117905" y="102404"/>
                </a:lnTo>
                <a:lnTo>
                  <a:pt x="115948" y="102239"/>
                </a:lnTo>
                <a:lnTo>
                  <a:pt x="115179" y="105417"/>
                </a:lnTo>
                <a:lnTo>
                  <a:pt x="112875" y="105500"/>
                </a:lnTo>
                <a:lnTo>
                  <a:pt x="112806" y="112506"/>
                </a:lnTo>
                <a:lnTo>
                  <a:pt x="109872" y="119267"/>
                </a:lnTo>
                <a:lnTo>
                  <a:pt x="104703" y="120000"/>
                </a:lnTo>
                <a:lnTo>
                  <a:pt x="98907" y="119920"/>
                </a:lnTo>
                <a:lnTo>
                  <a:pt x="100233" y="116006"/>
                </a:lnTo>
                <a:lnTo>
                  <a:pt x="102957" y="113157"/>
                </a:lnTo>
                <a:lnTo>
                  <a:pt x="103307" y="109084"/>
                </a:lnTo>
                <a:lnTo>
                  <a:pt x="101979" y="107047"/>
                </a:lnTo>
                <a:lnTo>
                  <a:pt x="71454" y="108593"/>
                </a:lnTo>
                <a:close/>
              </a:path>
            </a:pathLst>
          </a:custGeom>
          <a:solidFill>
            <a:srgbClr val="E06666"/>
          </a:solidFill>
          <a:ln w="9525" cap="flat" cmpd="sng">
            <a:solidFill>
              <a:srgbClr val="FFFFFF"/>
            </a:solidFill>
            <a:prstDash val="solid"/>
            <a:round/>
            <a:headEnd type="none" w="sm" len="sm"/>
            <a:tailEnd type="none" w="sm" len="sm"/>
          </a:ln>
        </p:spPr>
      </p:sp>
      <p:sp>
        <p:nvSpPr>
          <p:cNvPr id="257" name="Google Shape;257;p34"/>
          <p:cNvSpPr/>
          <p:nvPr/>
        </p:nvSpPr>
        <p:spPr>
          <a:xfrm>
            <a:off x="7691675" y="2556604"/>
            <a:ext cx="640800" cy="682400"/>
          </a:xfrm>
          <a:custGeom>
            <a:avLst/>
            <a:gdLst/>
            <a:ahLst/>
            <a:cxnLst/>
            <a:rect l="l" t="t" r="r" b="b"/>
            <a:pathLst>
              <a:path w="120000" h="120000" extrusionOk="0">
                <a:moveTo>
                  <a:pt x="14066" y="6685"/>
                </a:moveTo>
                <a:lnTo>
                  <a:pt x="16380" y="8524"/>
                </a:lnTo>
                <a:lnTo>
                  <a:pt x="20653" y="8524"/>
                </a:lnTo>
                <a:lnTo>
                  <a:pt x="25460" y="6184"/>
                </a:lnTo>
                <a:lnTo>
                  <a:pt x="30623" y="4680"/>
                </a:lnTo>
                <a:lnTo>
                  <a:pt x="35075" y="2507"/>
                </a:lnTo>
                <a:lnTo>
                  <a:pt x="37567" y="0"/>
                </a:lnTo>
                <a:lnTo>
                  <a:pt x="40772" y="669"/>
                </a:lnTo>
                <a:lnTo>
                  <a:pt x="41840" y="2507"/>
                </a:lnTo>
                <a:lnTo>
                  <a:pt x="38813" y="5850"/>
                </a:lnTo>
                <a:lnTo>
                  <a:pt x="37567" y="9861"/>
                </a:lnTo>
                <a:lnTo>
                  <a:pt x="39881" y="9861"/>
                </a:lnTo>
                <a:lnTo>
                  <a:pt x="41484" y="8357"/>
                </a:lnTo>
                <a:lnTo>
                  <a:pt x="45401" y="10028"/>
                </a:lnTo>
                <a:lnTo>
                  <a:pt x="48071" y="10864"/>
                </a:lnTo>
                <a:lnTo>
                  <a:pt x="50742" y="11365"/>
                </a:lnTo>
                <a:lnTo>
                  <a:pt x="53235" y="14875"/>
                </a:lnTo>
                <a:lnTo>
                  <a:pt x="55549" y="16546"/>
                </a:lnTo>
                <a:lnTo>
                  <a:pt x="70327" y="19555"/>
                </a:lnTo>
                <a:lnTo>
                  <a:pt x="74777" y="19721"/>
                </a:lnTo>
                <a:lnTo>
                  <a:pt x="78873" y="22396"/>
                </a:lnTo>
                <a:lnTo>
                  <a:pt x="84036" y="22563"/>
                </a:lnTo>
                <a:lnTo>
                  <a:pt x="89199" y="24067"/>
                </a:lnTo>
                <a:lnTo>
                  <a:pt x="94897" y="24067"/>
                </a:lnTo>
                <a:lnTo>
                  <a:pt x="96321" y="25738"/>
                </a:lnTo>
                <a:lnTo>
                  <a:pt x="95786" y="28412"/>
                </a:lnTo>
                <a:lnTo>
                  <a:pt x="100950" y="29248"/>
                </a:lnTo>
                <a:lnTo>
                  <a:pt x="102908" y="31086"/>
                </a:lnTo>
                <a:lnTo>
                  <a:pt x="104155" y="42619"/>
                </a:lnTo>
                <a:lnTo>
                  <a:pt x="107537" y="46296"/>
                </a:lnTo>
                <a:lnTo>
                  <a:pt x="103976" y="50307"/>
                </a:lnTo>
                <a:lnTo>
                  <a:pt x="101484" y="56658"/>
                </a:lnTo>
                <a:lnTo>
                  <a:pt x="100415" y="59332"/>
                </a:lnTo>
                <a:lnTo>
                  <a:pt x="101128" y="61838"/>
                </a:lnTo>
                <a:lnTo>
                  <a:pt x="103620" y="60335"/>
                </a:lnTo>
                <a:lnTo>
                  <a:pt x="105579" y="58663"/>
                </a:lnTo>
                <a:lnTo>
                  <a:pt x="107003" y="54987"/>
                </a:lnTo>
                <a:lnTo>
                  <a:pt x="110208" y="50975"/>
                </a:lnTo>
                <a:lnTo>
                  <a:pt x="113234" y="47633"/>
                </a:lnTo>
                <a:lnTo>
                  <a:pt x="115549" y="44123"/>
                </a:lnTo>
                <a:lnTo>
                  <a:pt x="116618" y="41950"/>
                </a:lnTo>
                <a:lnTo>
                  <a:pt x="119822" y="39443"/>
                </a:lnTo>
                <a:lnTo>
                  <a:pt x="120000" y="42953"/>
                </a:lnTo>
                <a:lnTo>
                  <a:pt x="118576" y="46462"/>
                </a:lnTo>
                <a:lnTo>
                  <a:pt x="116083" y="50474"/>
                </a:lnTo>
                <a:lnTo>
                  <a:pt x="114303" y="55321"/>
                </a:lnTo>
                <a:lnTo>
                  <a:pt x="111810" y="60501"/>
                </a:lnTo>
                <a:lnTo>
                  <a:pt x="110742" y="65349"/>
                </a:lnTo>
                <a:lnTo>
                  <a:pt x="111989" y="71365"/>
                </a:lnTo>
                <a:lnTo>
                  <a:pt x="109318" y="73371"/>
                </a:lnTo>
                <a:lnTo>
                  <a:pt x="108605" y="76045"/>
                </a:lnTo>
                <a:lnTo>
                  <a:pt x="109496" y="84568"/>
                </a:lnTo>
                <a:lnTo>
                  <a:pt x="107716" y="88413"/>
                </a:lnTo>
                <a:lnTo>
                  <a:pt x="106113" y="95599"/>
                </a:lnTo>
                <a:lnTo>
                  <a:pt x="107003" y="100279"/>
                </a:lnTo>
                <a:lnTo>
                  <a:pt x="108784" y="107131"/>
                </a:lnTo>
                <a:lnTo>
                  <a:pt x="110208" y="111477"/>
                </a:lnTo>
                <a:lnTo>
                  <a:pt x="110208" y="116825"/>
                </a:lnTo>
                <a:lnTo>
                  <a:pt x="83146" y="118162"/>
                </a:lnTo>
                <a:lnTo>
                  <a:pt x="50208" y="120000"/>
                </a:lnTo>
                <a:lnTo>
                  <a:pt x="48606" y="116323"/>
                </a:lnTo>
                <a:lnTo>
                  <a:pt x="41484" y="115320"/>
                </a:lnTo>
                <a:lnTo>
                  <a:pt x="38635" y="110474"/>
                </a:lnTo>
                <a:lnTo>
                  <a:pt x="38457" y="105126"/>
                </a:lnTo>
                <a:lnTo>
                  <a:pt x="40060" y="103120"/>
                </a:lnTo>
                <a:lnTo>
                  <a:pt x="40060" y="99778"/>
                </a:lnTo>
                <a:lnTo>
                  <a:pt x="36677" y="97772"/>
                </a:lnTo>
                <a:lnTo>
                  <a:pt x="36143" y="93928"/>
                </a:lnTo>
                <a:lnTo>
                  <a:pt x="35964" y="84903"/>
                </a:lnTo>
                <a:lnTo>
                  <a:pt x="21721" y="74708"/>
                </a:lnTo>
                <a:lnTo>
                  <a:pt x="18872" y="70363"/>
                </a:lnTo>
                <a:lnTo>
                  <a:pt x="15312" y="69861"/>
                </a:lnTo>
                <a:lnTo>
                  <a:pt x="13354" y="66852"/>
                </a:lnTo>
                <a:lnTo>
                  <a:pt x="9258" y="66017"/>
                </a:lnTo>
                <a:lnTo>
                  <a:pt x="5876" y="64513"/>
                </a:lnTo>
                <a:lnTo>
                  <a:pt x="3027" y="62173"/>
                </a:lnTo>
                <a:lnTo>
                  <a:pt x="2136" y="48970"/>
                </a:lnTo>
                <a:lnTo>
                  <a:pt x="4629" y="45961"/>
                </a:lnTo>
                <a:lnTo>
                  <a:pt x="4808" y="42117"/>
                </a:lnTo>
                <a:lnTo>
                  <a:pt x="3027" y="40279"/>
                </a:lnTo>
                <a:lnTo>
                  <a:pt x="0" y="39109"/>
                </a:lnTo>
                <a:lnTo>
                  <a:pt x="712" y="34763"/>
                </a:lnTo>
                <a:lnTo>
                  <a:pt x="3027" y="29917"/>
                </a:lnTo>
                <a:lnTo>
                  <a:pt x="11039" y="25571"/>
                </a:lnTo>
                <a:lnTo>
                  <a:pt x="10861" y="10362"/>
                </a:lnTo>
                <a:lnTo>
                  <a:pt x="12285" y="8190"/>
                </a:lnTo>
                <a:close/>
              </a:path>
            </a:pathLst>
          </a:custGeom>
          <a:solidFill>
            <a:srgbClr val="E06666"/>
          </a:solidFill>
          <a:ln w="9525" cap="flat" cmpd="sng">
            <a:solidFill>
              <a:srgbClr val="FFFFFF"/>
            </a:solidFill>
            <a:prstDash val="solid"/>
            <a:round/>
            <a:headEnd type="none" w="sm" len="sm"/>
            <a:tailEnd type="none" w="sm" len="sm"/>
          </a:ln>
        </p:spPr>
      </p:sp>
      <p:sp>
        <p:nvSpPr>
          <p:cNvPr id="258" name="Google Shape;258;p34"/>
          <p:cNvSpPr/>
          <p:nvPr/>
        </p:nvSpPr>
        <p:spPr>
          <a:xfrm>
            <a:off x="7931272" y="4381203"/>
            <a:ext cx="429600" cy="757600"/>
          </a:xfrm>
          <a:custGeom>
            <a:avLst/>
            <a:gdLst/>
            <a:ahLst/>
            <a:cxnLst/>
            <a:rect l="l" t="t" r="r" b="b"/>
            <a:pathLst>
              <a:path w="120000" h="120000" extrusionOk="0">
                <a:moveTo>
                  <a:pt x="76990" y="120000"/>
                </a:moveTo>
                <a:lnTo>
                  <a:pt x="75400" y="118044"/>
                </a:lnTo>
                <a:lnTo>
                  <a:pt x="75663" y="115182"/>
                </a:lnTo>
                <a:lnTo>
                  <a:pt x="71417" y="112020"/>
                </a:lnTo>
                <a:lnTo>
                  <a:pt x="66905" y="109914"/>
                </a:lnTo>
                <a:lnTo>
                  <a:pt x="66372" y="107353"/>
                </a:lnTo>
                <a:lnTo>
                  <a:pt x="69825" y="100727"/>
                </a:lnTo>
                <a:lnTo>
                  <a:pt x="68232" y="99374"/>
                </a:lnTo>
                <a:lnTo>
                  <a:pt x="64779" y="100276"/>
                </a:lnTo>
                <a:lnTo>
                  <a:pt x="0" y="101931"/>
                </a:lnTo>
                <a:lnTo>
                  <a:pt x="0" y="97115"/>
                </a:lnTo>
                <a:lnTo>
                  <a:pt x="1593" y="95006"/>
                </a:lnTo>
                <a:lnTo>
                  <a:pt x="3716" y="88381"/>
                </a:lnTo>
                <a:lnTo>
                  <a:pt x="6905" y="84317"/>
                </a:lnTo>
                <a:lnTo>
                  <a:pt x="18583" y="75132"/>
                </a:lnTo>
                <a:lnTo>
                  <a:pt x="18849" y="73325"/>
                </a:lnTo>
                <a:lnTo>
                  <a:pt x="16726" y="71972"/>
                </a:lnTo>
                <a:lnTo>
                  <a:pt x="20442" y="71970"/>
                </a:lnTo>
                <a:lnTo>
                  <a:pt x="20442" y="67904"/>
                </a:lnTo>
                <a:lnTo>
                  <a:pt x="16990" y="66851"/>
                </a:lnTo>
                <a:lnTo>
                  <a:pt x="14600" y="65496"/>
                </a:lnTo>
                <a:lnTo>
                  <a:pt x="16196" y="63388"/>
                </a:lnTo>
                <a:lnTo>
                  <a:pt x="13274" y="62333"/>
                </a:lnTo>
                <a:lnTo>
                  <a:pt x="11681" y="57667"/>
                </a:lnTo>
                <a:lnTo>
                  <a:pt x="11417" y="53752"/>
                </a:lnTo>
                <a:lnTo>
                  <a:pt x="12207" y="52933"/>
                </a:lnTo>
                <a:lnTo>
                  <a:pt x="14867" y="52548"/>
                </a:lnTo>
                <a:lnTo>
                  <a:pt x="14867" y="47127"/>
                </a:lnTo>
                <a:lnTo>
                  <a:pt x="11151" y="43815"/>
                </a:lnTo>
                <a:lnTo>
                  <a:pt x="10888" y="40352"/>
                </a:lnTo>
                <a:lnTo>
                  <a:pt x="12211" y="38545"/>
                </a:lnTo>
                <a:lnTo>
                  <a:pt x="11151" y="36438"/>
                </a:lnTo>
                <a:lnTo>
                  <a:pt x="12740" y="29209"/>
                </a:lnTo>
                <a:lnTo>
                  <a:pt x="19646" y="27705"/>
                </a:lnTo>
                <a:lnTo>
                  <a:pt x="19382" y="25747"/>
                </a:lnTo>
                <a:lnTo>
                  <a:pt x="16726" y="25295"/>
                </a:lnTo>
                <a:lnTo>
                  <a:pt x="19912" y="23337"/>
                </a:lnTo>
                <a:lnTo>
                  <a:pt x="24954" y="18520"/>
                </a:lnTo>
                <a:lnTo>
                  <a:pt x="30267" y="18218"/>
                </a:lnTo>
                <a:lnTo>
                  <a:pt x="29470" y="12196"/>
                </a:lnTo>
                <a:lnTo>
                  <a:pt x="34246" y="6926"/>
                </a:lnTo>
                <a:lnTo>
                  <a:pt x="38495" y="6625"/>
                </a:lnTo>
                <a:lnTo>
                  <a:pt x="37965" y="2711"/>
                </a:lnTo>
                <a:lnTo>
                  <a:pt x="68232" y="2108"/>
                </a:lnTo>
                <a:lnTo>
                  <a:pt x="112302" y="0"/>
                </a:lnTo>
                <a:lnTo>
                  <a:pt x="114691" y="2711"/>
                </a:lnTo>
                <a:lnTo>
                  <a:pt x="112302" y="65044"/>
                </a:lnTo>
                <a:lnTo>
                  <a:pt x="113365" y="78294"/>
                </a:lnTo>
                <a:lnTo>
                  <a:pt x="116018" y="90490"/>
                </a:lnTo>
                <a:lnTo>
                  <a:pt x="116551" y="95458"/>
                </a:lnTo>
                <a:lnTo>
                  <a:pt x="118674" y="99675"/>
                </a:lnTo>
                <a:lnTo>
                  <a:pt x="120000" y="111870"/>
                </a:lnTo>
                <a:lnTo>
                  <a:pt x="119204" y="114732"/>
                </a:lnTo>
                <a:lnTo>
                  <a:pt x="108056" y="114581"/>
                </a:lnTo>
                <a:lnTo>
                  <a:pt x="104070" y="113225"/>
                </a:lnTo>
                <a:lnTo>
                  <a:pt x="97965" y="113827"/>
                </a:lnTo>
                <a:lnTo>
                  <a:pt x="93449" y="114581"/>
                </a:lnTo>
                <a:lnTo>
                  <a:pt x="87877" y="115333"/>
                </a:lnTo>
                <a:lnTo>
                  <a:pt x="85214" y="114583"/>
                </a:lnTo>
                <a:lnTo>
                  <a:pt x="83361" y="116237"/>
                </a:lnTo>
                <a:lnTo>
                  <a:pt x="81239" y="118044"/>
                </a:lnTo>
                <a:close/>
              </a:path>
            </a:pathLst>
          </a:custGeom>
          <a:solidFill>
            <a:srgbClr val="E53935"/>
          </a:solidFill>
          <a:ln w="9525" cap="flat" cmpd="sng">
            <a:solidFill>
              <a:srgbClr val="FFFFFF"/>
            </a:solidFill>
            <a:prstDash val="solid"/>
            <a:round/>
            <a:headEnd type="none" w="sm" len="sm"/>
            <a:tailEnd type="none" w="sm" len="sm"/>
          </a:ln>
        </p:spPr>
      </p:sp>
      <p:sp>
        <p:nvSpPr>
          <p:cNvPr id="259" name="Google Shape;259;p34"/>
          <p:cNvSpPr/>
          <p:nvPr/>
        </p:nvSpPr>
        <p:spPr>
          <a:xfrm>
            <a:off x="7224843" y="2201956"/>
            <a:ext cx="810800" cy="902400"/>
          </a:xfrm>
          <a:custGeom>
            <a:avLst/>
            <a:gdLst/>
            <a:ahLst/>
            <a:cxnLst/>
            <a:rect l="l" t="t" r="r" b="b"/>
            <a:pathLst>
              <a:path w="120000" h="120000" extrusionOk="0">
                <a:moveTo>
                  <a:pt x="0" y="7587"/>
                </a:moveTo>
                <a:lnTo>
                  <a:pt x="32215" y="8093"/>
                </a:lnTo>
                <a:lnTo>
                  <a:pt x="32075" y="0"/>
                </a:lnTo>
                <a:lnTo>
                  <a:pt x="34607" y="379"/>
                </a:lnTo>
                <a:lnTo>
                  <a:pt x="36577" y="759"/>
                </a:lnTo>
                <a:lnTo>
                  <a:pt x="37843" y="4299"/>
                </a:lnTo>
                <a:lnTo>
                  <a:pt x="38405" y="8472"/>
                </a:lnTo>
                <a:lnTo>
                  <a:pt x="39109" y="12392"/>
                </a:lnTo>
                <a:lnTo>
                  <a:pt x="41219" y="13783"/>
                </a:lnTo>
                <a:lnTo>
                  <a:pt x="46283" y="13783"/>
                </a:lnTo>
                <a:lnTo>
                  <a:pt x="46283" y="15047"/>
                </a:lnTo>
                <a:lnTo>
                  <a:pt x="52333" y="15047"/>
                </a:lnTo>
                <a:lnTo>
                  <a:pt x="52755" y="17323"/>
                </a:lnTo>
                <a:lnTo>
                  <a:pt x="57819" y="17070"/>
                </a:lnTo>
                <a:lnTo>
                  <a:pt x="58663" y="15553"/>
                </a:lnTo>
                <a:lnTo>
                  <a:pt x="60211" y="14794"/>
                </a:lnTo>
                <a:lnTo>
                  <a:pt x="63728" y="14794"/>
                </a:lnTo>
                <a:lnTo>
                  <a:pt x="66260" y="14794"/>
                </a:lnTo>
                <a:lnTo>
                  <a:pt x="75967" y="19979"/>
                </a:lnTo>
                <a:lnTo>
                  <a:pt x="80047" y="19473"/>
                </a:lnTo>
                <a:lnTo>
                  <a:pt x="80891" y="21749"/>
                </a:lnTo>
                <a:lnTo>
                  <a:pt x="84267" y="22761"/>
                </a:lnTo>
                <a:lnTo>
                  <a:pt x="86378" y="24784"/>
                </a:lnTo>
                <a:lnTo>
                  <a:pt x="89191" y="25416"/>
                </a:lnTo>
                <a:lnTo>
                  <a:pt x="91864" y="25163"/>
                </a:lnTo>
                <a:lnTo>
                  <a:pt x="95663" y="22128"/>
                </a:lnTo>
                <a:lnTo>
                  <a:pt x="98054" y="21117"/>
                </a:lnTo>
                <a:lnTo>
                  <a:pt x="99883" y="23014"/>
                </a:lnTo>
                <a:lnTo>
                  <a:pt x="100586" y="24278"/>
                </a:lnTo>
                <a:lnTo>
                  <a:pt x="103118" y="23520"/>
                </a:lnTo>
                <a:lnTo>
                  <a:pt x="111559" y="23393"/>
                </a:lnTo>
                <a:lnTo>
                  <a:pt x="111841" y="25037"/>
                </a:lnTo>
                <a:lnTo>
                  <a:pt x="113670" y="25922"/>
                </a:lnTo>
                <a:lnTo>
                  <a:pt x="120000" y="24657"/>
                </a:lnTo>
                <a:lnTo>
                  <a:pt x="116905" y="26933"/>
                </a:lnTo>
                <a:lnTo>
                  <a:pt x="112685" y="29083"/>
                </a:lnTo>
                <a:lnTo>
                  <a:pt x="110012" y="29842"/>
                </a:lnTo>
                <a:lnTo>
                  <a:pt x="105088" y="31738"/>
                </a:lnTo>
                <a:lnTo>
                  <a:pt x="102274" y="33256"/>
                </a:lnTo>
                <a:lnTo>
                  <a:pt x="97772" y="35785"/>
                </a:lnTo>
                <a:lnTo>
                  <a:pt x="94537" y="39072"/>
                </a:lnTo>
                <a:lnTo>
                  <a:pt x="90598" y="43878"/>
                </a:lnTo>
                <a:lnTo>
                  <a:pt x="84267" y="49062"/>
                </a:lnTo>
                <a:lnTo>
                  <a:pt x="80891" y="51591"/>
                </a:lnTo>
                <a:lnTo>
                  <a:pt x="78640" y="53614"/>
                </a:lnTo>
                <a:lnTo>
                  <a:pt x="77656" y="55132"/>
                </a:lnTo>
                <a:lnTo>
                  <a:pt x="77656" y="66512"/>
                </a:lnTo>
                <a:lnTo>
                  <a:pt x="74701" y="68409"/>
                </a:lnTo>
                <a:lnTo>
                  <a:pt x="71325" y="70053"/>
                </a:lnTo>
                <a:lnTo>
                  <a:pt x="69777" y="73341"/>
                </a:lnTo>
                <a:lnTo>
                  <a:pt x="69074" y="76754"/>
                </a:lnTo>
                <a:lnTo>
                  <a:pt x="71606" y="77640"/>
                </a:lnTo>
                <a:lnTo>
                  <a:pt x="72731" y="79157"/>
                </a:lnTo>
                <a:lnTo>
                  <a:pt x="72591" y="81939"/>
                </a:lnTo>
                <a:lnTo>
                  <a:pt x="70762" y="84215"/>
                </a:lnTo>
                <a:lnTo>
                  <a:pt x="71606" y="94331"/>
                </a:lnTo>
                <a:lnTo>
                  <a:pt x="73857" y="95975"/>
                </a:lnTo>
                <a:lnTo>
                  <a:pt x="76249" y="97113"/>
                </a:lnTo>
                <a:lnTo>
                  <a:pt x="79625" y="97745"/>
                </a:lnTo>
                <a:lnTo>
                  <a:pt x="81172" y="100021"/>
                </a:lnTo>
                <a:lnTo>
                  <a:pt x="83986" y="100401"/>
                </a:lnTo>
                <a:lnTo>
                  <a:pt x="86237" y="103688"/>
                </a:lnTo>
                <a:lnTo>
                  <a:pt x="89050" y="105712"/>
                </a:lnTo>
                <a:lnTo>
                  <a:pt x="93833" y="108746"/>
                </a:lnTo>
                <a:lnTo>
                  <a:pt x="97351" y="111401"/>
                </a:lnTo>
                <a:lnTo>
                  <a:pt x="97632" y="118230"/>
                </a:lnTo>
                <a:lnTo>
                  <a:pt x="62040" y="119368"/>
                </a:lnTo>
                <a:lnTo>
                  <a:pt x="30809" y="120000"/>
                </a:lnTo>
                <a:lnTo>
                  <a:pt x="12099" y="119874"/>
                </a:lnTo>
                <a:lnTo>
                  <a:pt x="12239" y="83709"/>
                </a:lnTo>
                <a:lnTo>
                  <a:pt x="11254" y="81686"/>
                </a:lnTo>
                <a:lnTo>
                  <a:pt x="8862" y="80548"/>
                </a:lnTo>
                <a:lnTo>
                  <a:pt x="6612" y="78399"/>
                </a:lnTo>
                <a:lnTo>
                  <a:pt x="5909" y="76249"/>
                </a:lnTo>
                <a:lnTo>
                  <a:pt x="10269" y="73214"/>
                </a:lnTo>
                <a:lnTo>
                  <a:pt x="10269" y="62972"/>
                </a:lnTo>
                <a:lnTo>
                  <a:pt x="7034" y="56143"/>
                </a:lnTo>
                <a:lnTo>
                  <a:pt x="5768" y="33383"/>
                </a:lnTo>
                <a:lnTo>
                  <a:pt x="4079" y="31612"/>
                </a:lnTo>
                <a:lnTo>
                  <a:pt x="2954" y="29083"/>
                </a:lnTo>
                <a:lnTo>
                  <a:pt x="2110" y="26049"/>
                </a:lnTo>
                <a:lnTo>
                  <a:pt x="2110" y="15806"/>
                </a:lnTo>
                <a:lnTo>
                  <a:pt x="2391" y="13024"/>
                </a:lnTo>
                <a:lnTo>
                  <a:pt x="1266" y="9863"/>
                </a:lnTo>
                <a:close/>
              </a:path>
            </a:pathLst>
          </a:custGeom>
          <a:solidFill>
            <a:srgbClr val="E06666"/>
          </a:solidFill>
          <a:ln w="9525" cap="flat" cmpd="sng">
            <a:solidFill>
              <a:srgbClr val="FFFFFF"/>
            </a:solidFill>
            <a:prstDash val="solid"/>
            <a:round/>
            <a:headEnd type="none" w="sm" len="sm"/>
            <a:tailEnd type="none" w="sm" len="sm"/>
          </a:ln>
        </p:spPr>
      </p:sp>
      <p:sp>
        <p:nvSpPr>
          <p:cNvPr id="260" name="Google Shape;260;p34"/>
          <p:cNvSpPr/>
          <p:nvPr/>
        </p:nvSpPr>
        <p:spPr>
          <a:xfrm>
            <a:off x="4100411" y="2868408"/>
            <a:ext cx="978800" cy="1669600"/>
          </a:xfrm>
          <a:custGeom>
            <a:avLst/>
            <a:gdLst/>
            <a:ahLst/>
            <a:cxnLst/>
            <a:rect l="l" t="t" r="r" b="b"/>
            <a:pathLst>
              <a:path w="120000" h="120000" extrusionOk="0">
                <a:moveTo>
                  <a:pt x="1183" y="32679"/>
                </a:moveTo>
                <a:lnTo>
                  <a:pt x="1183" y="34297"/>
                </a:lnTo>
                <a:lnTo>
                  <a:pt x="3680" y="36070"/>
                </a:lnTo>
                <a:lnTo>
                  <a:pt x="5257" y="37996"/>
                </a:lnTo>
                <a:lnTo>
                  <a:pt x="7755" y="40308"/>
                </a:lnTo>
                <a:lnTo>
                  <a:pt x="8281" y="42235"/>
                </a:lnTo>
                <a:lnTo>
                  <a:pt x="7622" y="43777"/>
                </a:lnTo>
                <a:lnTo>
                  <a:pt x="7886" y="45164"/>
                </a:lnTo>
                <a:lnTo>
                  <a:pt x="11566" y="47629"/>
                </a:lnTo>
                <a:lnTo>
                  <a:pt x="12747" y="48400"/>
                </a:lnTo>
                <a:lnTo>
                  <a:pt x="13797" y="48093"/>
                </a:lnTo>
                <a:lnTo>
                  <a:pt x="13407" y="47629"/>
                </a:lnTo>
                <a:lnTo>
                  <a:pt x="13407" y="46243"/>
                </a:lnTo>
                <a:lnTo>
                  <a:pt x="15246" y="45009"/>
                </a:lnTo>
                <a:lnTo>
                  <a:pt x="16167" y="45319"/>
                </a:lnTo>
                <a:lnTo>
                  <a:pt x="16561" y="45935"/>
                </a:lnTo>
                <a:lnTo>
                  <a:pt x="16560" y="46860"/>
                </a:lnTo>
                <a:lnTo>
                  <a:pt x="14722" y="46860"/>
                </a:lnTo>
                <a:lnTo>
                  <a:pt x="16561" y="50404"/>
                </a:lnTo>
                <a:lnTo>
                  <a:pt x="16824" y="52563"/>
                </a:lnTo>
                <a:lnTo>
                  <a:pt x="14722" y="52332"/>
                </a:lnTo>
                <a:lnTo>
                  <a:pt x="13407" y="51329"/>
                </a:lnTo>
                <a:lnTo>
                  <a:pt x="13407" y="49788"/>
                </a:lnTo>
                <a:lnTo>
                  <a:pt x="14195" y="48863"/>
                </a:lnTo>
                <a:lnTo>
                  <a:pt x="12092" y="48863"/>
                </a:lnTo>
                <a:lnTo>
                  <a:pt x="11435" y="49943"/>
                </a:lnTo>
                <a:lnTo>
                  <a:pt x="10909" y="51406"/>
                </a:lnTo>
                <a:lnTo>
                  <a:pt x="10780" y="55722"/>
                </a:lnTo>
                <a:lnTo>
                  <a:pt x="12880" y="57804"/>
                </a:lnTo>
                <a:lnTo>
                  <a:pt x="13934" y="58882"/>
                </a:lnTo>
                <a:lnTo>
                  <a:pt x="16691" y="58805"/>
                </a:lnTo>
                <a:lnTo>
                  <a:pt x="17875" y="60038"/>
                </a:lnTo>
                <a:lnTo>
                  <a:pt x="17087" y="62043"/>
                </a:lnTo>
                <a:lnTo>
                  <a:pt x="15510" y="63044"/>
                </a:lnTo>
                <a:lnTo>
                  <a:pt x="14326" y="62813"/>
                </a:lnTo>
                <a:lnTo>
                  <a:pt x="13934" y="63584"/>
                </a:lnTo>
                <a:lnTo>
                  <a:pt x="13539" y="65049"/>
                </a:lnTo>
                <a:lnTo>
                  <a:pt x="14062" y="66975"/>
                </a:lnTo>
                <a:lnTo>
                  <a:pt x="16167" y="67513"/>
                </a:lnTo>
                <a:lnTo>
                  <a:pt x="17614" y="70058"/>
                </a:lnTo>
                <a:lnTo>
                  <a:pt x="19058" y="73603"/>
                </a:lnTo>
                <a:lnTo>
                  <a:pt x="19979" y="74914"/>
                </a:lnTo>
                <a:lnTo>
                  <a:pt x="23001" y="77842"/>
                </a:lnTo>
                <a:lnTo>
                  <a:pt x="24710" y="79537"/>
                </a:lnTo>
                <a:lnTo>
                  <a:pt x="25106" y="81233"/>
                </a:lnTo>
                <a:lnTo>
                  <a:pt x="26552" y="82081"/>
                </a:lnTo>
                <a:lnTo>
                  <a:pt x="25235" y="83623"/>
                </a:lnTo>
                <a:lnTo>
                  <a:pt x="23791" y="87554"/>
                </a:lnTo>
                <a:lnTo>
                  <a:pt x="23922" y="88709"/>
                </a:lnTo>
                <a:lnTo>
                  <a:pt x="26025" y="89557"/>
                </a:lnTo>
                <a:lnTo>
                  <a:pt x="29574" y="89557"/>
                </a:lnTo>
                <a:lnTo>
                  <a:pt x="33648" y="90713"/>
                </a:lnTo>
                <a:lnTo>
                  <a:pt x="36407" y="91714"/>
                </a:lnTo>
                <a:lnTo>
                  <a:pt x="39035" y="91714"/>
                </a:lnTo>
                <a:lnTo>
                  <a:pt x="41533" y="93410"/>
                </a:lnTo>
                <a:lnTo>
                  <a:pt x="43900" y="95954"/>
                </a:lnTo>
                <a:lnTo>
                  <a:pt x="46265" y="97419"/>
                </a:lnTo>
                <a:lnTo>
                  <a:pt x="48893" y="97958"/>
                </a:lnTo>
                <a:lnTo>
                  <a:pt x="52048" y="97880"/>
                </a:lnTo>
                <a:lnTo>
                  <a:pt x="53755" y="98960"/>
                </a:lnTo>
                <a:lnTo>
                  <a:pt x="53755" y="100733"/>
                </a:lnTo>
                <a:lnTo>
                  <a:pt x="52703" y="101657"/>
                </a:lnTo>
                <a:lnTo>
                  <a:pt x="55333" y="102272"/>
                </a:lnTo>
                <a:lnTo>
                  <a:pt x="57570" y="102272"/>
                </a:lnTo>
                <a:lnTo>
                  <a:pt x="62695" y="106050"/>
                </a:lnTo>
                <a:lnTo>
                  <a:pt x="65983" y="108748"/>
                </a:lnTo>
                <a:lnTo>
                  <a:pt x="67162" y="111445"/>
                </a:lnTo>
                <a:lnTo>
                  <a:pt x="67162" y="116455"/>
                </a:lnTo>
                <a:lnTo>
                  <a:pt x="68216" y="117379"/>
                </a:lnTo>
                <a:lnTo>
                  <a:pt x="105674" y="120000"/>
                </a:lnTo>
                <a:lnTo>
                  <a:pt x="108039" y="119923"/>
                </a:lnTo>
                <a:lnTo>
                  <a:pt x="109616" y="119383"/>
                </a:lnTo>
                <a:lnTo>
                  <a:pt x="110142" y="118150"/>
                </a:lnTo>
                <a:lnTo>
                  <a:pt x="110275" y="116995"/>
                </a:lnTo>
                <a:lnTo>
                  <a:pt x="107384" y="116609"/>
                </a:lnTo>
                <a:lnTo>
                  <a:pt x="106850" y="116070"/>
                </a:lnTo>
                <a:lnTo>
                  <a:pt x="107649" y="115761"/>
                </a:lnTo>
                <a:lnTo>
                  <a:pt x="107649" y="112601"/>
                </a:lnTo>
                <a:lnTo>
                  <a:pt x="109616" y="112370"/>
                </a:lnTo>
                <a:lnTo>
                  <a:pt x="111983" y="110828"/>
                </a:lnTo>
                <a:lnTo>
                  <a:pt x="112245" y="108593"/>
                </a:lnTo>
                <a:lnTo>
                  <a:pt x="112903" y="107206"/>
                </a:lnTo>
                <a:lnTo>
                  <a:pt x="114612" y="105819"/>
                </a:lnTo>
                <a:lnTo>
                  <a:pt x="120000" y="104278"/>
                </a:lnTo>
                <a:lnTo>
                  <a:pt x="119869" y="102813"/>
                </a:lnTo>
                <a:lnTo>
                  <a:pt x="118423" y="102428"/>
                </a:lnTo>
                <a:lnTo>
                  <a:pt x="116452" y="98112"/>
                </a:lnTo>
                <a:lnTo>
                  <a:pt x="114875" y="96648"/>
                </a:lnTo>
                <a:lnTo>
                  <a:pt x="115137" y="95183"/>
                </a:lnTo>
                <a:lnTo>
                  <a:pt x="54676" y="42466"/>
                </a:lnTo>
                <a:lnTo>
                  <a:pt x="54676" y="39460"/>
                </a:lnTo>
                <a:lnTo>
                  <a:pt x="68081" y="9094"/>
                </a:lnTo>
                <a:lnTo>
                  <a:pt x="12222" y="0"/>
                </a:lnTo>
                <a:lnTo>
                  <a:pt x="11303" y="539"/>
                </a:lnTo>
                <a:lnTo>
                  <a:pt x="11040" y="1618"/>
                </a:lnTo>
                <a:lnTo>
                  <a:pt x="10778" y="5163"/>
                </a:lnTo>
                <a:lnTo>
                  <a:pt x="10253" y="6242"/>
                </a:lnTo>
                <a:lnTo>
                  <a:pt x="8806" y="8092"/>
                </a:lnTo>
                <a:lnTo>
                  <a:pt x="7360" y="10481"/>
                </a:lnTo>
                <a:lnTo>
                  <a:pt x="4863" y="12562"/>
                </a:lnTo>
                <a:lnTo>
                  <a:pt x="1841" y="14103"/>
                </a:lnTo>
                <a:lnTo>
                  <a:pt x="526" y="15336"/>
                </a:lnTo>
                <a:lnTo>
                  <a:pt x="0" y="17186"/>
                </a:lnTo>
                <a:lnTo>
                  <a:pt x="657" y="18650"/>
                </a:lnTo>
                <a:lnTo>
                  <a:pt x="2892" y="21194"/>
                </a:lnTo>
                <a:lnTo>
                  <a:pt x="4601" y="23430"/>
                </a:lnTo>
                <a:lnTo>
                  <a:pt x="4469" y="26666"/>
                </a:lnTo>
                <a:lnTo>
                  <a:pt x="2498" y="28593"/>
                </a:lnTo>
                <a:close/>
              </a:path>
            </a:pathLst>
          </a:custGeom>
          <a:solidFill>
            <a:srgbClr val="FBC02D"/>
          </a:solidFill>
          <a:ln w="9525" cap="flat" cmpd="sng">
            <a:solidFill>
              <a:srgbClr val="FFFFFF"/>
            </a:solidFill>
            <a:prstDash val="solid"/>
            <a:round/>
            <a:headEnd type="none" w="sm" len="sm"/>
            <a:tailEnd type="none" w="sm" len="sm"/>
          </a:ln>
        </p:spPr>
      </p:sp>
      <p:sp>
        <p:nvSpPr>
          <p:cNvPr id="261" name="Google Shape;261;p34"/>
          <p:cNvSpPr/>
          <p:nvPr/>
        </p:nvSpPr>
        <p:spPr>
          <a:xfrm>
            <a:off x="8871887" y="3542785"/>
            <a:ext cx="940800" cy="533200"/>
          </a:xfrm>
          <a:custGeom>
            <a:avLst/>
            <a:gdLst/>
            <a:ahLst/>
            <a:cxnLst/>
            <a:rect l="l" t="t" r="r" b="b"/>
            <a:pathLst>
              <a:path w="120000" h="120000" extrusionOk="0">
                <a:moveTo>
                  <a:pt x="0" y="120000"/>
                </a:moveTo>
                <a:lnTo>
                  <a:pt x="26330" y="114439"/>
                </a:lnTo>
                <a:lnTo>
                  <a:pt x="28029" y="112085"/>
                </a:lnTo>
                <a:lnTo>
                  <a:pt x="35430" y="112513"/>
                </a:lnTo>
                <a:lnTo>
                  <a:pt x="45379" y="109518"/>
                </a:lnTo>
                <a:lnTo>
                  <a:pt x="51325" y="108663"/>
                </a:lnTo>
                <a:lnTo>
                  <a:pt x="69889" y="103101"/>
                </a:lnTo>
                <a:lnTo>
                  <a:pt x="86997" y="97540"/>
                </a:lnTo>
                <a:lnTo>
                  <a:pt x="98645" y="93476"/>
                </a:lnTo>
                <a:lnTo>
                  <a:pt x="105683" y="90909"/>
                </a:lnTo>
                <a:lnTo>
                  <a:pt x="111628" y="87915"/>
                </a:lnTo>
                <a:lnTo>
                  <a:pt x="120000" y="85348"/>
                </a:lnTo>
                <a:lnTo>
                  <a:pt x="117816" y="77005"/>
                </a:lnTo>
                <a:lnTo>
                  <a:pt x="116603" y="73583"/>
                </a:lnTo>
                <a:lnTo>
                  <a:pt x="111870" y="75294"/>
                </a:lnTo>
                <a:lnTo>
                  <a:pt x="111749" y="79358"/>
                </a:lnTo>
                <a:lnTo>
                  <a:pt x="110539" y="79358"/>
                </a:lnTo>
                <a:lnTo>
                  <a:pt x="110414" y="76364"/>
                </a:lnTo>
                <a:lnTo>
                  <a:pt x="108230" y="76149"/>
                </a:lnTo>
                <a:lnTo>
                  <a:pt x="106411" y="69947"/>
                </a:lnTo>
                <a:lnTo>
                  <a:pt x="103377" y="67593"/>
                </a:lnTo>
                <a:lnTo>
                  <a:pt x="103256" y="64385"/>
                </a:lnTo>
                <a:lnTo>
                  <a:pt x="105076" y="64385"/>
                </a:lnTo>
                <a:lnTo>
                  <a:pt x="107988" y="69091"/>
                </a:lnTo>
                <a:lnTo>
                  <a:pt x="109444" y="73583"/>
                </a:lnTo>
                <a:lnTo>
                  <a:pt x="111628" y="73369"/>
                </a:lnTo>
                <a:lnTo>
                  <a:pt x="112356" y="70375"/>
                </a:lnTo>
                <a:lnTo>
                  <a:pt x="110900" y="66738"/>
                </a:lnTo>
                <a:lnTo>
                  <a:pt x="109080" y="63744"/>
                </a:lnTo>
                <a:lnTo>
                  <a:pt x="107502" y="60748"/>
                </a:lnTo>
                <a:lnTo>
                  <a:pt x="109080" y="59466"/>
                </a:lnTo>
                <a:lnTo>
                  <a:pt x="110657" y="61176"/>
                </a:lnTo>
                <a:lnTo>
                  <a:pt x="110536" y="56043"/>
                </a:lnTo>
                <a:lnTo>
                  <a:pt x="109201" y="51551"/>
                </a:lnTo>
                <a:lnTo>
                  <a:pt x="108473" y="48342"/>
                </a:lnTo>
                <a:lnTo>
                  <a:pt x="109080" y="42995"/>
                </a:lnTo>
                <a:lnTo>
                  <a:pt x="108109" y="40642"/>
                </a:lnTo>
                <a:lnTo>
                  <a:pt x="105197" y="40000"/>
                </a:lnTo>
                <a:lnTo>
                  <a:pt x="103741" y="37861"/>
                </a:lnTo>
                <a:lnTo>
                  <a:pt x="102164" y="35508"/>
                </a:lnTo>
                <a:lnTo>
                  <a:pt x="97674" y="35295"/>
                </a:lnTo>
                <a:lnTo>
                  <a:pt x="95611" y="32728"/>
                </a:lnTo>
                <a:lnTo>
                  <a:pt x="91608" y="30802"/>
                </a:lnTo>
                <a:lnTo>
                  <a:pt x="90758" y="26311"/>
                </a:lnTo>
                <a:lnTo>
                  <a:pt x="93549" y="15829"/>
                </a:lnTo>
                <a:lnTo>
                  <a:pt x="91365" y="11123"/>
                </a:lnTo>
                <a:lnTo>
                  <a:pt x="88089" y="8128"/>
                </a:lnTo>
                <a:lnTo>
                  <a:pt x="85298" y="7059"/>
                </a:lnTo>
                <a:lnTo>
                  <a:pt x="84206" y="2995"/>
                </a:lnTo>
                <a:lnTo>
                  <a:pt x="81294" y="0"/>
                </a:lnTo>
                <a:lnTo>
                  <a:pt x="80323" y="7700"/>
                </a:lnTo>
                <a:lnTo>
                  <a:pt x="72922" y="214"/>
                </a:lnTo>
                <a:lnTo>
                  <a:pt x="71224" y="0"/>
                </a:lnTo>
                <a:lnTo>
                  <a:pt x="71224" y="11123"/>
                </a:lnTo>
                <a:lnTo>
                  <a:pt x="69646" y="14760"/>
                </a:lnTo>
                <a:lnTo>
                  <a:pt x="69403" y="17968"/>
                </a:lnTo>
                <a:lnTo>
                  <a:pt x="67462" y="19466"/>
                </a:lnTo>
                <a:lnTo>
                  <a:pt x="66128" y="22673"/>
                </a:lnTo>
                <a:lnTo>
                  <a:pt x="66249" y="26311"/>
                </a:lnTo>
                <a:lnTo>
                  <a:pt x="62973" y="26311"/>
                </a:lnTo>
                <a:lnTo>
                  <a:pt x="61032" y="40000"/>
                </a:lnTo>
                <a:lnTo>
                  <a:pt x="58362" y="40000"/>
                </a:lnTo>
                <a:lnTo>
                  <a:pt x="56421" y="35080"/>
                </a:lnTo>
                <a:lnTo>
                  <a:pt x="54600" y="35508"/>
                </a:lnTo>
                <a:lnTo>
                  <a:pt x="54600" y="43208"/>
                </a:lnTo>
                <a:lnTo>
                  <a:pt x="53509" y="45775"/>
                </a:lnTo>
                <a:lnTo>
                  <a:pt x="52538" y="53690"/>
                </a:lnTo>
                <a:lnTo>
                  <a:pt x="48413" y="68449"/>
                </a:lnTo>
                <a:lnTo>
                  <a:pt x="48898" y="71230"/>
                </a:lnTo>
                <a:lnTo>
                  <a:pt x="48413" y="76149"/>
                </a:lnTo>
                <a:lnTo>
                  <a:pt x="46835" y="77861"/>
                </a:lnTo>
                <a:lnTo>
                  <a:pt x="44773" y="77861"/>
                </a:lnTo>
                <a:lnTo>
                  <a:pt x="42589" y="81925"/>
                </a:lnTo>
                <a:lnTo>
                  <a:pt x="41254" y="80642"/>
                </a:lnTo>
                <a:lnTo>
                  <a:pt x="38221" y="86845"/>
                </a:lnTo>
                <a:lnTo>
                  <a:pt x="36037" y="88770"/>
                </a:lnTo>
                <a:lnTo>
                  <a:pt x="33731" y="86845"/>
                </a:lnTo>
                <a:lnTo>
                  <a:pt x="32154" y="87915"/>
                </a:lnTo>
                <a:lnTo>
                  <a:pt x="30334" y="91550"/>
                </a:lnTo>
                <a:lnTo>
                  <a:pt x="27786" y="91550"/>
                </a:lnTo>
                <a:lnTo>
                  <a:pt x="25602" y="89626"/>
                </a:lnTo>
                <a:lnTo>
                  <a:pt x="22326" y="82781"/>
                </a:lnTo>
                <a:lnTo>
                  <a:pt x="18685" y="90267"/>
                </a:lnTo>
                <a:lnTo>
                  <a:pt x="15652" y="94973"/>
                </a:lnTo>
                <a:lnTo>
                  <a:pt x="12619" y="100321"/>
                </a:lnTo>
                <a:lnTo>
                  <a:pt x="10677" y="104812"/>
                </a:lnTo>
                <a:lnTo>
                  <a:pt x="10677" y="109518"/>
                </a:lnTo>
                <a:close/>
              </a:path>
            </a:pathLst>
          </a:custGeom>
          <a:solidFill>
            <a:srgbClr val="0B5394"/>
          </a:solidFill>
          <a:ln w="9525" cap="flat" cmpd="sng">
            <a:solidFill>
              <a:srgbClr val="FFFFFF"/>
            </a:solidFill>
            <a:prstDash val="solid"/>
            <a:round/>
            <a:headEnd type="none" w="sm" len="sm"/>
            <a:tailEnd type="none" w="sm" len="sm"/>
          </a:ln>
        </p:spPr>
      </p:sp>
      <p:sp>
        <p:nvSpPr>
          <p:cNvPr id="262" name="Google Shape;262;p34"/>
          <p:cNvSpPr/>
          <p:nvPr/>
        </p:nvSpPr>
        <p:spPr>
          <a:xfrm>
            <a:off x="8817811" y="3922772"/>
            <a:ext cx="1039600" cy="474400"/>
          </a:xfrm>
          <a:custGeom>
            <a:avLst/>
            <a:gdLst/>
            <a:ahLst/>
            <a:cxnLst/>
            <a:rect l="l" t="t" r="r" b="b"/>
            <a:pathLst>
              <a:path w="120000" h="120000" extrusionOk="0">
                <a:moveTo>
                  <a:pt x="114516" y="0"/>
                </a:moveTo>
                <a:lnTo>
                  <a:pt x="118355" y="16113"/>
                </a:lnTo>
                <a:lnTo>
                  <a:pt x="117148" y="18276"/>
                </a:lnTo>
                <a:lnTo>
                  <a:pt x="115722" y="14910"/>
                </a:lnTo>
                <a:lnTo>
                  <a:pt x="113529" y="14671"/>
                </a:lnTo>
                <a:lnTo>
                  <a:pt x="111115" y="18518"/>
                </a:lnTo>
                <a:lnTo>
                  <a:pt x="108044" y="22366"/>
                </a:lnTo>
                <a:lnTo>
                  <a:pt x="105631" y="24770"/>
                </a:lnTo>
                <a:lnTo>
                  <a:pt x="105521" y="27896"/>
                </a:lnTo>
                <a:lnTo>
                  <a:pt x="107934" y="26934"/>
                </a:lnTo>
                <a:lnTo>
                  <a:pt x="109470" y="24529"/>
                </a:lnTo>
                <a:lnTo>
                  <a:pt x="110128" y="27175"/>
                </a:lnTo>
                <a:lnTo>
                  <a:pt x="111664" y="23327"/>
                </a:lnTo>
                <a:lnTo>
                  <a:pt x="113967" y="22366"/>
                </a:lnTo>
                <a:lnTo>
                  <a:pt x="114735" y="25010"/>
                </a:lnTo>
                <a:lnTo>
                  <a:pt x="116709" y="21163"/>
                </a:lnTo>
                <a:lnTo>
                  <a:pt x="118794" y="24770"/>
                </a:lnTo>
                <a:lnTo>
                  <a:pt x="120000" y="29580"/>
                </a:lnTo>
                <a:lnTo>
                  <a:pt x="119891" y="34629"/>
                </a:lnTo>
                <a:lnTo>
                  <a:pt x="118136" y="37756"/>
                </a:lnTo>
                <a:lnTo>
                  <a:pt x="117148" y="40401"/>
                </a:lnTo>
                <a:lnTo>
                  <a:pt x="116709" y="44970"/>
                </a:lnTo>
                <a:lnTo>
                  <a:pt x="115503" y="48338"/>
                </a:lnTo>
                <a:lnTo>
                  <a:pt x="112432" y="49780"/>
                </a:lnTo>
                <a:lnTo>
                  <a:pt x="111117" y="48335"/>
                </a:lnTo>
                <a:lnTo>
                  <a:pt x="109252" y="48335"/>
                </a:lnTo>
                <a:lnTo>
                  <a:pt x="109252" y="50980"/>
                </a:lnTo>
                <a:lnTo>
                  <a:pt x="111005" y="51704"/>
                </a:lnTo>
                <a:lnTo>
                  <a:pt x="110677" y="57475"/>
                </a:lnTo>
                <a:lnTo>
                  <a:pt x="109689" y="63728"/>
                </a:lnTo>
                <a:lnTo>
                  <a:pt x="113090" y="63967"/>
                </a:lnTo>
                <a:lnTo>
                  <a:pt x="113090" y="66614"/>
                </a:lnTo>
                <a:lnTo>
                  <a:pt x="115284" y="66134"/>
                </a:lnTo>
                <a:lnTo>
                  <a:pt x="114077" y="71662"/>
                </a:lnTo>
                <a:lnTo>
                  <a:pt x="112651" y="77434"/>
                </a:lnTo>
                <a:lnTo>
                  <a:pt x="110347" y="75992"/>
                </a:lnTo>
                <a:lnTo>
                  <a:pt x="107825" y="76954"/>
                </a:lnTo>
                <a:lnTo>
                  <a:pt x="105302" y="79599"/>
                </a:lnTo>
                <a:lnTo>
                  <a:pt x="101902" y="85371"/>
                </a:lnTo>
                <a:lnTo>
                  <a:pt x="98282" y="93306"/>
                </a:lnTo>
                <a:lnTo>
                  <a:pt x="95978" y="100281"/>
                </a:lnTo>
                <a:lnTo>
                  <a:pt x="94991" y="108216"/>
                </a:lnTo>
                <a:lnTo>
                  <a:pt x="94443" y="114227"/>
                </a:lnTo>
                <a:lnTo>
                  <a:pt x="92358" y="115430"/>
                </a:lnTo>
                <a:lnTo>
                  <a:pt x="89506" y="116873"/>
                </a:lnTo>
                <a:lnTo>
                  <a:pt x="86216" y="120000"/>
                </a:lnTo>
                <a:lnTo>
                  <a:pt x="75796" y="103166"/>
                </a:lnTo>
                <a:lnTo>
                  <a:pt x="67130" y="90420"/>
                </a:lnTo>
                <a:lnTo>
                  <a:pt x="63510" y="90901"/>
                </a:lnTo>
                <a:lnTo>
                  <a:pt x="55722" y="92585"/>
                </a:lnTo>
                <a:lnTo>
                  <a:pt x="50896" y="94028"/>
                </a:lnTo>
                <a:lnTo>
                  <a:pt x="50786" y="89700"/>
                </a:lnTo>
                <a:lnTo>
                  <a:pt x="47715" y="83687"/>
                </a:lnTo>
                <a:lnTo>
                  <a:pt x="41901" y="83928"/>
                </a:lnTo>
                <a:lnTo>
                  <a:pt x="38611" y="85130"/>
                </a:lnTo>
                <a:lnTo>
                  <a:pt x="29945" y="86333"/>
                </a:lnTo>
                <a:lnTo>
                  <a:pt x="25887" y="89700"/>
                </a:lnTo>
                <a:lnTo>
                  <a:pt x="23035" y="94028"/>
                </a:lnTo>
                <a:lnTo>
                  <a:pt x="20293" y="95711"/>
                </a:lnTo>
                <a:lnTo>
                  <a:pt x="17221" y="99559"/>
                </a:lnTo>
                <a:lnTo>
                  <a:pt x="14918" y="99559"/>
                </a:lnTo>
                <a:lnTo>
                  <a:pt x="9763" y="101963"/>
                </a:lnTo>
                <a:lnTo>
                  <a:pt x="0" y="104609"/>
                </a:lnTo>
                <a:lnTo>
                  <a:pt x="0" y="94749"/>
                </a:lnTo>
                <a:lnTo>
                  <a:pt x="4059" y="92104"/>
                </a:lnTo>
                <a:lnTo>
                  <a:pt x="4059" y="85130"/>
                </a:lnTo>
                <a:lnTo>
                  <a:pt x="6801" y="81041"/>
                </a:lnTo>
                <a:lnTo>
                  <a:pt x="9982" y="78637"/>
                </a:lnTo>
                <a:lnTo>
                  <a:pt x="13163" y="74790"/>
                </a:lnTo>
                <a:lnTo>
                  <a:pt x="13601" y="71423"/>
                </a:lnTo>
                <a:lnTo>
                  <a:pt x="18208" y="68056"/>
                </a:lnTo>
                <a:lnTo>
                  <a:pt x="18099" y="61804"/>
                </a:lnTo>
                <a:lnTo>
                  <a:pt x="19525" y="58196"/>
                </a:lnTo>
                <a:lnTo>
                  <a:pt x="22377" y="56272"/>
                </a:lnTo>
                <a:lnTo>
                  <a:pt x="24242" y="57715"/>
                </a:lnTo>
                <a:lnTo>
                  <a:pt x="25997" y="51944"/>
                </a:lnTo>
                <a:lnTo>
                  <a:pt x="27971" y="50020"/>
                </a:lnTo>
                <a:lnTo>
                  <a:pt x="29726" y="51463"/>
                </a:lnTo>
                <a:lnTo>
                  <a:pt x="30055" y="46654"/>
                </a:lnTo>
                <a:lnTo>
                  <a:pt x="31810" y="41123"/>
                </a:lnTo>
                <a:lnTo>
                  <a:pt x="33675" y="40162"/>
                </a:lnTo>
                <a:lnTo>
                  <a:pt x="33565" y="29819"/>
                </a:lnTo>
                <a:lnTo>
                  <a:pt x="38062" y="30300"/>
                </a:lnTo>
                <a:lnTo>
                  <a:pt x="46838" y="26934"/>
                </a:lnTo>
                <a:lnTo>
                  <a:pt x="52103" y="25972"/>
                </a:lnTo>
                <a:lnTo>
                  <a:pt x="60439" y="22847"/>
                </a:lnTo>
                <a:lnTo>
                  <a:pt x="73053" y="18518"/>
                </a:lnTo>
                <a:lnTo>
                  <a:pt x="87093" y="12265"/>
                </a:lnTo>
                <a:lnTo>
                  <a:pt x="98830" y="7456"/>
                </a:lnTo>
                <a:lnTo>
                  <a:pt x="102669" y="5292"/>
                </a:lnTo>
                <a:lnTo>
                  <a:pt x="106728" y="2886"/>
                </a:lnTo>
                <a:lnTo>
                  <a:pt x="111444" y="962"/>
                </a:lnTo>
                <a:close/>
              </a:path>
            </a:pathLst>
          </a:custGeom>
          <a:solidFill>
            <a:srgbClr val="0B5394"/>
          </a:solidFill>
          <a:ln w="9525" cap="flat" cmpd="sng">
            <a:solidFill>
              <a:srgbClr val="FFFFFF"/>
            </a:solidFill>
            <a:prstDash val="solid"/>
            <a:round/>
            <a:headEnd type="none" w="sm" len="sm"/>
            <a:tailEnd type="none" w="sm" len="sm"/>
          </a:ln>
        </p:spPr>
      </p:sp>
      <p:sp>
        <p:nvSpPr>
          <p:cNvPr id="263" name="Google Shape;263;p34"/>
          <p:cNvSpPr/>
          <p:nvPr/>
        </p:nvSpPr>
        <p:spPr>
          <a:xfrm>
            <a:off x="9586995" y="3577975"/>
            <a:ext cx="30400" cy="35200"/>
          </a:xfrm>
          <a:custGeom>
            <a:avLst/>
            <a:gdLst/>
            <a:ahLst/>
            <a:cxnLst/>
            <a:rect l="l" t="t" r="r" b="b"/>
            <a:pathLst>
              <a:path w="120000" h="120000" extrusionOk="0">
                <a:moveTo>
                  <a:pt x="0" y="45409"/>
                </a:moveTo>
                <a:lnTo>
                  <a:pt x="75000" y="120000"/>
                </a:lnTo>
                <a:lnTo>
                  <a:pt x="120000" y="64869"/>
                </a:lnTo>
                <a:lnTo>
                  <a:pt x="97500" y="0"/>
                </a:lnTo>
                <a:lnTo>
                  <a:pt x="22500" y="9722"/>
                </a:lnTo>
                <a:close/>
              </a:path>
            </a:pathLst>
          </a:custGeom>
          <a:solidFill>
            <a:srgbClr val="00517C"/>
          </a:solidFill>
          <a:ln w="9525" cap="flat" cmpd="sng">
            <a:solidFill>
              <a:srgbClr val="FFFFFF"/>
            </a:solidFill>
            <a:prstDash val="solid"/>
            <a:round/>
            <a:headEnd type="none" w="sm" len="sm"/>
            <a:tailEnd type="none" w="sm" len="sm"/>
          </a:ln>
        </p:spPr>
      </p:sp>
      <p:sp>
        <p:nvSpPr>
          <p:cNvPr id="264" name="Google Shape;264;p34"/>
          <p:cNvSpPr/>
          <p:nvPr/>
        </p:nvSpPr>
        <p:spPr>
          <a:xfrm>
            <a:off x="9714401" y="3415043"/>
            <a:ext cx="131600" cy="207200"/>
          </a:xfrm>
          <a:custGeom>
            <a:avLst/>
            <a:gdLst/>
            <a:ahLst/>
            <a:cxnLst/>
            <a:rect l="l" t="t" r="r" b="b"/>
            <a:pathLst>
              <a:path w="120000" h="120000" extrusionOk="0">
                <a:moveTo>
                  <a:pt x="0" y="14796"/>
                </a:moveTo>
                <a:lnTo>
                  <a:pt x="23476" y="0"/>
                </a:lnTo>
                <a:lnTo>
                  <a:pt x="41739" y="549"/>
                </a:lnTo>
                <a:lnTo>
                  <a:pt x="28693" y="19179"/>
                </a:lnTo>
                <a:lnTo>
                  <a:pt x="26954" y="30138"/>
                </a:lnTo>
                <a:lnTo>
                  <a:pt x="38261" y="42193"/>
                </a:lnTo>
                <a:lnTo>
                  <a:pt x="57391" y="48768"/>
                </a:lnTo>
                <a:lnTo>
                  <a:pt x="65215" y="60273"/>
                </a:lnTo>
                <a:lnTo>
                  <a:pt x="78261" y="77261"/>
                </a:lnTo>
                <a:lnTo>
                  <a:pt x="96519" y="87124"/>
                </a:lnTo>
                <a:lnTo>
                  <a:pt x="109565" y="87124"/>
                </a:lnTo>
                <a:lnTo>
                  <a:pt x="112172" y="100274"/>
                </a:lnTo>
                <a:lnTo>
                  <a:pt x="120000" y="113971"/>
                </a:lnTo>
                <a:lnTo>
                  <a:pt x="83478" y="117808"/>
                </a:lnTo>
                <a:lnTo>
                  <a:pt x="47824" y="120000"/>
                </a:lnTo>
                <a:lnTo>
                  <a:pt x="28693" y="71232"/>
                </a:lnTo>
                <a:lnTo>
                  <a:pt x="13041" y="36164"/>
                </a:lnTo>
                <a:close/>
              </a:path>
            </a:pathLst>
          </a:custGeom>
          <a:solidFill>
            <a:srgbClr val="00517C"/>
          </a:solidFill>
          <a:ln w="9525" cap="flat" cmpd="sng">
            <a:solidFill>
              <a:srgbClr val="FFFFFF"/>
            </a:solidFill>
            <a:prstDash val="solid"/>
            <a:round/>
            <a:headEnd type="none" w="sm" len="sm"/>
            <a:tailEnd type="none" w="sm" len="sm"/>
          </a:ln>
        </p:spPr>
      </p:sp>
      <p:grpSp>
        <p:nvGrpSpPr>
          <p:cNvPr id="265" name="Google Shape;265;p34"/>
          <p:cNvGrpSpPr/>
          <p:nvPr/>
        </p:nvGrpSpPr>
        <p:grpSpPr>
          <a:xfrm>
            <a:off x="7949499" y="2455433"/>
            <a:ext cx="923060" cy="869649"/>
            <a:chOff x="20078700" y="4262825"/>
            <a:chExt cx="4624550" cy="4348250"/>
          </a:xfrm>
        </p:grpSpPr>
        <p:sp>
          <p:nvSpPr>
            <p:cNvPr id="266" name="Google Shape;266;p34"/>
            <p:cNvSpPr/>
            <p:nvPr/>
          </p:nvSpPr>
          <p:spPr>
            <a:xfrm>
              <a:off x="22359950" y="5401075"/>
              <a:ext cx="2343300" cy="3210000"/>
            </a:xfrm>
            <a:custGeom>
              <a:avLst/>
              <a:gdLst/>
              <a:ahLst/>
              <a:cxnLst/>
              <a:rect l="l" t="t" r="r" b="b"/>
              <a:pathLst>
                <a:path w="120000" h="120000" extrusionOk="0">
                  <a:moveTo>
                    <a:pt x="0" y="119465"/>
                  </a:moveTo>
                  <a:lnTo>
                    <a:pt x="3658" y="116973"/>
                  </a:lnTo>
                  <a:lnTo>
                    <a:pt x="5854" y="112878"/>
                  </a:lnTo>
                  <a:lnTo>
                    <a:pt x="8536" y="106825"/>
                  </a:lnTo>
                  <a:lnTo>
                    <a:pt x="11220" y="102373"/>
                  </a:lnTo>
                  <a:lnTo>
                    <a:pt x="12195" y="98279"/>
                  </a:lnTo>
                  <a:lnTo>
                    <a:pt x="13659" y="91513"/>
                  </a:lnTo>
                  <a:lnTo>
                    <a:pt x="12195" y="85816"/>
                  </a:lnTo>
                  <a:lnTo>
                    <a:pt x="9512" y="79584"/>
                  </a:lnTo>
                  <a:lnTo>
                    <a:pt x="5854" y="75134"/>
                  </a:lnTo>
                  <a:lnTo>
                    <a:pt x="2927" y="70861"/>
                  </a:lnTo>
                  <a:lnTo>
                    <a:pt x="488" y="66765"/>
                  </a:lnTo>
                  <a:lnTo>
                    <a:pt x="243" y="63204"/>
                  </a:lnTo>
                  <a:lnTo>
                    <a:pt x="2439" y="61424"/>
                  </a:lnTo>
                  <a:lnTo>
                    <a:pt x="976" y="55014"/>
                  </a:lnTo>
                  <a:lnTo>
                    <a:pt x="1463" y="50208"/>
                  </a:lnTo>
                  <a:lnTo>
                    <a:pt x="4146" y="44332"/>
                  </a:lnTo>
                  <a:lnTo>
                    <a:pt x="5609" y="40950"/>
                  </a:lnTo>
                  <a:lnTo>
                    <a:pt x="4146" y="36854"/>
                  </a:lnTo>
                  <a:lnTo>
                    <a:pt x="2927" y="34184"/>
                  </a:lnTo>
                  <a:lnTo>
                    <a:pt x="8536" y="32937"/>
                  </a:lnTo>
                  <a:lnTo>
                    <a:pt x="9268" y="30623"/>
                  </a:lnTo>
                  <a:lnTo>
                    <a:pt x="7560" y="28664"/>
                  </a:lnTo>
                  <a:lnTo>
                    <a:pt x="11220" y="26172"/>
                  </a:lnTo>
                  <a:lnTo>
                    <a:pt x="15853" y="24035"/>
                  </a:lnTo>
                  <a:lnTo>
                    <a:pt x="17561" y="21721"/>
                  </a:lnTo>
                  <a:lnTo>
                    <a:pt x="19024" y="17804"/>
                  </a:lnTo>
                  <a:lnTo>
                    <a:pt x="22682" y="19050"/>
                  </a:lnTo>
                  <a:lnTo>
                    <a:pt x="20976" y="23679"/>
                  </a:lnTo>
                  <a:lnTo>
                    <a:pt x="19755" y="27774"/>
                  </a:lnTo>
                  <a:lnTo>
                    <a:pt x="20000" y="30445"/>
                  </a:lnTo>
                  <a:lnTo>
                    <a:pt x="24634" y="28487"/>
                  </a:lnTo>
                  <a:lnTo>
                    <a:pt x="26829" y="25994"/>
                  </a:lnTo>
                  <a:lnTo>
                    <a:pt x="25366" y="16024"/>
                  </a:lnTo>
                  <a:lnTo>
                    <a:pt x="28780" y="13709"/>
                  </a:lnTo>
                  <a:lnTo>
                    <a:pt x="37316" y="12640"/>
                  </a:lnTo>
                  <a:lnTo>
                    <a:pt x="38049" y="10148"/>
                  </a:lnTo>
                  <a:lnTo>
                    <a:pt x="32195" y="9970"/>
                  </a:lnTo>
                  <a:lnTo>
                    <a:pt x="30975" y="7299"/>
                  </a:lnTo>
                  <a:lnTo>
                    <a:pt x="32926" y="4094"/>
                  </a:lnTo>
                  <a:lnTo>
                    <a:pt x="37073" y="2136"/>
                  </a:lnTo>
                  <a:lnTo>
                    <a:pt x="42439" y="0"/>
                  </a:lnTo>
                  <a:lnTo>
                    <a:pt x="45609" y="1958"/>
                  </a:lnTo>
                  <a:lnTo>
                    <a:pt x="49268" y="3561"/>
                  </a:lnTo>
                  <a:lnTo>
                    <a:pt x="53171" y="2493"/>
                  </a:lnTo>
                  <a:lnTo>
                    <a:pt x="58049" y="4094"/>
                  </a:lnTo>
                  <a:lnTo>
                    <a:pt x="66097" y="7655"/>
                  </a:lnTo>
                  <a:lnTo>
                    <a:pt x="72195" y="8902"/>
                  </a:lnTo>
                  <a:lnTo>
                    <a:pt x="78049" y="9436"/>
                  </a:lnTo>
                  <a:lnTo>
                    <a:pt x="80488" y="12284"/>
                  </a:lnTo>
                  <a:lnTo>
                    <a:pt x="83415" y="14955"/>
                  </a:lnTo>
                  <a:lnTo>
                    <a:pt x="85854" y="18160"/>
                  </a:lnTo>
                  <a:lnTo>
                    <a:pt x="82927" y="18338"/>
                  </a:lnTo>
                  <a:lnTo>
                    <a:pt x="80976" y="17092"/>
                  </a:lnTo>
                  <a:lnTo>
                    <a:pt x="79755" y="18872"/>
                  </a:lnTo>
                  <a:lnTo>
                    <a:pt x="81463" y="22077"/>
                  </a:lnTo>
                  <a:lnTo>
                    <a:pt x="85366" y="23323"/>
                  </a:lnTo>
                  <a:lnTo>
                    <a:pt x="86341" y="27062"/>
                  </a:lnTo>
                  <a:lnTo>
                    <a:pt x="86341" y="38278"/>
                  </a:lnTo>
                  <a:lnTo>
                    <a:pt x="84634" y="39703"/>
                  </a:lnTo>
                  <a:lnTo>
                    <a:pt x="81951" y="41127"/>
                  </a:lnTo>
                  <a:lnTo>
                    <a:pt x="80976" y="44866"/>
                  </a:lnTo>
                  <a:lnTo>
                    <a:pt x="79268" y="48427"/>
                  </a:lnTo>
                  <a:lnTo>
                    <a:pt x="75365" y="48961"/>
                  </a:lnTo>
                  <a:lnTo>
                    <a:pt x="72926" y="50741"/>
                  </a:lnTo>
                  <a:lnTo>
                    <a:pt x="73171" y="56083"/>
                  </a:lnTo>
                  <a:lnTo>
                    <a:pt x="76098" y="59466"/>
                  </a:lnTo>
                  <a:lnTo>
                    <a:pt x="81463" y="60356"/>
                  </a:lnTo>
                  <a:lnTo>
                    <a:pt x="84146" y="57151"/>
                  </a:lnTo>
                  <a:lnTo>
                    <a:pt x="87560" y="53056"/>
                  </a:lnTo>
                  <a:lnTo>
                    <a:pt x="89999" y="48427"/>
                  </a:lnTo>
                  <a:lnTo>
                    <a:pt x="95365" y="45935"/>
                  </a:lnTo>
                  <a:lnTo>
                    <a:pt x="100243" y="43976"/>
                  </a:lnTo>
                  <a:lnTo>
                    <a:pt x="105854" y="46291"/>
                  </a:lnTo>
                  <a:lnTo>
                    <a:pt x="109024" y="49673"/>
                  </a:lnTo>
                  <a:lnTo>
                    <a:pt x="110975" y="55014"/>
                  </a:lnTo>
                  <a:lnTo>
                    <a:pt x="114390" y="65341"/>
                  </a:lnTo>
                  <a:lnTo>
                    <a:pt x="119755" y="73531"/>
                  </a:lnTo>
                  <a:lnTo>
                    <a:pt x="120000" y="85281"/>
                  </a:lnTo>
                  <a:lnTo>
                    <a:pt x="117073" y="87240"/>
                  </a:lnTo>
                  <a:lnTo>
                    <a:pt x="114390" y="85994"/>
                  </a:lnTo>
                  <a:lnTo>
                    <a:pt x="115853" y="83501"/>
                  </a:lnTo>
                  <a:lnTo>
                    <a:pt x="112926" y="83680"/>
                  </a:lnTo>
                  <a:lnTo>
                    <a:pt x="110975" y="89377"/>
                  </a:lnTo>
                  <a:lnTo>
                    <a:pt x="108780" y="93827"/>
                  </a:lnTo>
                  <a:lnTo>
                    <a:pt x="104146" y="95608"/>
                  </a:lnTo>
                  <a:lnTo>
                    <a:pt x="104634" y="102908"/>
                  </a:lnTo>
                  <a:lnTo>
                    <a:pt x="99268" y="106825"/>
                  </a:lnTo>
                  <a:lnTo>
                    <a:pt x="97561" y="110919"/>
                  </a:lnTo>
                  <a:lnTo>
                    <a:pt x="97804" y="112878"/>
                  </a:lnTo>
                  <a:lnTo>
                    <a:pt x="80243" y="114659"/>
                  </a:lnTo>
                  <a:lnTo>
                    <a:pt x="63658" y="116795"/>
                  </a:lnTo>
                  <a:lnTo>
                    <a:pt x="56341" y="116617"/>
                  </a:lnTo>
                  <a:lnTo>
                    <a:pt x="28780" y="117864"/>
                  </a:lnTo>
                  <a:lnTo>
                    <a:pt x="20000" y="118220"/>
                  </a:lnTo>
                  <a:lnTo>
                    <a:pt x="15122" y="120000"/>
                  </a:lnTo>
                  <a:close/>
                </a:path>
              </a:pathLst>
            </a:custGeom>
            <a:solidFill>
              <a:srgbClr val="E06666"/>
            </a:solidFill>
            <a:ln w="9525" cap="flat" cmpd="sng">
              <a:solidFill>
                <a:srgbClr val="FFFFFF"/>
              </a:solidFill>
              <a:prstDash val="solid"/>
              <a:round/>
              <a:headEnd type="none" w="sm" len="sm"/>
              <a:tailEnd type="none" w="sm" len="sm"/>
            </a:ln>
          </p:spPr>
        </p:sp>
        <p:sp>
          <p:nvSpPr>
            <p:cNvPr id="267" name="Google Shape;267;p34"/>
            <p:cNvSpPr/>
            <p:nvPr/>
          </p:nvSpPr>
          <p:spPr>
            <a:xfrm>
              <a:off x="20078700" y="4262825"/>
              <a:ext cx="3495600" cy="1833600"/>
            </a:xfrm>
            <a:custGeom>
              <a:avLst/>
              <a:gdLst/>
              <a:ahLst/>
              <a:cxnLst/>
              <a:rect l="l" t="t" r="r" b="b"/>
              <a:pathLst>
                <a:path w="120000" h="120000" extrusionOk="0">
                  <a:moveTo>
                    <a:pt x="54278" y="120000"/>
                  </a:moveTo>
                  <a:lnTo>
                    <a:pt x="58039" y="105350"/>
                  </a:lnTo>
                  <a:lnTo>
                    <a:pt x="60654" y="92259"/>
                  </a:lnTo>
                  <a:lnTo>
                    <a:pt x="61962" y="82909"/>
                  </a:lnTo>
                  <a:lnTo>
                    <a:pt x="64087" y="79792"/>
                  </a:lnTo>
                  <a:lnTo>
                    <a:pt x="65068" y="84468"/>
                  </a:lnTo>
                  <a:lnTo>
                    <a:pt x="68665" y="80728"/>
                  </a:lnTo>
                  <a:lnTo>
                    <a:pt x="72262" y="77922"/>
                  </a:lnTo>
                  <a:lnTo>
                    <a:pt x="73243" y="82598"/>
                  </a:lnTo>
                  <a:lnTo>
                    <a:pt x="76022" y="79792"/>
                  </a:lnTo>
                  <a:lnTo>
                    <a:pt x="75858" y="73247"/>
                  </a:lnTo>
                  <a:lnTo>
                    <a:pt x="80436" y="70441"/>
                  </a:lnTo>
                  <a:lnTo>
                    <a:pt x="88610" y="69194"/>
                  </a:lnTo>
                  <a:lnTo>
                    <a:pt x="89755" y="64831"/>
                  </a:lnTo>
                  <a:lnTo>
                    <a:pt x="90899" y="61090"/>
                  </a:lnTo>
                  <a:lnTo>
                    <a:pt x="94660" y="62026"/>
                  </a:lnTo>
                  <a:lnTo>
                    <a:pt x="103488" y="66077"/>
                  </a:lnTo>
                  <a:lnTo>
                    <a:pt x="106104" y="65454"/>
                  </a:lnTo>
                  <a:lnTo>
                    <a:pt x="108556" y="62026"/>
                  </a:lnTo>
                  <a:lnTo>
                    <a:pt x="112317" y="63896"/>
                  </a:lnTo>
                  <a:lnTo>
                    <a:pt x="119673" y="62026"/>
                  </a:lnTo>
                  <a:lnTo>
                    <a:pt x="120000" y="58597"/>
                  </a:lnTo>
                  <a:lnTo>
                    <a:pt x="116894" y="57039"/>
                  </a:lnTo>
                  <a:lnTo>
                    <a:pt x="114932" y="52052"/>
                  </a:lnTo>
                  <a:lnTo>
                    <a:pt x="114768" y="34909"/>
                  </a:lnTo>
                  <a:lnTo>
                    <a:pt x="111990" y="35221"/>
                  </a:lnTo>
                  <a:lnTo>
                    <a:pt x="106594" y="39896"/>
                  </a:lnTo>
                  <a:lnTo>
                    <a:pt x="102670" y="42389"/>
                  </a:lnTo>
                  <a:lnTo>
                    <a:pt x="97439" y="40208"/>
                  </a:lnTo>
                  <a:lnTo>
                    <a:pt x="97603" y="26494"/>
                  </a:lnTo>
                  <a:lnTo>
                    <a:pt x="91880" y="30234"/>
                  </a:lnTo>
                  <a:lnTo>
                    <a:pt x="88283" y="33975"/>
                  </a:lnTo>
                  <a:lnTo>
                    <a:pt x="80763" y="33975"/>
                  </a:lnTo>
                  <a:lnTo>
                    <a:pt x="75858" y="37715"/>
                  </a:lnTo>
                  <a:lnTo>
                    <a:pt x="70464" y="48000"/>
                  </a:lnTo>
                  <a:lnTo>
                    <a:pt x="65886" y="49559"/>
                  </a:lnTo>
                  <a:lnTo>
                    <a:pt x="62452" y="45195"/>
                  </a:lnTo>
                  <a:lnTo>
                    <a:pt x="60490" y="48000"/>
                  </a:lnTo>
                  <a:lnTo>
                    <a:pt x="55259" y="48000"/>
                  </a:lnTo>
                  <a:lnTo>
                    <a:pt x="52480" y="42078"/>
                  </a:lnTo>
                  <a:lnTo>
                    <a:pt x="50845" y="36779"/>
                  </a:lnTo>
                  <a:lnTo>
                    <a:pt x="48719" y="32104"/>
                  </a:lnTo>
                  <a:lnTo>
                    <a:pt x="44633" y="29299"/>
                  </a:lnTo>
                  <a:lnTo>
                    <a:pt x="41690" y="29299"/>
                  </a:lnTo>
                  <a:lnTo>
                    <a:pt x="40218" y="26182"/>
                  </a:lnTo>
                  <a:lnTo>
                    <a:pt x="34986" y="37091"/>
                  </a:lnTo>
                  <a:lnTo>
                    <a:pt x="34496" y="33039"/>
                  </a:lnTo>
                  <a:lnTo>
                    <a:pt x="36621" y="20884"/>
                  </a:lnTo>
                  <a:lnTo>
                    <a:pt x="38420" y="15273"/>
                  </a:lnTo>
                  <a:lnTo>
                    <a:pt x="41199" y="12467"/>
                  </a:lnTo>
                  <a:lnTo>
                    <a:pt x="42180" y="6546"/>
                  </a:lnTo>
                  <a:lnTo>
                    <a:pt x="45614" y="5299"/>
                  </a:lnTo>
                  <a:lnTo>
                    <a:pt x="47575" y="2806"/>
                  </a:lnTo>
                  <a:lnTo>
                    <a:pt x="45777" y="0"/>
                  </a:lnTo>
                  <a:lnTo>
                    <a:pt x="40055" y="936"/>
                  </a:lnTo>
                  <a:lnTo>
                    <a:pt x="35313" y="6546"/>
                  </a:lnTo>
                  <a:lnTo>
                    <a:pt x="32534" y="12780"/>
                  </a:lnTo>
                  <a:lnTo>
                    <a:pt x="29265" y="17454"/>
                  </a:lnTo>
                  <a:lnTo>
                    <a:pt x="26322" y="24001"/>
                  </a:lnTo>
                  <a:lnTo>
                    <a:pt x="23706" y="29611"/>
                  </a:lnTo>
                  <a:lnTo>
                    <a:pt x="19619" y="34909"/>
                  </a:lnTo>
                  <a:lnTo>
                    <a:pt x="16186" y="36779"/>
                  </a:lnTo>
                  <a:lnTo>
                    <a:pt x="11444" y="38026"/>
                  </a:lnTo>
                  <a:lnTo>
                    <a:pt x="8501" y="42702"/>
                  </a:lnTo>
                  <a:lnTo>
                    <a:pt x="4742" y="48312"/>
                  </a:lnTo>
                  <a:lnTo>
                    <a:pt x="981" y="50493"/>
                  </a:lnTo>
                  <a:lnTo>
                    <a:pt x="0" y="54233"/>
                  </a:lnTo>
                  <a:lnTo>
                    <a:pt x="2289" y="54857"/>
                  </a:lnTo>
                  <a:lnTo>
                    <a:pt x="4415" y="61714"/>
                  </a:lnTo>
                  <a:lnTo>
                    <a:pt x="6376" y="64520"/>
                  </a:lnTo>
                  <a:lnTo>
                    <a:pt x="19946" y="70130"/>
                  </a:lnTo>
                  <a:lnTo>
                    <a:pt x="24360" y="70130"/>
                  </a:lnTo>
                  <a:lnTo>
                    <a:pt x="27957" y="75741"/>
                  </a:lnTo>
                  <a:lnTo>
                    <a:pt x="32861" y="75741"/>
                  </a:lnTo>
                  <a:lnTo>
                    <a:pt x="37275" y="78545"/>
                  </a:lnTo>
                  <a:lnTo>
                    <a:pt x="42671" y="78545"/>
                  </a:lnTo>
                  <a:lnTo>
                    <a:pt x="44142" y="81662"/>
                  </a:lnTo>
                  <a:lnTo>
                    <a:pt x="43652" y="86649"/>
                  </a:lnTo>
                  <a:lnTo>
                    <a:pt x="48392" y="88208"/>
                  </a:lnTo>
                  <a:lnTo>
                    <a:pt x="50191" y="91636"/>
                  </a:lnTo>
                  <a:lnTo>
                    <a:pt x="51335" y="113766"/>
                  </a:lnTo>
                  <a:close/>
                </a:path>
              </a:pathLst>
            </a:custGeom>
            <a:solidFill>
              <a:srgbClr val="E06666"/>
            </a:solidFill>
            <a:ln w="9525" cap="flat" cmpd="sng">
              <a:solidFill>
                <a:srgbClr val="FFFFFF"/>
              </a:solidFill>
              <a:prstDash val="solid"/>
              <a:round/>
              <a:headEnd type="none" w="sm" len="sm"/>
              <a:tailEnd type="none" w="sm" len="sm"/>
            </a:ln>
          </p:spPr>
        </p:sp>
      </p:grpSp>
      <p:sp>
        <p:nvSpPr>
          <p:cNvPr id="268" name="Google Shape;268;p34"/>
          <p:cNvSpPr/>
          <p:nvPr/>
        </p:nvSpPr>
        <p:spPr>
          <a:xfrm>
            <a:off x="8632001" y="3196500"/>
            <a:ext cx="514800" cy="581600"/>
          </a:xfrm>
          <a:custGeom>
            <a:avLst/>
            <a:gdLst/>
            <a:ahLst/>
            <a:cxnLst/>
            <a:rect l="l" t="t" r="r" b="b"/>
            <a:pathLst>
              <a:path w="120000" h="120000" extrusionOk="0">
                <a:moveTo>
                  <a:pt x="0" y="22156"/>
                </a:moveTo>
                <a:lnTo>
                  <a:pt x="5324" y="22353"/>
                </a:lnTo>
                <a:lnTo>
                  <a:pt x="36378" y="18039"/>
                </a:lnTo>
                <a:lnTo>
                  <a:pt x="40592" y="19608"/>
                </a:lnTo>
                <a:lnTo>
                  <a:pt x="45915" y="21569"/>
                </a:lnTo>
                <a:lnTo>
                  <a:pt x="54343" y="21372"/>
                </a:lnTo>
                <a:lnTo>
                  <a:pt x="57892" y="24117"/>
                </a:lnTo>
                <a:lnTo>
                  <a:pt x="60998" y="26078"/>
                </a:lnTo>
                <a:lnTo>
                  <a:pt x="65657" y="24509"/>
                </a:lnTo>
                <a:lnTo>
                  <a:pt x="72311" y="22156"/>
                </a:lnTo>
                <a:lnTo>
                  <a:pt x="75637" y="20588"/>
                </a:lnTo>
                <a:lnTo>
                  <a:pt x="80517" y="20196"/>
                </a:lnTo>
                <a:lnTo>
                  <a:pt x="83845" y="18627"/>
                </a:lnTo>
                <a:lnTo>
                  <a:pt x="89833" y="12549"/>
                </a:lnTo>
                <a:lnTo>
                  <a:pt x="93161" y="8823"/>
                </a:lnTo>
                <a:lnTo>
                  <a:pt x="97154" y="7059"/>
                </a:lnTo>
                <a:lnTo>
                  <a:pt x="105360" y="2745"/>
                </a:lnTo>
                <a:lnTo>
                  <a:pt x="112014" y="0"/>
                </a:lnTo>
                <a:lnTo>
                  <a:pt x="116895" y="28039"/>
                </a:lnTo>
                <a:lnTo>
                  <a:pt x="117782" y="36274"/>
                </a:lnTo>
                <a:lnTo>
                  <a:pt x="120000" y="42745"/>
                </a:lnTo>
                <a:lnTo>
                  <a:pt x="118669" y="50196"/>
                </a:lnTo>
                <a:lnTo>
                  <a:pt x="117338" y="58039"/>
                </a:lnTo>
                <a:lnTo>
                  <a:pt x="115786" y="73529"/>
                </a:lnTo>
                <a:lnTo>
                  <a:pt x="111350" y="78824"/>
                </a:lnTo>
                <a:lnTo>
                  <a:pt x="109797" y="82353"/>
                </a:lnTo>
                <a:lnTo>
                  <a:pt x="105583" y="84901"/>
                </a:lnTo>
                <a:lnTo>
                  <a:pt x="102255" y="85294"/>
                </a:lnTo>
                <a:lnTo>
                  <a:pt x="101372" y="84505"/>
                </a:lnTo>
                <a:lnTo>
                  <a:pt x="100259" y="85490"/>
                </a:lnTo>
                <a:lnTo>
                  <a:pt x="97819" y="88235"/>
                </a:lnTo>
                <a:lnTo>
                  <a:pt x="93826" y="92352"/>
                </a:lnTo>
                <a:lnTo>
                  <a:pt x="93826" y="97450"/>
                </a:lnTo>
                <a:lnTo>
                  <a:pt x="95157" y="101372"/>
                </a:lnTo>
                <a:lnTo>
                  <a:pt x="91608" y="102549"/>
                </a:lnTo>
                <a:lnTo>
                  <a:pt x="90277" y="99608"/>
                </a:lnTo>
                <a:lnTo>
                  <a:pt x="86507" y="99803"/>
                </a:lnTo>
                <a:lnTo>
                  <a:pt x="84953" y="106078"/>
                </a:lnTo>
                <a:lnTo>
                  <a:pt x="84732" y="114118"/>
                </a:lnTo>
                <a:lnTo>
                  <a:pt x="81627" y="114902"/>
                </a:lnTo>
                <a:lnTo>
                  <a:pt x="81627" y="119216"/>
                </a:lnTo>
                <a:lnTo>
                  <a:pt x="76968" y="120000"/>
                </a:lnTo>
                <a:lnTo>
                  <a:pt x="74750" y="118824"/>
                </a:lnTo>
                <a:lnTo>
                  <a:pt x="67431" y="116471"/>
                </a:lnTo>
                <a:lnTo>
                  <a:pt x="67431" y="113529"/>
                </a:lnTo>
                <a:lnTo>
                  <a:pt x="65878" y="111373"/>
                </a:lnTo>
                <a:lnTo>
                  <a:pt x="62108" y="111373"/>
                </a:lnTo>
                <a:lnTo>
                  <a:pt x="56118" y="116666"/>
                </a:lnTo>
                <a:lnTo>
                  <a:pt x="53900" y="114705"/>
                </a:lnTo>
                <a:lnTo>
                  <a:pt x="48133" y="114705"/>
                </a:lnTo>
                <a:lnTo>
                  <a:pt x="41701" y="117058"/>
                </a:lnTo>
                <a:lnTo>
                  <a:pt x="38373" y="113137"/>
                </a:lnTo>
                <a:lnTo>
                  <a:pt x="29944" y="113333"/>
                </a:lnTo>
                <a:lnTo>
                  <a:pt x="24622" y="105490"/>
                </a:lnTo>
                <a:lnTo>
                  <a:pt x="10647" y="105686"/>
                </a:lnTo>
                <a:lnTo>
                  <a:pt x="7320" y="82745"/>
                </a:lnTo>
                <a:lnTo>
                  <a:pt x="4214" y="47843"/>
                </a:lnTo>
                <a:lnTo>
                  <a:pt x="2439" y="45490"/>
                </a:lnTo>
                <a:close/>
              </a:path>
            </a:pathLst>
          </a:custGeom>
          <a:solidFill>
            <a:srgbClr val="E06666"/>
          </a:solidFill>
          <a:ln w="9525" cap="flat" cmpd="sng">
            <a:solidFill>
              <a:srgbClr val="FFFFFF"/>
            </a:solidFill>
            <a:prstDash val="solid"/>
            <a:round/>
            <a:headEnd type="none" w="sm" len="sm"/>
            <a:tailEnd type="none" w="sm" len="sm"/>
          </a:ln>
        </p:spPr>
      </p:sp>
      <p:sp>
        <p:nvSpPr>
          <p:cNvPr id="269" name="Google Shape;269;p34"/>
          <p:cNvSpPr/>
          <p:nvPr/>
        </p:nvSpPr>
        <p:spPr>
          <a:xfrm>
            <a:off x="9117309" y="3081312"/>
            <a:ext cx="702800" cy="461600"/>
          </a:xfrm>
          <a:custGeom>
            <a:avLst/>
            <a:gdLst/>
            <a:ahLst/>
            <a:cxnLst/>
            <a:rect l="l" t="t" r="r" b="b"/>
            <a:pathLst>
              <a:path w="120000" h="120000" extrusionOk="0">
                <a:moveTo>
                  <a:pt x="0" y="30123"/>
                </a:moveTo>
                <a:lnTo>
                  <a:pt x="4871" y="24198"/>
                </a:lnTo>
                <a:lnTo>
                  <a:pt x="8444" y="19999"/>
                </a:lnTo>
                <a:lnTo>
                  <a:pt x="11853" y="15309"/>
                </a:lnTo>
                <a:lnTo>
                  <a:pt x="13640" y="15309"/>
                </a:lnTo>
                <a:lnTo>
                  <a:pt x="13640" y="25185"/>
                </a:lnTo>
                <a:lnTo>
                  <a:pt x="29229" y="21975"/>
                </a:lnTo>
                <a:lnTo>
                  <a:pt x="38159" y="19506"/>
                </a:lnTo>
                <a:lnTo>
                  <a:pt x="51313" y="15309"/>
                </a:lnTo>
                <a:lnTo>
                  <a:pt x="62680" y="11604"/>
                </a:lnTo>
                <a:lnTo>
                  <a:pt x="81353" y="5926"/>
                </a:lnTo>
                <a:lnTo>
                  <a:pt x="93532" y="1728"/>
                </a:lnTo>
                <a:lnTo>
                  <a:pt x="95805" y="0"/>
                </a:lnTo>
                <a:lnTo>
                  <a:pt x="99215" y="1234"/>
                </a:lnTo>
                <a:lnTo>
                  <a:pt x="100514" y="4938"/>
                </a:lnTo>
                <a:lnTo>
                  <a:pt x="103275" y="4691"/>
                </a:lnTo>
                <a:lnTo>
                  <a:pt x="104411" y="9383"/>
                </a:lnTo>
                <a:lnTo>
                  <a:pt x="106360" y="14815"/>
                </a:lnTo>
                <a:lnTo>
                  <a:pt x="108308" y="18272"/>
                </a:lnTo>
                <a:lnTo>
                  <a:pt x="112368" y="18518"/>
                </a:lnTo>
                <a:lnTo>
                  <a:pt x="113992" y="21481"/>
                </a:lnTo>
                <a:lnTo>
                  <a:pt x="111394" y="24938"/>
                </a:lnTo>
                <a:lnTo>
                  <a:pt x="111231" y="30617"/>
                </a:lnTo>
                <a:lnTo>
                  <a:pt x="109446" y="34568"/>
                </a:lnTo>
                <a:lnTo>
                  <a:pt x="108308" y="38519"/>
                </a:lnTo>
                <a:lnTo>
                  <a:pt x="109770" y="41975"/>
                </a:lnTo>
                <a:lnTo>
                  <a:pt x="109932" y="45926"/>
                </a:lnTo>
                <a:lnTo>
                  <a:pt x="107984" y="47654"/>
                </a:lnTo>
                <a:lnTo>
                  <a:pt x="108147" y="53086"/>
                </a:lnTo>
                <a:lnTo>
                  <a:pt x="109770" y="55802"/>
                </a:lnTo>
                <a:lnTo>
                  <a:pt x="112368" y="56049"/>
                </a:lnTo>
                <a:lnTo>
                  <a:pt x="113343" y="60741"/>
                </a:lnTo>
                <a:lnTo>
                  <a:pt x="117565" y="65431"/>
                </a:lnTo>
                <a:lnTo>
                  <a:pt x="120000" y="68148"/>
                </a:lnTo>
                <a:lnTo>
                  <a:pt x="120000" y="71357"/>
                </a:lnTo>
                <a:lnTo>
                  <a:pt x="116428" y="74320"/>
                </a:lnTo>
                <a:lnTo>
                  <a:pt x="115129" y="79012"/>
                </a:lnTo>
                <a:lnTo>
                  <a:pt x="112368" y="84197"/>
                </a:lnTo>
                <a:lnTo>
                  <a:pt x="109446" y="86666"/>
                </a:lnTo>
                <a:lnTo>
                  <a:pt x="106198" y="86666"/>
                </a:lnTo>
                <a:lnTo>
                  <a:pt x="101976" y="93086"/>
                </a:lnTo>
                <a:lnTo>
                  <a:pt x="91096" y="95802"/>
                </a:lnTo>
                <a:lnTo>
                  <a:pt x="81516" y="99506"/>
                </a:lnTo>
                <a:lnTo>
                  <a:pt x="67551" y="104198"/>
                </a:lnTo>
                <a:lnTo>
                  <a:pt x="60406" y="105925"/>
                </a:lnTo>
                <a:lnTo>
                  <a:pt x="54073" y="105925"/>
                </a:lnTo>
                <a:lnTo>
                  <a:pt x="46117" y="110123"/>
                </a:lnTo>
                <a:lnTo>
                  <a:pt x="38484" y="111851"/>
                </a:lnTo>
                <a:lnTo>
                  <a:pt x="30365" y="115308"/>
                </a:lnTo>
                <a:lnTo>
                  <a:pt x="25494" y="115308"/>
                </a:lnTo>
                <a:lnTo>
                  <a:pt x="8769" y="120000"/>
                </a:lnTo>
                <a:lnTo>
                  <a:pt x="8769" y="110370"/>
                </a:lnTo>
                <a:lnTo>
                  <a:pt x="7307" y="107407"/>
                </a:lnTo>
                <a:lnTo>
                  <a:pt x="5683" y="83457"/>
                </a:lnTo>
                <a:lnTo>
                  <a:pt x="4059" y="75802"/>
                </a:lnTo>
                <a:lnTo>
                  <a:pt x="3572" y="66667"/>
                </a:lnTo>
                <a:close/>
              </a:path>
            </a:pathLst>
          </a:custGeom>
          <a:solidFill>
            <a:srgbClr val="A4C2F4"/>
          </a:solidFill>
          <a:ln w="9525" cap="flat" cmpd="sng">
            <a:solidFill>
              <a:srgbClr val="FFFFFF"/>
            </a:solidFill>
            <a:prstDash val="solid"/>
            <a:round/>
            <a:headEnd type="none" w="sm" len="sm"/>
            <a:tailEnd type="none" w="sm" len="sm"/>
          </a:ln>
        </p:spPr>
      </p:sp>
      <p:sp>
        <p:nvSpPr>
          <p:cNvPr id="270" name="Google Shape;270;p34"/>
          <p:cNvSpPr/>
          <p:nvPr/>
        </p:nvSpPr>
        <p:spPr>
          <a:xfrm>
            <a:off x="9295057" y="3441033"/>
            <a:ext cx="551200" cy="262800"/>
          </a:xfrm>
          <a:custGeom>
            <a:avLst/>
            <a:gdLst/>
            <a:ahLst/>
            <a:cxnLst/>
            <a:rect l="l" t="t" r="r" b="b"/>
            <a:pathLst>
              <a:path w="120000" h="120000" extrusionOk="0">
                <a:moveTo>
                  <a:pt x="0" y="38694"/>
                </a:moveTo>
                <a:lnTo>
                  <a:pt x="12000" y="32173"/>
                </a:lnTo>
                <a:lnTo>
                  <a:pt x="20690" y="30000"/>
                </a:lnTo>
                <a:lnTo>
                  <a:pt x="30621" y="22173"/>
                </a:lnTo>
                <a:lnTo>
                  <a:pt x="38896" y="22173"/>
                </a:lnTo>
                <a:lnTo>
                  <a:pt x="59586" y="13912"/>
                </a:lnTo>
                <a:lnTo>
                  <a:pt x="76758" y="4782"/>
                </a:lnTo>
                <a:lnTo>
                  <a:pt x="91655" y="0"/>
                </a:lnTo>
                <a:lnTo>
                  <a:pt x="97241" y="36521"/>
                </a:lnTo>
                <a:lnTo>
                  <a:pt x="100552" y="64348"/>
                </a:lnTo>
                <a:lnTo>
                  <a:pt x="103034" y="83912"/>
                </a:lnTo>
                <a:lnTo>
                  <a:pt x="120000" y="79130"/>
                </a:lnTo>
                <a:lnTo>
                  <a:pt x="120000" y="90000"/>
                </a:lnTo>
                <a:lnTo>
                  <a:pt x="118965" y="101739"/>
                </a:lnTo>
                <a:lnTo>
                  <a:pt x="117517" y="110867"/>
                </a:lnTo>
                <a:lnTo>
                  <a:pt x="111310" y="114346"/>
                </a:lnTo>
                <a:lnTo>
                  <a:pt x="107586" y="119564"/>
                </a:lnTo>
                <a:lnTo>
                  <a:pt x="104068" y="120000"/>
                </a:lnTo>
                <a:lnTo>
                  <a:pt x="102413" y="110867"/>
                </a:lnTo>
                <a:lnTo>
                  <a:pt x="100344" y="102173"/>
                </a:lnTo>
                <a:lnTo>
                  <a:pt x="95793" y="104782"/>
                </a:lnTo>
                <a:lnTo>
                  <a:pt x="91034" y="103912"/>
                </a:lnTo>
                <a:lnTo>
                  <a:pt x="89379" y="98261"/>
                </a:lnTo>
                <a:lnTo>
                  <a:pt x="87103" y="91303"/>
                </a:lnTo>
                <a:lnTo>
                  <a:pt x="87310" y="83043"/>
                </a:lnTo>
                <a:lnTo>
                  <a:pt x="89793" y="78261"/>
                </a:lnTo>
                <a:lnTo>
                  <a:pt x="88552" y="72609"/>
                </a:lnTo>
                <a:lnTo>
                  <a:pt x="85241" y="73912"/>
                </a:lnTo>
                <a:lnTo>
                  <a:pt x="84828" y="66088"/>
                </a:lnTo>
                <a:lnTo>
                  <a:pt x="88344" y="63043"/>
                </a:lnTo>
                <a:lnTo>
                  <a:pt x="87103" y="46957"/>
                </a:lnTo>
                <a:lnTo>
                  <a:pt x="83171" y="43479"/>
                </a:lnTo>
                <a:lnTo>
                  <a:pt x="84828" y="33043"/>
                </a:lnTo>
                <a:lnTo>
                  <a:pt x="88344" y="25218"/>
                </a:lnTo>
                <a:lnTo>
                  <a:pt x="87935" y="21742"/>
                </a:lnTo>
                <a:lnTo>
                  <a:pt x="86275" y="22609"/>
                </a:lnTo>
                <a:lnTo>
                  <a:pt x="82965" y="30436"/>
                </a:lnTo>
                <a:lnTo>
                  <a:pt x="80068" y="31737"/>
                </a:lnTo>
                <a:lnTo>
                  <a:pt x="80276" y="41739"/>
                </a:lnTo>
                <a:lnTo>
                  <a:pt x="78831" y="46962"/>
                </a:lnTo>
                <a:lnTo>
                  <a:pt x="81931" y="53043"/>
                </a:lnTo>
                <a:lnTo>
                  <a:pt x="80276" y="69128"/>
                </a:lnTo>
                <a:lnTo>
                  <a:pt x="80482" y="80434"/>
                </a:lnTo>
                <a:lnTo>
                  <a:pt x="82138" y="93043"/>
                </a:lnTo>
                <a:lnTo>
                  <a:pt x="85862" y="98694"/>
                </a:lnTo>
                <a:lnTo>
                  <a:pt x="87930" y="110867"/>
                </a:lnTo>
                <a:lnTo>
                  <a:pt x="85655" y="117391"/>
                </a:lnTo>
                <a:lnTo>
                  <a:pt x="78621" y="113043"/>
                </a:lnTo>
                <a:lnTo>
                  <a:pt x="70551" y="112609"/>
                </a:lnTo>
                <a:lnTo>
                  <a:pt x="63930" y="108697"/>
                </a:lnTo>
                <a:lnTo>
                  <a:pt x="62689" y="99564"/>
                </a:lnTo>
                <a:lnTo>
                  <a:pt x="64758" y="88697"/>
                </a:lnTo>
                <a:lnTo>
                  <a:pt x="67448" y="78694"/>
                </a:lnTo>
                <a:lnTo>
                  <a:pt x="69930" y="70436"/>
                </a:lnTo>
                <a:lnTo>
                  <a:pt x="68896" y="62609"/>
                </a:lnTo>
                <a:lnTo>
                  <a:pt x="64552" y="63479"/>
                </a:lnTo>
                <a:lnTo>
                  <a:pt x="63517" y="68697"/>
                </a:lnTo>
                <a:lnTo>
                  <a:pt x="58759" y="63479"/>
                </a:lnTo>
                <a:lnTo>
                  <a:pt x="53379" y="60434"/>
                </a:lnTo>
                <a:lnTo>
                  <a:pt x="51517" y="53476"/>
                </a:lnTo>
                <a:lnTo>
                  <a:pt x="46345" y="46521"/>
                </a:lnTo>
                <a:lnTo>
                  <a:pt x="41379" y="35216"/>
                </a:lnTo>
                <a:lnTo>
                  <a:pt x="36829" y="27827"/>
                </a:lnTo>
                <a:lnTo>
                  <a:pt x="32690" y="27827"/>
                </a:lnTo>
                <a:lnTo>
                  <a:pt x="28344" y="33912"/>
                </a:lnTo>
                <a:lnTo>
                  <a:pt x="26275" y="40434"/>
                </a:lnTo>
                <a:lnTo>
                  <a:pt x="17999" y="40434"/>
                </a:lnTo>
                <a:lnTo>
                  <a:pt x="14689" y="51737"/>
                </a:lnTo>
                <a:lnTo>
                  <a:pt x="10345" y="51303"/>
                </a:lnTo>
                <a:lnTo>
                  <a:pt x="4345" y="70436"/>
                </a:lnTo>
                <a:lnTo>
                  <a:pt x="1862" y="70867"/>
                </a:lnTo>
                <a:close/>
              </a:path>
            </a:pathLst>
          </a:custGeom>
          <a:solidFill>
            <a:srgbClr val="0B5394"/>
          </a:solidFill>
          <a:ln w="9525" cap="flat" cmpd="sng">
            <a:solidFill>
              <a:srgbClr val="FFFFFF"/>
            </a:solidFill>
            <a:prstDash val="solid"/>
            <a:round/>
            <a:headEnd type="none" w="sm" len="sm"/>
            <a:tailEnd type="none" w="sm" len="sm"/>
          </a:ln>
        </p:spPr>
      </p:sp>
      <p:sp>
        <p:nvSpPr>
          <p:cNvPr id="271" name="Google Shape;271;p34"/>
          <p:cNvSpPr/>
          <p:nvPr/>
        </p:nvSpPr>
        <p:spPr>
          <a:xfrm>
            <a:off x="8957579" y="3403632"/>
            <a:ext cx="548000" cy="545600"/>
          </a:xfrm>
          <a:custGeom>
            <a:avLst/>
            <a:gdLst/>
            <a:ahLst/>
            <a:cxnLst/>
            <a:rect l="l" t="t" r="r" b="b"/>
            <a:pathLst>
              <a:path w="120000" h="120000" extrusionOk="0">
                <a:moveTo>
                  <a:pt x="29116" y="45365"/>
                </a:moveTo>
                <a:lnTo>
                  <a:pt x="32860" y="42440"/>
                </a:lnTo>
                <a:lnTo>
                  <a:pt x="34108" y="38676"/>
                </a:lnTo>
                <a:lnTo>
                  <a:pt x="38474" y="33031"/>
                </a:lnTo>
                <a:lnTo>
                  <a:pt x="39722" y="16934"/>
                </a:lnTo>
                <a:lnTo>
                  <a:pt x="42218" y="0"/>
                </a:lnTo>
                <a:lnTo>
                  <a:pt x="44298" y="19861"/>
                </a:lnTo>
                <a:lnTo>
                  <a:pt x="46170" y="22578"/>
                </a:lnTo>
                <a:lnTo>
                  <a:pt x="46170" y="30732"/>
                </a:lnTo>
                <a:lnTo>
                  <a:pt x="68007" y="26760"/>
                </a:lnTo>
                <a:lnTo>
                  <a:pt x="73623" y="26760"/>
                </a:lnTo>
                <a:lnTo>
                  <a:pt x="75495" y="42230"/>
                </a:lnTo>
                <a:lnTo>
                  <a:pt x="77989" y="42022"/>
                </a:lnTo>
                <a:lnTo>
                  <a:pt x="83813" y="32823"/>
                </a:lnTo>
                <a:lnTo>
                  <a:pt x="88181" y="33031"/>
                </a:lnTo>
                <a:lnTo>
                  <a:pt x="91716" y="27595"/>
                </a:lnTo>
                <a:lnTo>
                  <a:pt x="100035" y="27595"/>
                </a:lnTo>
                <a:lnTo>
                  <a:pt x="101491" y="25087"/>
                </a:lnTo>
                <a:lnTo>
                  <a:pt x="103571" y="23206"/>
                </a:lnTo>
                <a:lnTo>
                  <a:pt x="106483" y="21324"/>
                </a:lnTo>
                <a:lnTo>
                  <a:pt x="110226" y="21534"/>
                </a:lnTo>
                <a:lnTo>
                  <a:pt x="115425" y="25505"/>
                </a:lnTo>
                <a:lnTo>
                  <a:pt x="120000" y="30523"/>
                </a:lnTo>
                <a:lnTo>
                  <a:pt x="119377" y="34913"/>
                </a:lnTo>
                <a:lnTo>
                  <a:pt x="118752" y="38049"/>
                </a:lnTo>
                <a:lnTo>
                  <a:pt x="111058" y="33659"/>
                </a:lnTo>
                <a:lnTo>
                  <a:pt x="105858" y="30732"/>
                </a:lnTo>
                <a:lnTo>
                  <a:pt x="102947" y="30314"/>
                </a:lnTo>
                <a:lnTo>
                  <a:pt x="102947" y="41394"/>
                </a:lnTo>
                <a:lnTo>
                  <a:pt x="100451" y="44948"/>
                </a:lnTo>
                <a:lnTo>
                  <a:pt x="99828" y="47875"/>
                </a:lnTo>
                <a:lnTo>
                  <a:pt x="96500" y="49966"/>
                </a:lnTo>
                <a:lnTo>
                  <a:pt x="94420" y="52474"/>
                </a:lnTo>
                <a:lnTo>
                  <a:pt x="94627" y="56028"/>
                </a:lnTo>
                <a:lnTo>
                  <a:pt x="88803" y="56028"/>
                </a:lnTo>
                <a:lnTo>
                  <a:pt x="85684" y="69408"/>
                </a:lnTo>
                <a:lnTo>
                  <a:pt x="81110" y="69408"/>
                </a:lnTo>
                <a:lnTo>
                  <a:pt x="77989" y="64808"/>
                </a:lnTo>
                <a:lnTo>
                  <a:pt x="74454" y="65018"/>
                </a:lnTo>
                <a:lnTo>
                  <a:pt x="74454" y="72544"/>
                </a:lnTo>
                <a:lnTo>
                  <a:pt x="72791" y="75261"/>
                </a:lnTo>
                <a:lnTo>
                  <a:pt x="70918" y="82788"/>
                </a:lnTo>
                <a:lnTo>
                  <a:pt x="68215" y="88223"/>
                </a:lnTo>
                <a:lnTo>
                  <a:pt x="64056" y="97212"/>
                </a:lnTo>
                <a:lnTo>
                  <a:pt x="64888" y="100140"/>
                </a:lnTo>
                <a:lnTo>
                  <a:pt x="64056" y="104530"/>
                </a:lnTo>
                <a:lnTo>
                  <a:pt x="61352" y="106412"/>
                </a:lnTo>
                <a:lnTo>
                  <a:pt x="57817" y="106620"/>
                </a:lnTo>
                <a:lnTo>
                  <a:pt x="54073" y="110383"/>
                </a:lnTo>
                <a:lnTo>
                  <a:pt x="51369" y="109339"/>
                </a:lnTo>
                <a:lnTo>
                  <a:pt x="48250" y="112892"/>
                </a:lnTo>
                <a:lnTo>
                  <a:pt x="46586" y="115192"/>
                </a:lnTo>
                <a:lnTo>
                  <a:pt x="43050" y="117283"/>
                </a:lnTo>
                <a:lnTo>
                  <a:pt x="38890" y="115610"/>
                </a:lnTo>
                <a:lnTo>
                  <a:pt x="36187" y="116237"/>
                </a:lnTo>
                <a:lnTo>
                  <a:pt x="32860" y="120000"/>
                </a:lnTo>
                <a:lnTo>
                  <a:pt x="28700" y="120000"/>
                </a:lnTo>
                <a:lnTo>
                  <a:pt x="24957" y="117909"/>
                </a:lnTo>
                <a:lnTo>
                  <a:pt x="21213" y="113520"/>
                </a:lnTo>
                <a:lnTo>
                  <a:pt x="19341" y="111220"/>
                </a:lnTo>
                <a:lnTo>
                  <a:pt x="13310" y="107666"/>
                </a:lnTo>
                <a:lnTo>
                  <a:pt x="9358" y="102022"/>
                </a:lnTo>
                <a:lnTo>
                  <a:pt x="6031" y="99722"/>
                </a:lnTo>
                <a:lnTo>
                  <a:pt x="6031" y="95748"/>
                </a:lnTo>
                <a:lnTo>
                  <a:pt x="207" y="92196"/>
                </a:lnTo>
                <a:lnTo>
                  <a:pt x="0" y="81533"/>
                </a:lnTo>
                <a:lnTo>
                  <a:pt x="1871" y="82579"/>
                </a:lnTo>
                <a:lnTo>
                  <a:pt x="6447" y="81951"/>
                </a:lnTo>
                <a:lnTo>
                  <a:pt x="6447" y="77143"/>
                </a:lnTo>
                <a:lnTo>
                  <a:pt x="9358" y="76516"/>
                </a:lnTo>
                <a:lnTo>
                  <a:pt x="9358" y="67317"/>
                </a:lnTo>
                <a:lnTo>
                  <a:pt x="10816" y="61045"/>
                </a:lnTo>
                <a:lnTo>
                  <a:pt x="14350" y="60837"/>
                </a:lnTo>
                <a:lnTo>
                  <a:pt x="15597" y="64182"/>
                </a:lnTo>
                <a:lnTo>
                  <a:pt x="19134" y="62927"/>
                </a:lnTo>
                <a:lnTo>
                  <a:pt x="17677" y="59164"/>
                </a:lnTo>
                <a:lnTo>
                  <a:pt x="17677" y="53311"/>
                </a:lnTo>
                <a:lnTo>
                  <a:pt x="24748" y="44739"/>
                </a:lnTo>
                <a:lnTo>
                  <a:pt x="25372" y="45994"/>
                </a:lnTo>
                <a:close/>
              </a:path>
            </a:pathLst>
          </a:custGeom>
          <a:solidFill>
            <a:srgbClr val="0B5394"/>
          </a:solidFill>
          <a:ln w="9525" cap="flat" cmpd="sng">
            <a:solidFill>
              <a:srgbClr val="FFFFFF"/>
            </a:solidFill>
            <a:prstDash val="solid"/>
            <a:round/>
            <a:headEnd type="none" w="sm" len="sm"/>
            <a:tailEnd type="none" w="sm" len="sm"/>
          </a:ln>
        </p:spPr>
      </p:sp>
      <p:sp>
        <p:nvSpPr>
          <p:cNvPr id="272" name="Google Shape;272;p34"/>
          <p:cNvSpPr txBox="1"/>
          <p:nvPr/>
        </p:nvSpPr>
        <p:spPr>
          <a:xfrm>
            <a:off x="9161148" y="1710512"/>
            <a:ext cx="1660400" cy="5140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800"/>
            </a:pPr>
            <a:r>
              <a:rPr lang="en" sz="1200" b="1" kern="0">
                <a:solidFill>
                  <a:srgbClr val="3C78D8"/>
                </a:solidFill>
                <a:latin typeface="Roboto"/>
                <a:ea typeface="Roboto"/>
                <a:cs typeface="Roboto"/>
                <a:sym typeface="Roboto"/>
              </a:rPr>
              <a:t>COREY L.</a:t>
            </a:r>
            <a:endParaRPr sz="1200" b="1" kern="0">
              <a:solidFill>
                <a:srgbClr val="3C78D8"/>
              </a:solidFill>
              <a:latin typeface="Roboto"/>
              <a:ea typeface="Roboto"/>
              <a:cs typeface="Roboto"/>
              <a:sym typeface="Roboto"/>
            </a:endParaRPr>
          </a:p>
          <a:p>
            <a:pPr defTabSz="1219170">
              <a:buClr>
                <a:srgbClr val="000000"/>
              </a:buClr>
              <a:buSzPts val="800"/>
            </a:pPr>
            <a:r>
              <a:rPr lang="en" sz="1200" b="1" kern="0">
                <a:solidFill>
                  <a:srgbClr val="3C78D8"/>
                </a:solidFill>
                <a:latin typeface="Roboto"/>
                <a:ea typeface="Roboto"/>
                <a:cs typeface="Roboto"/>
                <a:sym typeface="Roboto"/>
              </a:rPr>
              <a:t>GORDON</a:t>
            </a:r>
            <a:endParaRPr sz="1200" b="1" kern="0">
              <a:solidFill>
                <a:srgbClr val="3C78D8"/>
              </a:solidFill>
              <a:latin typeface="Roboto"/>
              <a:ea typeface="Roboto"/>
              <a:cs typeface="Roboto"/>
              <a:sym typeface="Roboto"/>
            </a:endParaRPr>
          </a:p>
        </p:txBody>
      </p:sp>
      <p:sp>
        <p:nvSpPr>
          <p:cNvPr id="273" name="Google Shape;273;p34"/>
          <p:cNvSpPr txBox="1"/>
          <p:nvPr/>
        </p:nvSpPr>
        <p:spPr>
          <a:xfrm>
            <a:off x="7235367" y="5875500"/>
            <a:ext cx="1107600" cy="4616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800"/>
            </a:pPr>
            <a:r>
              <a:rPr lang="en" sz="1200" b="1" kern="0">
                <a:solidFill>
                  <a:srgbClr val="E53935"/>
                </a:solidFill>
                <a:latin typeface="Roboto"/>
                <a:ea typeface="Roboto"/>
                <a:cs typeface="Roboto"/>
                <a:sym typeface="Roboto"/>
              </a:rPr>
              <a:t>AKILAH WILLERY</a:t>
            </a:r>
            <a:endParaRPr sz="1200" b="1" kern="0">
              <a:solidFill>
                <a:srgbClr val="E53935"/>
              </a:solidFill>
              <a:latin typeface="Roboto"/>
              <a:ea typeface="Roboto"/>
              <a:cs typeface="Roboto"/>
              <a:sym typeface="Roboto"/>
            </a:endParaRPr>
          </a:p>
        </p:txBody>
      </p:sp>
      <p:sp>
        <p:nvSpPr>
          <p:cNvPr id="274" name="Google Shape;274;p34"/>
          <p:cNvSpPr/>
          <p:nvPr/>
        </p:nvSpPr>
        <p:spPr>
          <a:xfrm>
            <a:off x="9586995" y="3577975"/>
            <a:ext cx="30400" cy="35200"/>
          </a:xfrm>
          <a:custGeom>
            <a:avLst/>
            <a:gdLst/>
            <a:ahLst/>
            <a:cxnLst/>
            <a:rect l="l" t="t" r="r" b="b"/>
            <a:pathLst>
              <a:path w="120000" h="120000" extrusionOk="0">
                <a:moveTo>
                  <a:pt x="0" y="45409"/>
                </a:moveTo>
                <a:lnTo>
                  <a:pt x="75000" y="120000"/>
                </a:lnTo>
                <a:lnTo>
                  <a:pt x="120000" y="64869"/>
                </a:lnTo>
                <a:lnTo>
                  <a:pt x="97500" y="0"/>
                </a:lnTo>
                <a:lnTo>
                  <a:pt x="22500" y="9722"/>
                </a:lnTo>
                <a:close/>
              </a:path>
            </a:pathLst>
          </a:custGeom>
          <a:solidFill>
            <a:srgbClr val="9FC5E8"/>
          </a:solidFill>
          <a:ln w="9525" cap="flat" cmpd="sng">
            <a:solidFill>
              <a:srgbClr val="FFFFFF"/>
            </a:solidFill>
            <a:prstDash val="solid"/>
            <a:round/>
            <a:headEnd type="none" w="sm" len="sm"/>
            <a:tailEnd type="none" w="sm" len="sm"/>
          </a:ln>
        </p:spPr>
      </p:sp>
      <p:sp>
        <p:nvSpPr>
          <p:cNvPr id="275" name="Google Shape;275;p34"/>
          <p:cNvSpPr txBox="1"/>
          <p:nvPr/>
        </p:nvSpPr>
        <p:spPr>
          <a:xfrm>
            <a:off x="4544233" y="5218467"/>
            <a:ext cx="1701600" cy="4688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900"/>
            </a:pPr>
            <a:r>
              <a:rPr lang="en" sz="1200" b="1" kern="0">
                <a:solidFill>
                  <a:srgbClr val="FBC02D"/>
                </a:solidFill>
                <a:latin typeface="Roboto"/>
                <a:ea typeface="Roboto"/>
                <a:cs typeface="Roboto"/>
                <a:sym typeface="Roboto"/>
              </a:rPr>
              <a:t>JENNETTE</a:t>
            </a:r>
            <a:br>
              <a:rPr lang="en" sz="1200" b="1" kern="0">
                <a:solidFill>
                  <a:srgbClr val="FBC02D"/>
                </a:solidFill>
                <a:latin typeface="Roboto"/>
                <a:ea typeface="Roboto"/>
                <a:cs typeface="Roboto"/>
                <a:sym typeface="Roboto"/>
              </a:rPr>
            </a:br>
            <a:r>
              <a:rPr lang="en" sz="1200" b="1" kern="0">
                <a:solidFill>
                  <a:srgbClr val="FBC02D"/>
                </a:solidFill>
                <a:latin typeface="Roboto"/>
                <a:ea typeface="Roboto"/>
                <a:cs typeface="Roboto"/>
                <a:sym typeface="Roboto"/>
              </a:rPr>
              <a:t>VANDERPOOL</a:t>
            </a:r>
            <a:endParaRPr sz="1200" kern="0">
              <a:solidFill>
                <a:srgbClr val="FBC02D"/>
              </a:solidFill>
              <a:latin typeface="Roboto"/>
              <a:ea typeface="Roboto"/>
              <a:cs typeface="Roboto"/>
              <a:sym typeface="Roboto"/>
            </a:endParaRPr>
          </a:p>
        </p:txBody>
      </p:sp>
      <p:sp>
        <p:nvSpPr>
          <p:cNvPr id="276" name="Google Shape;276;p34"/>
          <p:cNvSpPr/>
          <p:nvPr/>
        </p:nvSpPr>
        <p:spPr>
          <a:xfrm>
            <a:off x="10031011" y="2089577"/>
            <a:ext cx="449600" cy="709600"/>
          </a:xfrm>
          <a:custGeom>
            <a:avLst/>
            <a:gdLst/>
            <a:ahLst/>
            <a:cxnLst/>
            <a:rect l="l" t="t" r="r" b="b"/>
            <a:pathLst>
              <a:path w="120000" h="120000" extrusionOk="0">
                <a:moveTo>
                  <a:pt x="0" y="66356"/>
                </a:moveTo>
                <a:lnTo>
                  <a:pt x="1649" y="64426"/>
                </a:lnTo>
                <a:lnTo>
                  <a:pt x="5836" y="66356"/>
                </a:lnTo>
                <a:lnTo>
                  <a:pt x="7358" y="65714"/>
                </a:lnTo>
                <a:lnTo>
                  <a:pt x="8245" y="55901"/>
                </a:lnTo>
                <a:lnTo>
                  <a:pt x="16110" y="47697"/>
                </a:lnTo>
                <a:lnTo>
                  <a:pt x="16237" y="44640"/>
                </a:lnTo>
                <a:lnTo>
                  <a:pt x="14080" y="44317"/>
                </a:lnTo>
                <a:lnTo>
                  <a:pt x="12432" y="42469"/>
                </a:lnTo>
                <a:lnTo>
                  <a:pt x="12558" y="35229"/>
                </a:lnTo>
                <a:lnTo>
                  <a:pt x="16491" y="32818"/>
                </a:lnTo>
                <a:lnTo>
                  <a:pt x="16363" y="30083"/>
                </a:lnTo>
                <a:lnTo>
                  <a:pt x="15095" y="28473"/>
                </a:lnTo>
                <a:lnTo>
                  <a:pt x="14714" y="23004"/>
                </a:lnTo>
                <a:lnTo>
                  <a:pt x="27526" y="2575"/>
                </a:lnTo>
                <a:lnTo>
                  <a:pt x="32473" y="2494"/>
                </a:lnTo>
                <a:lnTo>
                  <a:pt x="33488" y="3056"/>
                </a:lnTo>
                <a:lnTo>
                  <a:pt x="32473" y="4182"/>
                </a:lnTo>
                <a:lnTo>
                  <a:pt x="35137" y="6596"/>
                </a:lnTo>
                <a:lnTo>
                  <a:pt x="38054" y="7559"/>
                </a:lnTo>
                <a:lnTo>
                  <a:pt x="41099" y="7320"/>
                </a:lnTo>
                <a:lnTo>
                  <a:pt x="42368" y="5309"/>
                </a:lnTo>
                <a:lnTo>
                  <a:pt x="45033" y="4344"/>
                </a:lnTo>
                <a:lnTo>
                  <a:pt x="50107" y="1367"/>
                </a:lnTo>
                <a:lnTo>
                  <a:pt x="52643" y="0"/>
                </a:lnTo>
                <a:lnTo>
                  <a:pt x="56575" y="161"/>
                </a:lnTo>
                <a:lnTo>
                  <a:pt x="68879" y="3861"/>
                </a:lnTo>
                <a:lnTo>
                  <a:pt x="70527" y="4826"/>
                </a:lnTo>
                <a:lnTo>
                  <a:pt x="86637" y="39493"/>
                </a:lnTo>
                <a:lnTo>
                  <a:pt x="97928" y="39493"/>
                </a:lnTo>
                <a:lnTo>
                  <a:pt x="99323" y="41583"/>
                </a:lnTo>
                <a:lnTo>
                  <a:pt x="100465" y="47778"/>
                </a:lnTo>
                <a:lnTo>
                  <a:pt x="104905" y="50672"/>
                </a:lnTo>
                <a:lnTo>
                  <a:pt x="107823" y="50030"/>
                </a:lnTo>
                <a:lnTo>
                  <a:pt x="106046" y="48984"/>
                </a:lnTo>
                <a:lnTo>
                  <a:pt x="107949" y="48420"/>
                </a:lnTo>
                <a:lnTo>
                  <a:pt x="110867" y="48501"/>
                </a:lnTo>
                <a:lnTo>
                  <a:pt x="115687" y="51718"/>
                </a:lnTo>
                <a:lnTo>
                  <a:pt x="116956" y="53005"/>
                </a:lnTo>
                <a:lnTo>
                  <a:pt x="118985" y="54452"/>
                </a:lnTo>
                <a:lnTo>
                  <a:pt x="120000" y="55980"/>
                </a:lnTo>
                <a:lnTo>
                  <a:pt x="119112" y="57670"/>
                </a:lnTo>
                <a:lnTo>
                  <a:pt x="116701" y="60324"/>
                </a:lnTo>
                <a:lnTo>
                  <a:pt x="116701" y="62013"/>
                </a:lnTo>
                <a:lnTo>
                  <a:pt x="114164" y="63139"/>
                </a:lnTo>
                <a:lnTo>
                  <a:pt x="110486" y="63862"/>
                </a:lnTo>
                <a:lnTo>
                  <a:pt x="98054" y="71827"/>
                </a:lnTo>
                <a:lnTo>
                  <a:pt x="96279" y="72549"/>
                </a:lnTo>
                <a:lnTo>
                  <a:pt x="95391" y="73594"/>
                </a:lnTo>
                <a:lnTo>
                  <a:pt x="93233" y="73436"/>
                </a:lnTo>
                <a:lnTo>
                  <a:pt x="92473" y="71022"/>
                </a:lnTo>
                <a:lnTo>
                  <a:pt x="88921" y="71181"/>
                </a:lnTo>
                <a:lnTo>
                  <a:pt x="87527" y="72632"/>
                </a:lnTo>
                <a:lnTo>
                  <a:pt x="85750" y="73354"/>
                </a:lnTo>
                <a:lnTo>
                  <a:pt x="83213" y="73436"/>
                </a:lnTo>
                <a:lnTo>
                  <a:pt x="82072" y="75444"/>
                </a:lnTo>
                <a:lnTo>
                  <a:pt x="80803" y="76491"/>
                </a:lnTo>
                <a:lnTo>
                  <a:pt x="82072" y="77857"/>
                </a:lnTo>
                <a:lnTo>
                  <a:pt x="80550" y="78582"/>
                </a:lnTo>
                <a:lnTo>
                  <a:pt x="76617" y="78341"/>
                </a:lnTo>
                <a:lnTo>
                  <a:pt x="75220" y="79306"/>
                </a:lnTo>
                <a:lnTo>
                  <a:pt x="73700" y="78341"/>
                </a:lnTo>
                <a:lnTo>
                  <a:pt x="72430" y="75444"/>
                </a:lnTo>
                <a:lnTo>
                  <a:pt x="70274" y="75526"/>
                </a:lnTo>
                <a:lnTo>
                  <a:pt x="68246" y="76893"/>
                </a:lnTo>
                <a:lnTo>
                  <a:pt x="70402" y="78582"/>
                </a:lnTo>
                <a:lnTo>
                  <a:pt x="70527" y="80593"/>
                </a:lnTo>
                <a:lnTo>
                  <a:pt x="69260" y="81479"/>
                </a:lnTo>
                <a:lnTo>
                  <a:pt x="69132" y="85500"/>
                </a:lnTo>
                <a:lnTo>
                  <a:pt x="70655" y="87107"/>
                </a:lnTo>
                <a:lnTo>
                  <a:pt x="69132" y="88716"/>
                </a:lnTo>
                <a:lnTo>
                  <a:pt x="66850" y="89923"/>
                </a:lnTo>
                <a:lnTo>
                  <a:pt x="61143" y="90082"/>
                </a:lnTo>
                <a:lnTo>
                  <a:pt x="61143" y="93218"/>
                </a:lnTo>
                <a:lnTo>
                  <a:pt x="57337" y="95391"/>
                </a:lnTo>
                <a:lnTo>
                  <a:pt x="52263" y="97403"/>
                </a:lnTo>
                <a:lnTo>
                  <a:pt x="50232" y="97482"/>
                </a:lnTo>
                <a:lnTo>
                  <a:pt x="48964" y="98367"/>
                </a:lnTo>
                <a:lnTo>
                  <a:pt x="46553" y="96840"/>
                </a:lnTo>
                <a:lnTo>
                  <a:pt x="44650" y="96840"/>
                </a:lnTo>
                <a:lnTo>
                  <a:pt x="43130" y="98769"/>
                </a:lnTo>
                <a:lnTo>
                  <a:pt x="41480" y="99978"/>
                </a:lnTo>
                <a:lnTo>
                  <a:pt x="40593" y="101666"/>
                </a:lnTo>
                <a:lnTo>
                  <a:pt x="39450" y="106653"/>
                </a:lnTo>
                <a:lnTo>
                  <a:pt x="38054" y="110750"/>
                </a:lnTo>
                <a:lnTo>
                  <a:pt x="36913" y="114288"/>
                </a:lnTo>
                <a:lnTo>
                  <a:pt x="35137" y="120000"/>
                </a:lnTo>
                <a:lnTo>
                  <a:pt x="31205" y="119516"/>
                </a:lnTo>
                <a:lnTo>
                  <a:pt x="31077" y="115654"/>
                </a:lnTo>
                <a:lnTo>
                  <a:pt x="26258" y="115257"/>
                </a:lnTo>
                <a:lnTo>
                  <a:pt x="22325" y="113728"/>
                </a:lnTo>
                <a:lnTo>
                  <a:pt x="22325" y="109949"/>
                </a:lnTo>
                <a:close/>
              </a:path>
            </a:pathLst>
          </a:custGeom>
          <a:solidFill>
            <a:srgbClr val="A4C2F4"/>
          </a:solidFill>
          <a:ln w="9525" cap="flat" cmpd="sng">
            <a:solidFill>
              <a:srgbClr val="FFFFFF"/>
            </a:solidFill>
            <a:prstDash val="solid"/>
            <a:round/>
            <a:headEnd type="none" w="sm" len="sm"/>
            <a:tailEnd type="none" w="sm" len="sm"/>
          </a:ln>
        </p:spPr>
      </p:sp>
      <p:sp>
        <p:nvSpPr>
          <p:cNvPr id="277" name="Google Shape;277;p34"/>
          <p:cNvSpPr/>
          <p:nvPr/>
        </p:nvSpPr>
        <p:spPr>
          <a:xfrm>
            <a:off x="9964620" y="2479961"/>
            <a:ext cx="196800" cy="416800"/>
          </a:xfrm>
          <a:custGeom>
            <a:avLst/>
            <a:gdLst/>
            <a:ahLst/>
            <a:cxnLst/>
            <a:rect l="l" t="t" r="r" b="b"/>
            <a:pathLst>
              <a:path w="120000" h="120000" extrusionOk="0">
                <a:moveTo>
                  <a:pt x="18261" y="15115"/>
                </a:moveTo>
                <a:lnTo>
                  <a:pt x="22170" y="3394"/>
                </a:lnTo>
                <a:lnTo>
                  <a:pt x="26737" y="0"/>
                </a:lnTo>
                <a:lnTo>
                  <a:pt x="35214" y="2776"/>
                </a:lnTo>
                <a:lnTo>
                  <a:pt x="40431" y="308"/>
                </a:lnTo>
                <a:lnTo>
                  <a:pt x="91304" y="74652"/>
                </a:lnTo>
                <a:lnTo>
                  <a:pt x="91304" y="81132"/>
                </a:lnTo>
                <a:lnTo>
                  <a:pt x="99781" y="83600"/>
                </a:lnTo>
                <a:lnTo>
                  <a:pt x="110866" y="84216"/>
                </a:lnTo>
                <a:lnTo>
                  <a:pt x="111523" y="91004"/>
                </a:lnTo>
                <a:lnTo>
                  <a:pt x="120000" y="91619"/>
                </a:lnTo>
                <a:lnTo>
                  <a:pt x="116741" y="99949"/>
                </a:lnTo>
                <a:lnTo>
                  <a:pt x="104998" y="101491"/>
                </a:lnTo>
                <a:lnTo>
                  <a:pt x="98480" y="105811"/>
                </a:lnTo>
                <a:lnTo>
                  <a:pt x="90654" y="107661"/>
                </a:lnTo>
                <a:lnTo>
                  <a:pt x="89346" y="112289"/>
                </a:lnTo>
                <a:lnTo>
                  <a:pt x="6518" y="120000"/>
                </a:lnTo>
                <a:lnTo>
                  <a:pt x="1958" y="117532"/>
                </a:lnTo>
                <a:lnTo>
                  <a:pt x="1958" y="112596"/>
                </a:lnTo>
                <a:lnTo>
                  <a:pt x="5217" y="102109"/>
                </a:lnTo>
                <a:lnTo>
                  <a:pt x="0" y="99642"/>
                </a:lnTo>
                <a:lnTo>
                  <a:pt x="0" y="82366"/>
                </a:lnTo>
                <a:lnTo>
                  <a:pt x="4567" y="71569"/>
                </a:lnTo>
                <a:lnTo>
                  <a:pt x="4567" y="55527"/>
                </a:lnTo>
                <a:lnTo>
                  <a:pt x="1301" y="49358"/>
                </a:lnTo>
                <a:lnTo>
                  <a:pt x="26087" y="39486"/>
                </a:lnTo>
                <a:lnTo>
                  <a:pt x="26087" y="30230"/>
                </a:lnTo>
                <a:lnTo>
                  <a:pt x="18911" y="26220"/>
                </a:lnTo>
                <a:close/>
              </a:path>
            </a:pathLst>
          </a:custGeom>
          <a:solidFill>
            <a:srgbClr val="A4C2F4"/>
          </a:solidFill>
          <a:ln w="9525" cap="flat" cmpd="sng">
            <a:solidFill>
              <a:srgbClr val="FFFFFF"/>
            </a:solidFill>
            <a:prstDash val="solid"/>
            <a:round/>
            <a:headEnd type="none" w="sm" len="sm"/>
            <a:tailEnd type="none" w="sm" len="sm"/>
          </a:ln>
        </p:spPr>
      </p:sp>
      <p:sp>
        <p:nvSpPr>
          <p:cNvPr id="278" name="Google Shape;278;p34"/>
          <p:cNvSpPr/>
          <p:nvPr/>
        </p:nvSpPr>
        <p:spPr>
          <a:xfrm>
            <a:off x="9902337" y="2828465"/>
            <a:ext cx="414800" cy="219600"/>
          </a:xfrm>
          <a:custGeom>
            <a:avLst/>
            <a:gdLst/>
            <a:ahLst/>
            <a:cxnLst/>
            <a:rect l="l" t="t" r="r" b="b"/>
            <a:pathLst>
              <a:path w="120000" h="120000" extrusionOk="0">
                <a:moveTo>
                  <a:pt x="82790" y="120000"/>
                </a:moveTo>
                <a:lnTo>
                  <a:pt x="89609" y="111807"/>
                </a:lnTo>
                <a:lnTo>
                  <a:pt x="88366" y="108894"/>
                </a:lnTo>
                <a:lnTo>
                  <a:pt x="87751" y="105366"/>
                </a:lnTo>
                <a:lnTo>
                  <a:pt x="94264" y="95999"/>
                </a:lnTo>
                <a:lnTo>
                  <a:pt x="95505" y="108291"/>
                </a:lnTo>
                <a:lnTo>
                  <a:pt x="99840" y="102452"/>
                </a:lnTo>
                <a:lnTo>
                  <a:pt x="105426" y="92489"/>
                </a:lnTo>
                <a:lnTo>
                  <a:pt x="114730" y="86048"/>
                </a:lnTo>
                <a:lnTo>
                  <a:pt x="120000" y="86048"/>
                </a:lnTo>
                <a:lnTo>
                  <a:pt x="116898" y="73171"/>
                </a:lnTo>
                <a:lnTo>
                  <a:pt x="113177" y="75513"/>
                </a:lnTo>
                <a:lnTo>
                  <a:pt x="107288" y="86048"/>
                </a:lnTo>
                <a:lnTo>
                  <a:pt x="99225" y="84296"/>
                </a:lnTo>
                <a:lnTo>
                  <a:pt x="94264" y="71420"/>
                </a:lnTo>
                <a:lnTo>
                  <a:pt x="88372" y="53270"/>
                </a:lnTo>
                <a:lnTo>
                  <a:pt x="84030" y="49170"/>
                </a:lnTo>
                <a:lnTo>
                  <a:pt x="79378" y="52686"/>
                </a:lnTo>
                <a:lnTo>
                  <a:pt x="75348" y="41561"/>
                </a:lnTo>
                <a:lnTo>
                  <a:pt x="81549" y="18150"/>
                </a:lnTo>
                <a:lnTo>
                  <a:pt x="75658" y="0"/>
                </a:lnTo>
                <a:lnTo>
                  <a:pt x="70697" y="2926"/>
                </a:lnTo>
                <a:lnTo>
                  <a:pt x="67598" y="11125"/>
                </a:lnTo>
                <a:lnTo>
                  <a:pt x="64186" y="14050"/>
                </a:lnTo>
                <a:lnTo>
                  <a:pt x="63564" y="22250"/>
                </a:lnTo>
                <a:lnTo>
                  <a:pt x="0" y="47412"/>
                </a:lnTo>
                <a:lnTo>
                  <a:pt x="0" y="108881"/>
                </a:lnTo>
                <a:lnTo>
                  <a:pt x="67907" y="79613"/>
                </a:lnTo>
                <a:lnTo>
                  <a:pt x="75967" y="101856"/>
                </a:lnTo>
                <a:close/>
              </a:path>
            </a:pathLst>
          </a:custGeom>
          <a:solidFill>
            <a:srgbClr val="A4C2F4"/>
          </a:solidFill>
          <a:ln w="9525" cap="flat" cmpd="sng">
            <a:solidFill>
              <a:srgbClr val="FFFFFF"/>
            </a:solidFill>
            <a:prstDash val="solid"/>
            <a:round/>
            <a:headEnd type="none" w="sm" len="sm"/>
            <a:tailEnd type="none" w="sm" len="sm"/>
          </a:ln>
        </p:spPr>
      </p:sp>
      <p:sp>
        <p:nvSpPr>
          <p:cNvPr id="279" name="Google Shape;279;p34"/>
          <p:cNvSpPr/>
          <p:nvPr/>
        </p:nvSpPr>
        <p:spPr>
          <a:xfrm>
            <a:off x="10082352" y="2974827"/>
            <a:ext cx="96800" cy="118400"/>
          </a:xfrm>
          <a:custGeom>
            <a:avLst/>
            <a:gdLst/>
            <a:ahLst/>
            <a:cxnLst/>
            <a:rect l="l" t="t" r="r" b="b"/>
            <a:pathLst>
              <a:path w="120000" h="120000" extrusionOk="0">
                <a:moveTo>
                  <a:pt x="0" y="10554"/>
                </a:moveTo>
                <a:lnTo>
                  <a:pt x="56473" y="0"/>
                </a:lnTo>
                <a:lnTo>
                  <a:pt x="120000" y="74877"/>
                </a:lnTo>
                <a:lnTo>
                  <a:pt x="104713" y="80635"/>
                </a:lnTo>
                <a:lnTo>
                  <a:pt x="95312" y="86368"/>
                </a:lnTo>
                <a:lnTo>
                  <a:pt x="89426" y="82529"/>
                </a:lnTo>
                <a:lnTo>
                  <a:pt x="81192" y="83486"/>
                </a:lnTo>
                <a:lnTo>
                  <a:pt x="80012" y="92126"/>
                </a:lnTo>
                <a:lnTo>
                  <a:pt x="74126" y="98882"/>
                </a:lnTo>
                <a:lnTo>
                  <a:pt x="52940" y="109441"/>
                </a:lnTo>
                <a:lnTo>
                  <a:pt x="27060" y="120000"/>
                </a:lnTo>
                <a:lnTo>
                  <a:pt x="27060" y="76801"/>
                </a:lnTo>
                <a:lnTo>
                  <a:pt x="15300" y="41280"/>
                </a:lnTo>
                <a:close/>
              </a:path>
            </a:pathLst>
          </a:custGeom>
          <a:solidFill>
            <a:srgbClr val="A4C2F4"/>
          </a:solidFill>
          <a:ln w="9525" cap="flat" cmpd="sng">
            <a:solidFill>
              <a:srgbClr val="FFFFFF"/>
            </a:solidFill>
            <a:prstDash val="solid"/>
            <a:round/>
            <a:headEnd type="none" w="sm" len="sm"/>
            <a:tailEnd type="none" w="sm" len="sm"/>
          </a:ln>
        </p:spPr>
      </p:sp>
      <p:sp>
        <p:nvSpPr>
          <p:cNvPr id="280" name="Google Shape;280;p34"/>
          <p:cNvSpPr/>
          <p:nvPr/>
        </p:nvSpPr>
        <p:spPr>
          <a:xfrm>
            <a:off x="9903660" y="2985277"/>
            <a:ext cx="212000" cy="206800"/>
          </a:xfrm>
          <a:custGeom>
            <a:avLst/>
            <a:gdLst/>
            <a:ahLst/>
            <a:cxnLst/>
            <a:rect l="l" t="t" r="r" b="b"/>
            <a:pathLst>
              <a:path w="120000" h="120000" extrusionOk="0">
                <a:moveTo>
                  <a:pt x="120000" y="63305"/>
                </a:moveTo>
                <a:lnTo>
                  <a:pt x="100542" y="70459"/>
                </a:lnTo>
                <a:lnTo>
                  <a:pt x="80000" y="77064"/>
                </a:lnTo>
                <a:lnTo>
                  <a:pt x="67568" y="78717"/>
                </a:lnTo>
                <a:lnTo>
                  <a:pt x="56217" y="86423"/>
                </a:lnTo>
                <a:lnTo>
                  <a:pt x="52438" y="84765"/>
                </a:lnTo>
                <a:lnTo>
                  <a:pt x="43243" y="91927"/>
                </a:lnTo>
                <a:lnTo>
                  <a:pt x="37838" y="99633"/>
                </a:lnTo>
                <a:lnTo>
                  <a:pt x="23783" y="110092"/>
                </a:lnTo>
                <a:lnTo>
                  <a:pt x="10272" y="120000"/>
                </a:lnTo>
                <a:lnTo>
                  <a:pt x="4867" y="109543"/>
                </a:lnTo>
                <a:lnTo>
                  <a:pt x="10272" y="104588"/>
                </a:lnTo>
                <a:lnTo>
                  <a:pt x="9730" y="74863"/>
                </a:lnTo>
                <a:lnTo>
                  <a:pt x="0" y="24773"/>
                </a:lnTo>
                <a:lnTo>
                  <a:pt x="107568" y="0"/>
                </a:lnTo>
                <a:lnTo>
                  <a:pt x="114594" y="19818"/>
                </a:lnTo>
                <a:lnTo>
                  <a:pt x="119461" y="37983"/>
                </a:lnTo>
                <a:close/>
              </a:path>
            </a:pathLst>
          </a:custGeom>
          <a:solidFill>
            <a:srgbClr val="A4C2F4"/>
          </a:solidFill>
          <a:ln w="9525" cap="flat" cmpd="sng">
            <a:solidFill>
              <a:srgbClr val="FFFFFF"/>
            </a:solidFill>
            <a:prstDash val="solid"/>
            <a:round/>
            <a:headEnd type="none" w="sm" len="sm"/>
            <a:tailEnd type="none" w="sm" len="sm"/>
          </a:ln>
        </p:spPr>
      </p:sp>
      <p:sp>
        <p:nvSpPr>
          <p:cNvPr id="281" name="Google Shape;281;p34"/>
          <p:cNvSpPr/>
          <p:nvPr/>
        </p:nvSpPr>
        <p:spPr>
          <a:xfrm>
            <a:off x="9743873" y="3164983"/>
            <a:ext cx="165600" cy="375600"/>
          </a:xfrm>
          <a:custGeom>
            <a:avLst/>
            <a:gdLst/>
            <a:ahLst/>
            <a:cxnLst/>
            <a:rect l="l" t="t" r="r" b="b"/>
            <a:pathLst>
              <a:path w="120000" h="120000" extrusionOk="0">
                <a:moveTo>
                  <a:pt x="71036" y="106937"/>
                </a:moveTo>
                <a:lnTo>
                  <a:pt x="67586" y="114229"/>
                </a:lnTo>
                <a:lnTo>
                  <a:pt x="66898" y="120000"/>
                </a:lnTo>
                <a:lnTo>
                  <a:pt x="80000" y="116962"/>
                </a:lnTo>
                <a:lnTo>
                  <a:pt x="85517" y="109671"/>
                </a:lnTo>
                <a:lnTo>
                  <a:pt x="86209" y="102987"/>
                </a:lnTo>
                <a:lnTo>
                  <a:pt x="107586" y="87797"/>
                </a:lnTo>
                <a:lnTo>
                  <a:pt x="117933" y="76860"/>
                </a:lnTo>
                <a:lnTo>
                  <a:pt x="120000" y="68354"/>
                </a:lnTo>
                <a:lnTo>
                  <a:pt x="117241" y="61063"/>
                </a:lnTo>
                <a:lnTo>
                  <a:pt x="116554" y="43747"/>
                </a:lnTo>
                <a:lnTo>
                  <a:pt x="111724" y="38886"/>
                </a:lnTo>
                <a:lnTo>
                  <a:pt x="96552" y="39189"/>
                </a:lnTo>
                <a:lnTo>
                  <a:pt x="88967" y="37367"/>
                </a:lnTo>
                <a:lnTo>
                  <a:pt x="91726" y="34329"/>
                </a:lnTo>
                <a:lnTo>
                  <a:pt x="91726" y="29468"/>
                </a:lnTo>
                <a:lnTo>
                  <a:pt x="103448" y="20961"/>
                </a:lnTo>
                <a:lnTo>
                  <a:pt x="104828" y="9417"/>
                </a:lnTo>
                <a:lnTo>
                  <a:pt x="74483" y="5771"/>
                </a:lnTo>
                <a:lnTo>
                  <a:pt x="57931" y="5164"/>
                </a:lnTo>
                <a:lnTo>
                  <a:pt x="30345" y="0"/>
                </a:lnTo>
                <a:lnTo>
                  <a:pt x="19310" y="3949"/>
                </a:lnTo>
                <a:lnTo>
                  <a:pt x="18622" y="11544"/>
                </a:lnTo>
                <a:lnTo>
                  <a:pt x="5517" y="20658"/>
                </a:lnTo>
                <a:lnTo>
                  <a:pt x="11726" y="25215"/>
                </a:lnTo>
                <a:lnTo>
                  <a:pt x="13105" y="30075"/>
                </a:lnTo>
                <a:lnTo>
                  <a:pt x="4829" y="32203"/>
                </a:lnTo>
                <a:lnTo>
                  <a:pt x="4829" y="38886"/>
                </a:lnTo>
                <a:lnTo>
                  <a:pt x="12414" y="42227"/>
                </a:lnTo>
                <a:lnTo>
                  <a:pt x="23448" y="41924"/>
                </a:lnTo>
                <a:lnTo>
                  <a:pt x="27586" y="48608"/>
                </a:lnTo>
                <a:lnTo>
                  <a:pt x="55864" y="57114"/>
                </a:lnTo>
                <a:lnTo>
                  <a:pt x="55864" y="61670"/>
                </a:lnTo>
                <a:lnTo>
                  <a:pt x="40691" y="64708"/>
                </a:lnTo>
                <a:lnTo>
                  <a:pt x="35174" y="70481"/>
                </a:lnTo>
                <a:lnTo>
                  <a:pt x="23448" y="76860"/>
                </a:lnTo>
                <a:lnTo>
                  <a:pt x="11726" y="79898"/>
                </a:lnTo>
                <a:lnTo>
                  <a:pt x="5517" y="85974"/>
                </a:lnTo>
                <a:lnTo>
                  <a:pt x="0" y="90532"/>
                </a:lnTo>
                <a:lnTo>
                  <a:pt x="8276" y="95696"/>
                </a:lnTo>
                <a:lnTo>
                  <a:pt x="23448" y="102380"/>
                </a:lnTo>
                <a:lnTo>
                  <a:pt x="48276" y="107240"/>
                </a:lnTo>
                <a:close/>
              </a:path>
            </a:pathLst>
          </a:custGeom>
          <a:solidFill>
            <a:srgbClr val="A4C2F4"/>
          </a:solidFill>
          <a:ln w="9525" cap="flat" cmpd="sng">
            <a:solidFill>
              <a:srgbClr val="FFFFFF"/>
            </a:solidFill>
            <a:prstDash val="solid"/>
            <a:round/>
            <a:headEnd type="none" w="sm" len="sm"/>
            <a:tailEnd type="none" w="sm" len="sm"/>
          </a:ln>
        </p:spPr>
      </p:sp>
      <p:sp>
        <p:nvSpPr>
          <p:cNvPr id="282" name="Google Shape;282;p34"/>
          <p:cNvSpPr/>
          <p:nvPr/>
        </p:nvSpPr>
        <p:spPr>
          <a:xfrm>
            <a:off x="9804852" y="2531433"/>
            <a:ext cx="202800" cy="383200"/>
          </a:xfrm>
          <a:custGeom>
            <a:avLst/>
            <a:gdLst/>
            <a:ahLst/>
            <a:cxnLst/>
            <a:rect l="l" t="t" r="r" b="b"/>
            <a:pathLst>
              <a:path w="120000" h="120000" extrusionOk="0">
                <a:moveTo>
                  <a:pt x="102222" y="114622"/>
                </a:moveTo>
                <a:lnTo>
                  <a:pt x="96509" y="112268"/>
                </a:lnTo>
                <a:lnTo>
                  <a:pt x="99682" y="94454"/>
                </a:lnTo>
                <a:lnTo>
                  <a:pt x="94603" y="91764"/>
                </a:lnTo>
                <a:lnTo>
                  <a:pt x="94603" y="73276"/>
                </a:lnTo>
                <a:lnTo>
                  <a:pt x="99682" y="62184"/>
                </a:lnTo>
                <a:lnTo>
                  <a:pt x="99682" y="44705"/>
                </a:lnTo>
                <a:lnTo>
                  <a:pt x="96509" y="38318"/>
                </a:lnTo>
                <a:lnTo>
                  <a:pt x="120000" y="26891"/>
                </a:lnTo>
                <a:lnTo>
                  <a:pt x="120000" y="16470"/>
                </a:lnTo>
                <a:lnTo>
                  <a:pt x="113647" y="12101"/>
                </a:lnTo>
                <a:lnTo>
                  <a:pt x="113014" y="0"/>
                </a:lnTo>
                <a:lnTo>
                  <a:pt x="0" y="15125"/>
                </a:lnTo>
                <a:lnTo>
                  <a:pt x="0" y="24202"/>
                </a:lnTo>
                <a:lnTo>
                  <a:pt x="4440" y="30251"/>
                </a:lnTo>
                <a:lnTo>
                  <a:pt x="5079" y="35629"/>
                </a:lnTo>
                <a:lnTo>
                  <a:pt x="12699" y="38318"/>
                </a:lnTo>
                <a:lnTo>
                  <a:pt x="12699" y="44370"/>
                </a:lnTo>
                <a:lnTo>
                  <a:pt x="15238" y="53108"/>
                </a:lnTo>
                <a:lnTo>
                  <a:pt x="12059" y="58151"/>
                </a:lnTo>
                <a:lnTo>
                  <a:pt x="19045" y="67227"/>
                </a:lnTo>
                <a:lnTo>
                  <a:pt x="23491" y="71596"/>
                </a:lnTo>
                <a:lnTo>
                  <a:pt x="25397" y="76974"/>
                </a:lnTo>
                <a:lnTo>
                  <a:pt x="22218" y="81682"/>
                </a:lnTo>
                <a:lnTo>
                  <a:pt x="27937" y="83697"/>
                </a:lnTo>
                <a:lnTo>
                  <a:pt x="37456" y="84032"/>
                </a:lnTo>
                <a:lnTo>
                  <a:pt x="51428" y="112607"/>
                </a:lnTo>
                <a:lnTo>
                  <a:pt x="51428" y="120000"/>
                </a:lnTo>
                <a:close/>
              </a:path>
            </a:pathLst>
          </a:custGeom>
          <a:solidFill>
            <a:srgbClr val="A4C2F4"/>
          </a:solidFill>
          <a:ln w="9525" cap="flat" cmpd="sng">
            <a:solidFill>
              <a:srgbClr val="FFFFFF"/>
            </a:solidFill>
            <a:prstDash val="solid"/>
            <a:round/>
            <a:headEnd type="none" w="sm" len="sm"/>
            <a:tailEnd type="none" w="sm" len="sm"/>
          </a:ln>
        </p:spPr>
      </p:sp>
      <p:sp>
        <p:nvSpPr>
          <p:cNvPr id="283" name="Google Shape;283;p34"/>
          <p:cNvSpPr/>
          <p:nvPr/>
        </p:nvSpPr>
        <p:spPr>
          <a:xfrm>
            <a:off x="9207688" y="2581187"/>
            <a:ext cx="895600" cy="693600"/>
          </a:xfrm>
          <a:custGeom>
            <a:avLst/>
            <a:gdLst/>
            <a:ahLst/>
            <a:cxnLst/>
            <a:rect l="l" t="t" r="r" b="b"/>
            <a:pathLst>
              <a:path w="120000" h="120000" extrusionOk="0">
                <a:moveTo>
                  <a:pt x="0" y="96658"/>
                </a:moveTo>
                <a:lnTo>
                  <a:pt x="3312" y="91891"/>
                </a:lnTo>
                <a:lnTo>
                  <a:pt x="3822" y="90083"/>
                </a:lnTo>
                <a:lnTo>
                  <a:pt x="6115" y="88275"/>
                </a:lnTo>
                <a:lnTo>
                  <a:pt x="7516" y="86467"/>
                </a:lnTo>
                <a:lnTo>
                  <a:pt x="7898" y="83509"/>
                </a:lnTo>
                <a:lnTo>
                  <a:pt x="9427" y="81535"/>
                </a:lnTo>
                <a:lnTo>
                  <a:pt x="10955" y="80385"/>
                </a:lnTo>
                <a:lnTo>
                  <a:pt x="9936" y="76604"/>
                </a:lnTo>
                <a:lnTo>
                  <a:pt x="7389" y="75124"/>
                </a:lnTo>
                <a:lnTo>
                  <a:pt x="5605" y="68056"/>
                </a:lnTo>
                <a:lnTo>
                  <a:pt x="9300" y="65097"/>
                </a:lnTo>
                <a:lnTo>
                  <a:pt x="13886" y="63124"/>
                </a:lnTo>
                <a:lnTo>
                  <a:pt x="18981" y="62302"/>
                </a:lnTo>
                <a:lnTo>
                  <a:pt x="21146" y="61809"/>
                </a:lnTo>
                <a:lnTo>
                  <a:pt x="25732" y="61809"/>
                </a:lnTo>
                <a:lnTo>
                  <a:pt x="27261" y="63288"/>
                </a:lnTo>
                <a:lnTo>
                  <a:pt x="30064" y="62467"/>
                </a:lnTo>
                <a:lnTo>
                  <a:pt x="33121" y="60165"/>
                </a:lnTo>
                <a:lnTo>
                  <a:pt x="37197" y="60165"/>
                </a:lnTo>
                <a:lnTo>
                  <a:pt x="40000" y="57206"/>
                </a:lnTo>
                <a:lnTo>
                  <a:pt x="42166" y="53919"/>
                </a:lnTo>
                <a:lnTo>
                  <a:pt x="43949" y="51124"/>
                </a:lnTo>
                <a:lnTo>
                  <a:pt x="46752" y="50466"/>
                </a:lnTo>
                <a:lnTo>
                  <a:pt x="46242" y="47343"/>
                </a:lnTo>
                <a:lnTo>
                  <a:pt x="44968" y="43233"/>
                </a:lnTo>
                <a:lnTo>
                  <a:pt x="46115" y="40767"/>
                </a:lnTo>
                <a:lnTo>
                  <a:pt x="46242" y="38467"/>
                </a:lnTo>
                <a:lnTo>
                  <a:pt x="43440" y="37643"/>
                </a:lnTo>
                <a:lnTo>
                  <a:pt x="41911" y="36000"/>
                </a:lnTo>
                <a:lnTo>
                  <a:pt x="41911" y="33205"/>
                </a:lnTo>
                <a:lnTo>
                  <a:pt x="48281" y="25479"/>
                </a:lnTo>
                <a:lnTo>
                  <a:pt x="50191" y="20055"/>
                </a:lnTo>
                <a:lnTo>
                  <a:pt x="52867" y="14958"/>
                </a:lnTo>
                <a:lnTo>
                  <a:pt x="55924" y="10027"/>
                </a:lnTo>
                <a:lnTo>
                  <a:pt x="58472" y="7233"/>
                </a:lnTo>
                <a:lnTo>
                  <a:pt x="61274" y="5589"/>
                </a:lnTo>
                <a:lnTo>
                  <a:pt x="67898" y="3945"/>
                </a:lnTo>
                <a:lnTo>
                  <a:pt x="73758" y="2630"/>
                </a:lnTo>
                <a:lnTo>
                  <a:pt x="81274" y="0"/>
                </a:lnTo>
                <a:lnTo>
                  <a:pt x="81274" y="4767"/>
                </a:lnTo>
                <a:lnTo>
                  <a:pt x="82293" y="8054"/>
                </a:lnTo>
                <a:lnTo>
                  <a:pt x="82421" y="11343"/>
                </a:lnTo>
                <a:lnTo>
                  <a:pt x="84331" y="12823"/>
                </a:lnTo>
                <a:lnTo>
                  <a:pt x="84331" y="16438"/>
                </a:lnTo>
                <a:lnTo>
                  <a:pt x="84714" y="20876"/>
                </a:lnTo>
                <a:lnTo>
                  <a:pt x="84076" y="23672"/>
                </a:lnTo>
                <a:lnTo>
                  <a:pt x="85478" y="28275"/>
                </a:lnTo>
                <a:lnTo>
                  <a:pt x="86624" y="30575"/>
                </a:lnTo>
                <a:lnTo>
                  <a:pt x="87134" y="34028"/>
                </a:lnTo>
                <a:lnTo>
                  <a:pt x="86242" y="36328"/>
                </a:lnTo>
                <a:lnTo>
                  <a:pt x="87643" y="37643"/>
                </a:lnTo>
                <a:lnTo>
                  <a:pt x="89809" y="37808"/>
                </a:lnTo>
                <a:lnTo>
                  <a:pt x="93121" y="53590"/>
                </a:lnTo>
                <a:lnTo>
                  <a:pt x="93121" y="77262"/>
                </a:lnTo>
                <a:lnTo>
                  <a:pt x="94650" y="86631"/>
                </a:lnTo>
                <a:lnTo>
                  <a:pt x="95414" y="92220"/>
                </a:lnTo>
                <a:lnTo>
                  <a:pt x="95669" y="101262"/>
                </a:lnTo>
                <a:lnTo>
                  <a:pt x="94395" y="102576"/>
                </a:lnTo>
                <a:lnTo>
                  <a:pt x="95541" y="105700"/>
                </a:lnTo>
                <a:lnTo>
                  <a:pt x="94905" y="108494"/>
                </a:lnTo>
                <a:lnTo>
                  <a:pt x="94777" y="111453"/>
                </a:lnTo>
                <a:lnTo>
                  <a:pt x="98854" y="106850"/>
                </a:lnTo>
                <a:lnTo>
                  <a:pt x="99746" y="105042"/>
                </a:lnTo>
                <a:lnTo>
                  <a:pt x="102039" y="105865"/>
                </a:lnTo>
                <a:lnTo>
                  <a:pt x="106242" y="103891"/>
                </a:lnTo>
                <a:lnTo>
                  <a:pt x="109682" y="102083"/>
                </a:lnTo>
                <a:lnTo>
                  <a:pt x="112357" y="100276"/>
                </a:lnTo>
                <a:lnTo>
                  <a:pt x="115287" y="96165"/>
                </a:lnTo>
                <a:lnTo>
                  <a:pt x="120000" y="98303"/>
                </a:lnTo>
                <a:lnTo>
                  <a:pt x="114904" y="103726"/>
                </a:lnTo>
                <a:lnTo>
                  <a:pt x="109937" y="108329"/>
                </a:lnTo>
                <a:lnTo>
                  <a:pt x="105860" y="112111"/>
                </a:lnTo>
                <a:lnTo>
                  <a:pt x="101656" y="114576"/>
                </a:lnTo>
                <a:lnTo>
                  <a:pt x="95541" y="116714"/>
                </a:lnTo>
                <a:lnTo>
                  <a:pt x="92612" y="117207"/>
                </a:lnTo>
                <a:lnTo>
                  <a:pt x="91338" y="119837"/>
                </a:lnTo>
                <a:lnTo>
                  <a:pt x="90066" y="120000"/>
                </a:lnTo>
                <a:lnTo>
                  <a:pt x="90064" y="117207"/>
                </a:lnTo>
                <a:lnTo>
                  <a:pt x="92229" y="112111"/>
                </a:lnTo>
                <a:lnTo>
                  <a:pt x="92484" y="106194"/>
                </a:lnTo>
                <a:lnTo>
                  <a:pt x="87261" y="104221"/>
                </a:lnTo>
                <a:lnTo>
                  <a:pt x="83567" y="103726"/>
                </a:lnTo>
                <a:lnTo>
                  <a:pt x="78599" y="100768"/>
                </a:lnTo>
                <a:lnTo>
                  <a:pt x="77325" y="98796"/>
                </a:lnTo>
                <a:lnTo>
                  <a:pt x="74140" y="98632"/>
                </a:lnTo>
                <a:lnTo>
                  <a:pt x="72357" y="96002"/>
                </a:lnTo>
                <a:lnTo>
                  <a:pt x="70191" y="89590"/>
                </a:lnTo>
                <a:lnTo>
                  <a:pt x="68025" y="89755"/>
                </a:lnTo>
                <a:lnTo>
                  <a:pt x="67134" y="87453"/>
                </a:lnTo>
                <a:lnTo>
                  <a:pt x="64459" y="86303"/>
                </a:lnTo>
                <a:lnTo>
                  <a:pt x="61656" y="87946"/>
                </a:lnTo>
                <a:lnTo>
                  <a:pt x="39490" y="93864"/>
                </a:lnTo>
                <a:lnTo>
                  <a:pt x="23439" y="98138"/>
                </a:lnTo>
                <a:lnTo>
                  <a:pt x="11338" y="101262"/>
                </a:lnTo>
                <a:lnTo>
                  <a:pt x="4076" y="102411"/>
                </a:lnTo>
                <a:lnTo>
                  <a:pt x="0" y="103235"/>
                </a:lnTo>
                <a:close/>
              </a:path>
            </a:pathLst>
          </a:custGeom>
          <a:solidFill>
            <a:srgbClr val="A4C2F4"/>
          </a:solidFill>
          <a:ln w="9525" cap="flat" cmpd="sng">
            <a:solidFill>
              <a:srgbClr val="FFFFFF"/>
            </a:solidFill>
            <a:prstDash val="solid"/>
            <a:round/>
            <a:headEnd type="none" w="sm" len="sm"/>
            <a:tailEnd type="none" w="sm" len="sm"/>
          </a:ln>
        </p:spPr>
      </p:sp>
      <p:sp>
        <p:nvSpPr>
          <p:cNvPr id="284" name="Google Shape;284;p34"/>
          <p:cNvSpPr/>
          <p:nvPr/>
        </p:nvSpPr>
        <p:spPr>
          <a:xfrm>
            <a:off x="10060400" y="2952500"/>
            <a:ext cx="492275" cy="567621"/>
          </a:xfrm>
          <a:custGeom>
            <a:avLst/>
            <a:gdLst/>
            <a:ahLst/>
            <a:cxnLst/>
            <a:rect l="l" t="t" r="r" b="b"/>
            <a:pathLst>
              <a:path w="25423" h="23984" extrusionOk="0">
                <a:moveTo>
                  <a:pt x="0" y="9927"/>
                </a:moveTo>
                <a:lnTo>
                  <a:pt x="25423" y="0"/>
                </a:lnTo>
                <a:lnTo>
                  <a:pt x="25377" y="23984"/>
                </a:lnTo>
                <a:lnTo>
                  <a:pt x="0" y="14474"/>
                </a:lnTo>
                <a:close/>
              </a:path>
            </a:pathLst>
          </a:custGeom>
          <a:solidFill>
            <a:srgbClr val="CCCCCC"/>
          </a:solidFill>
          <a:ln w="28575" cap="flat" cmpd="sng">
            <a:solidFill>
              <a:srgbClr val="CCCCCC"/>
            </a:solidFill>
            <a:prstDash val="solid"/>
            <a:round/>
            <a:headEnd type="none" w="sm" len="sm"/>
            <a:tailEnd type="none" w="sm" len="sm"/>
          </a:ln>
        </p:spPr>
      </p:sp>
      <p:sp>
        <p:nvSpPr>
          <p:cNvPr id="285" name="Google Shape;285;p34"/>
          <p:cNvSpPr txBox="1"/>
          <p:nvPr/>
        </p:nvSpPr>
        <p:spPr>
          <a:xfrm>
            <a:off x="11165285" y="2276485"/>
            <a:ext cx="1006400" cy="4504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900"/>
            </a:pPr>
            <a:r>
              <a:rPr lang="en" sz="1200" b="1" kern="0">
                <a:solidFill>
                  <a:srgbClr val="7CB342"/>
                </a:solidFill>
                <a:latin typeface="Roboto"/>
                <a:ea typeface="Roboto"/>
                <a:cs typeface="Roboto"/>
                <a:sym typeface="Roboto"/>
              </a:rPr>
              <a:t>DIANA GROSS</a:t>
            </a:r>
            <a:endParaRPr sz="1200" kern="0">
              <a:solidFill>
                <a:srgbClr val="7CB342"/>
              </a:solidFill>
              <a:latin typeface="Roboto"/>
              <a:ea typeface="Roboto"/>
              <a:cs typeface="Roboto"/>
              <a:sym typeface="Roboto"/>
            </a:endParaRPr>
          </a:p>
        </p:txBody>
      </p:sp>
      <p:sp>
        <p:nvSpPr>
          <p:cNvPr id="286" name="Google Shape;286;p34"/>
          <p:cNvSpPr/>
          <p:nvPr/>
        </p:nvSpPr>
        <p:spPr>
          <a:xfrm>
            <a:off x="9881574" y="3188607"/>
            <a:ext cx="91684" cy="86227"/>
          </a:xfrm>
          <a:custGeom>
            <a:avLst/>
            <a:gdLst/>
            <a:ahLst/>
            <a:cxnLst/>
            <a:rect l="l" t="t" r="r" b="b"/>
            <a:pathLst>
              <a:path w="3595" h="3381" extrusionOk="0">
                <a:moveTo>
                  <a:pt x="1452" y="0"/>
                </a:moveTo>
                <a:lnTo>
                  <a:pt x="571" y="333"/>
                </a:lnTo>
                <a:lnTo>
                  <a:pt x="643" y="1691"/>
                </a:lnTo>
                <a:lnTo>
                  <a:pt x="0" y="2905"/>
                </a:lnTo>
                <a:lnTo>
                  <a:pt x="71" y="3381"/>
                </a:lnTo>
                <a:lnTo>
                  <a:pt x="547" y="3381"/>
                </a:lnTo>
                <a:lnTo>
                  <a:pt x="809" y="2834"/>
                </a:lnTo>
                <a:lnTo>
                  <a:pt x="3595" y="2167"/>
                </a:lnTo>
                <a:lnTo>
                  <a:pt x="2952" y="95"/>
                </a:lnTo>
                <a:lnTo>
                  <a:pt x="1452" y="1333"/>
                </a:lnTo>
                <a:close/>
              </a:path>
            </a:pathLst>
          </a:custGeom>
          <a:solidFill>
            <a:srgbClr val="7CB342"/>
          </a:solidFill>
          <a:ln w="9525" cap="flat" cmpd="sng">
            <a:solidFill>
              <a:srgbClr val="FFFFFF"/>
            </a:solidFill>
            <a:prstDash val="solid"/>
            <a:round/>
            <a:headEnd type="none" w="sm" len="sm"/>
            <a:tailEnd type="none" w="sm" len="sm"/>
          </a:ln>
        </p:spPr>
      </p:sp>
      <p:sp>
        <p:nvSpPr>
          <p:cNvPr id="287" name="Google Shape;287;p34"/>
          <p:cNvSpPr/>
          <p:nvPr/>
        </p:nvSpPr>
        <p:spPr>
          <a:xfrm>
            <a:off x="10822839" y="3132121"/>
            <a:ext cx="92908" cy="91097"/>
          </a:xfrm>
          <a:custGeom>
            <a:avLst/>
            <a:gdLst/>
            <a:ahLst/>
            <a:cxnLst/>
            <a:rect l="l" t="t" r="r" b="b"/>
            <a:pathLst>
              <a:path w="3643" h="3572" extrusionOk="0">
                <a:moveTo>
                  <a:pt x="476" y="0"/>
                </a:moveTo>
                <a:lnTo>
                  <a:pt x="1667" y="477"/>
                </a:lnTo>
                <a:lnTo>
                  <a:pt x="1976" y="215"/>
                </a:lnTo>
                <a:lnTo>
                  <a:pt x="2405" y="715"/>
                </a:lnTo>
                <a:lnTo>
                  <a:pt x="3643" y="1000"/>
                </a:lnTo>
                <a:lnTo>
                  <a:pt x="3477" y="1762"/>
                </a:lnTo>
                <a:lnTo>
                  <a:pt x="2881" y="1477"/>
                </a:lnTo>
                <a:lnTo>
                  <a:pt x="3096" y="2215"/>
                </a:lnTo>
                <a:lnTo>
                  <a:pt x="2929" y="2691"/>
                </a:lnTo>
                <a:lnTo>
                  <a:pt x="3286" y="3406"/>
                </a:lnTo>
                <a:lnTo>
                  <a:pt x="2691" y="3120"/>
                </a:lnTo>
                <a:lnTo>
                  <a:pt x="2453" y="2715"/>
                </a:lnTo>
                <a:lnTo>
                  <a:pt x="2024" y="3191"/>
                </a:lnTo>
                <a:lnTo>
                  <a:pt x="1715" y="2882"/>
                </a:lnTo>
                <a:lnTo>
                  <a:pt x="1572" y="3358"/>
                </a:lnTo>
                <a:lnTo>
                  <a:pt x="1143" y="3191"/>
                </a:lnTo>
                <a:lnTo>
                  <a:pt x="357" y="3572"/>
                </a:lnTo>
                <a:lnTo>
                  <a:pt x="167" y="2953"/>
                </a:lnTo>
                <a:lnTo>
                  <a:pt x="262" y="2286"/>
                </a:lnTo>
                <a:lnTo>
                  <a:pt x="691" y="1524"/>
                </a:lnTo>
                <a:lnTo>
                  <a:pt x="0" y="1191"/>
                </a:lnTo>
                <a:close/>
              </a:path>
            </a:pathLst>
          </a:custGeom>
          <a:solidFill>
            <a:srgbClr val="7CB342"/>
          </a:solidFill>
          <a:ln w="9525" cap="flat" cmpd="sng">
            <a:solidFill>
              <a:srgbClr val="FFFFFF"/>
            </a:solidFill>
            <a:prstDash val="solid"/>
            <a:round/>
            <a:headEnd type="none" w="sm" len="sm"/>
            <a:tailEnd type="none" w="sm" len="sm"/>
          </a:ln>
        </p:spPr>
      </p:sp>
      <p:sp>
        <p:nvSpPr>
          <p:cNvPr id="288" name="Google Shape;288;p34"/>
          <p:cNvSpPr/>
          <p:nvPr/>
        </p:nvSpPr>
        <p:spPr>
          <a:xfrm>
            <a:off x="10771835" y="3164304"/>
            <a:ext cx="67405" cy="145752"/>
          </a:xfrm>
          <a:custGeom>
            <a:avLst/>
            <a:gdLst/>
            <a:ahLst/>
            <a:cxnLst/>
            <a:rect l="l" t="t" r="r" b="b"/>
            <a:pathLst>
              <a:path w="2643" h="5715" extrusionOk="0">
                <a:moveTo>
                  <a:pt x="1286" y="5025"/>
                </a:moveTo>
                <a:lnTo>
                  <a:pt x="0" y="5715"/>
                </a:lnTo>
                <a:lnTo>
                  <a:pt x="286" y="3715"/>
                </a:lnTo>
                <a:lnTo>
                  <a:pt x="1929" y="0"/>
                </a:lnTo>
                <a:lnTo>
                  <a:pt x="2643" y="286"/>
                </a:lnTo>
                <a:lnTo>
                  <a:pt x="2191" y="1501"/>
                </a:lnTo>
                <a:lnTo>
                  <a:pt x="2476" y="2667"/>
                </a:lnTo>
                <a:lnTo>
                  <a:pt x="1524" y="4096"/>
                </a:lnTo>
                <a:close/>
              </a:path>
            </a:pathLst>
          </a:custGeom>
          <a:solidFill>
            <a:srgbClr val="7CB342"/>
          </a:solidFill>
          <a:ln w="9525" cap="flat" cmpd="sng">
            <a:solidFill>
              <a:srgbClr val="FFFFFF"/>
            </a:solidFill>
            <a:prstDash val="solid"/>
            <a:round/>
            <a:headEnd type="none" w="sm" len="sm"/>
            <a:tailEnd type="none" w="sm" len="sm"/>
          </a:ln>
        </p:spPr>
      </p:sp>
      <p:sp>
        <p:nvSpPr>
          <p:cNvPr id="289" name="Google Shape;289;p34"/>
          <p:cNvSpPr/>
          <p:nvPr/>
        </p:nvSpPr>
        <p:spPr>
          <a:xfrm>
            <a:off x="10639452" y="3355007"/>
            <a:ext cx="120835" cy="120835"/>
          </a:xfrm>
          <a:custGeom>
            <a:avLst/>
            <a:gdLst/>
            <a:ahLst/>
            <a:cxnLst/>
            <a:rect l="l" t="t" r="r" b="b"/>
            <a:pathLst>
              <a:path w="4738" h="4738" extrusionOk="0">
                <a:moveTo>
                  <a:pt x="4143" y="0"/>
                </a:moveTo>
                <a:lnTo>
                  <a:pt x="4214" y="738"/>
                </a:lnTo>
                <a:lnTo>
                  <a:pt x="4738" y="1143"/>
                </a:lnTo>
                <a:lnTo>
                  <a:pt x="4524" y="1809"/>
                </a:lnTo>
                <a:lnTo>
                  <a:pt x="3048" y="3619"/>
                </a:lnTo>
                <a:lnTo>
                  <a:pt x="2857" y="3071"/>
                </a:lnTo>
                <a:lnTo>
                  <a:pt x="2429" y="4048"/>
                </a:lnTo>
                <a:lnTo>
                  <a:pt x="0" y="4738"/>
                </a:lnTo>
                <a:lnTo>
                  <a:pt x="476" y="3714"/>
                </a:lnTo>
                <a:lnTo>
                  <a:pt x="333" y="3167"/>
                </a:lnTo>
                <a:lnTo>
                  <a:pt x="1166" y="2667"/>
                </a:lnTo>
                <a:lnTo>
                  <a:pt x="1571" y="285"/>
                </a:lnTo>
                <a:lnTo>
                  <a:pt x="1905" y="95"/>
                </a:lnTo>
                <a:lnTo>
                  <a:pt x="2452" y="238"/>
                </a:lnTo>
                <a:close/>
              </a:path>
            </a:pathLst>
          </a:custGeom>
          <a:solidFill>
            <a:srgbClr val="7CB342"/>
          </a:solidFill>
          <a:ln w="9525" cap="flat" cmpd="sng">
            <a:solidFill>
              <a:srgbClr val="FFFFFF"/>
            </a:solidFill>
            <a:prstDash val="solid"/>
            <a:round/>
            <a:headEnd type="none" w="sm" len="sm"/>
            <a:tailEnd type="none" w="sm" len="sm"/>
          </a:ln>
        </p:spPr>
      </p:sp>
      <p:sp>
        <p:nvSpPr>
          <p:cNvPr id="290" name="Google Shape;290;p34"/>
          <p:cNvSpPr/>
          <p:nvPr/>
        </p:nvSpPr>
        <p:spPr>
          <a:xfrm>
            <a:off x="10769412" y="3277864"/>
            <a:ext cx="109307" cy="135448"/>
          </a:xfrm>
          <a:custGeom>
            <a:avLst/>
            <a:gdLst/>
            <a:ahLst/>
            <a:cxnLst/>
            <a:rect l="l" t="t" r="r" b="b"/>
            <a:pathLst>
              <a:path w="4286" h="5311" extrusionOk="0">
                <a:moveTo>
                  <a:pt x="1857" y="0"/>
                </a:moveTo>
                <a:lnTo>
                  <a:pt x="2667" y="548"/>
                </a:lnTo>
                <a:lnTo>
                  <a:pt x="2667" y="834"/>
                </a:lnTo>
                <a:lnTo>
                  <a:pt x="3476" y="1667"/>
                </a:lnTo>
                <a:lnTo>
                  <a:pt x="3929" y="1334"/>
                </a:lnTo>
                <a:lnTo>
                  <a:pt x="4286" y="2191"/>
                </a:lnTo>
                <a:lnTo>
                  <a:pt x="4143" y="2405"/>
                </a:lnTo>
                <a:lnTo>
                  <a:pt x="4191" y="2763"/>
                </a:lnTo>
                <a:lnTo>
                  <a:pt x="3952" y="2763"/>
                </a:lnTo>
                <a:lnTo>
                  <a:pt x="3643" y="3120"/>
                </a:lnTo>
                <a:lnTo>
                  <a:pt x="2857" y="3310"/>
                </a:lnTo>
                <a:lnTo>
                  <a:pt x="3500" y="3763"/>
                </a:lnTo>
                <a:lnTo>
                  <a:pt x="3333" y="4096"/>
                </a:lnTo>
                <a:lnTo>
                  <a:pt x="3690" y="4310"/>
                </a:lnTo>
                <a:lnTo>
                  <a:pt x="3786" y="4977"/>
                </a:lnTo>
                <a:lnTo>
                  <a:pt x="3309" y="5072"/>
                </a:lnTo>
                <a:lnTo>
                  <a:pt x="2928" y="4263"/>
                </a:lnTo>
                <a:lnTo>
                  <a:pt x="2619" y="4239"/>
                </a:lnTo>
                <a:lnTo>
                  <a:pt x="2809" y="4953"/>
                </a:lnTo>
                <a:lnTo>
                  <a:pt x="2071" y="4882"/>
                </a:lnTo>
                <a:lnTo>
                  <a:pt x="2143" y="5287"/>
                </a:lnTo>
                <a:lnTo>
                  <a:pt x="642" y="5311"/>
                </a:lnTo>
                <a:lnTo>
                  <a:pt x="1166" y="4739"/>
                </a:lnTo>
                <a:lnTo>
                  <a:pt x="0" y="4025"/>
                </a:lnTo>
                <a:lnTo>
                  <a:pt x="71" y="3096"/>
                </a:lnTo>
                <a:lnTo>
                  <a:pt x="976" y="2239"/>
                </a:lnTo>
                <a:lnTo>
                  <a:pt x="452" y="2143"/>
                </a:lnTo>
                <a:lnTo>
                  <a:pt x="452" y="1882"/>
                </a:lnTo>
                <a:lnTo>
                  <a:pt x="1738" y="572"/>
                </a:lnTo>
                <a:close/>
              </a:path>
            </a:pathLst>
          </a:custGeom>
          <a:solidFill>
            <a:srgbClr val="7CB342"/>
          </a:solidFill>
          <a:ln w="9525" cap="flat" cmpd="sng">
            <a:solidFill>
              <a:srgbClr val="FFFFFF"/>
            </a:solidFill>
            <a:prstDash val="solid"/>
            <a:round/>
            <a:headEnd type="none" w="sm" len="sm"/>
            <a:tailEnd type="none" w="sm" len="sm"/>
          </a:ln>
        </p:spPr>
      </p:sp>
      <p:sp>
        <p:nvSpPr>
          <p:cNvPr id="291" name="Google Shape;291;p34"/>
          <p:cNvSpPr/>
          <p:nvPr/>
        </p:nvSpPr>
        <p:spPr>
          <a:xfrm>
            <a:off x="10814347" y="3225636"/>
            <a:ext cx="154244" cy="133000"/>
          </a:xfrm>
          <a:custGeom>
            <a:avLst/>
            <a:gdLst/>
            <a:ahLst/>
            <a:cxnLst/>
            <a:rect l="l" t="t" r="r" b="b"/>
            <a:pathLst>
              <a:path w="6048" h="5215" extrusionOk="0">
                <a:moveTo>
                  <a:pt x="0" y="1786"/>
                </a:moveTo>
                <a:lnTo>
                  <a:pt x="1071" y="72"/>
                </a:lnTo>
                <a:lnTo>
                  <a:pt x="1690" y="334"/>
                </a:lnTo>
                <a:lnTo>
                  <a:pt x="1952" y="215"/>
                </a:lnTo>
                <a:lnTo>
                  <a:pt x="2405" y="810"/>
                </a:lnTo>
                <a:lnTo>
                  <a:pt x="2429" y="96"/>
                </a:lnTo>
                <a:lnTo>
                  <a:pt x="2857" y="143"/>
                </a:lnTo>
                <a:lnTo>
                  <a:pt x="3357" y="0"/>
                </a:lnTo>
                <a:lnTo>
                  <a:pt x="4286" y="167"/>
                </a:lnTo>
                <a:lnTo>
                  <a:pt x="4595" y="762"/>
                </a:lnTo>
                <a:lnTo>
                  <a:pt x="4762" y="286"/>
                </a:lnTo>
                <a:lnTo>
                  <a:pt x="6048" y="1524"/>
                </a:lnTo>
                <a:lnTo>
                  <a:pt x="5905" y="1953"/>
                </a:lnTo>
                <a:lnTo>
                  <a:pt x="5334" y="2239"/>
                </a:lnTo>
                <a:lnTo>
                  <a:pt x="5572" y="4572"/>
                </a:lnTo>
                <a:lnTo>
                  <a:pt x="5119" y="4763"/>
                </a:lnTo>
                <a:lnTo>
                  <a:pt x="5024" y="5215"/>
                </a:lnTo>
                <a:lnTo>
                  <a:pt x="3524" y="4572"/>
                </a:lnTo>
                <a:lnTo>
                  <a:pt x="2405" y="4763"/>
                </a:lnTo>
                <a:lnTo>
                  <a:pt x="2571" y="4072"/>
                </a:lnTo>
                <a:lnTo>
                  <a:pt x="2214" y="3406"/>
                </a:lnTo>
                <a:lnTo>
                  <a:pt x="1762" y="3691"/>
                </a:lnTo>
                <a:lnTo>
                  <a:pt x="976" y="2929"/>
                </a:lnTo>
                <a:lnTo>
                  <a:pt x="952" y="2429"/>
                </a:lnTo>
                <a:close/>
              </a:path>
            </a:pathLst>
          </a:custGeom>
          <a:solidFill>
            <a:srgbClr val="7CB342"/>
          </a:solidFill>
          <a:ln w="9525" cap="flat" cmpd="sng">
            <a:solidFill>
              <a:srgbClr val="FFFFFF"/>
            </a:solidFill>
            <a:prstDash val="solid"/>
            <a:round/>
            <a:headEnd type="none" w="sm" len="sm"/>
            <a:tailEnd type="none" w="sm" len="sm"/>
          </a:ln>
        </p:spPr>
      </p:sp>
      <p:sp>
        <p:nvSpPr>
          <p:cNvPr id="292" name="Google Shape;292;p34"/>
          <p:cNvSpPr/>
          <p:nvPr/>
        </p:nvSpPr>
        <p:spPr>
          <a:xfrm>
            <a:off x="10928495" y="3127887"/>
            <a:ext cx="211347" cy="258093"/>
          </a:xfrm>
          <a:custGeom>
            <a:avLst/>
            <a:gdLst/>
            <a:ahLst/>
            <a:cxnLst/>
            <a:rect l="l" t="t" r="r" b="b"/>
            <a:pathLst>
              <a:path w="8287" h="10120" extrusionOk="0">
                <a:moveTo>
                  <a:pt x="881" y="1619"/>
                </a:moveTo>
                <a:lnTo>
                  <a:pt x="643" y="2262"/>
                </a:lnTo>
                <a:lnTo>
                  <a:pt x="1405" y="2571"/>
                </a:lnTo>
                <a:lnTo>
                  <a:pt x="1524" y="2929"/>
                </a:lnTo>
                <a:lnTo>
                  <a:pt x="1048" y="3667"/>
                </a:lnTo>
                <a:lnTo>
                  <a:pt x="881" y="2905"/>
                </a:lnTo>
                <a:lnTo>
                  <a:pt x="191" y="2714"/>
                </a:lnTo>
                <a:lnTo>
                  <a:pt x="0" y="3500"/>
                </a:lnTo>
                <a:lnTo>
                  <a:pt x="405" y="4167"/>
                </a:lnTo>
                <a:lnTo>
                  <a:pt x="1596" y="5429"/>
                </a:lnTo>
                <a:lnTo>
                  <a:pt x="1429" y="5834"/>
                </a:lnTo>
                <a:lnTo>
                  <a:pt x="834" y="6096"/>
                </a:lnTo>
                <a:lnTo>
                  <a:pt x="1072" y="8453"/>
                </a:lnTo>
                <a:lnTo>
                  <a:pt x="524" y="8906"/>
                </a:lnTo>
                <a:lnTo>
                  <a:pt x="239" y="9406"/>
                </a:lnTo>
                <a:lnTo>
                  <a:pt x="1096" y="10120"/>
                </a:lnTo>
                <a:lnTo>
                  <a:pt x="2429" y="9858"/>
                </a:lnTo>
                <a:lnTo>
                  <a:pt x="1763" y="9548"/>
                </a:lnTo>
                <a:lnTo>
                  <a:pt x="2358" y="9072"/>
                </a:lnTo>
                <a:lnTo>
                  <a:pt x="2739" y="9215"/>
                </a:lnTo>
                <a:lnTo>
                  <a:pt x="2906" y="9691"/>
                </a:lnTo>
                <a:lnTo>
                  <a:pt x="3858" y="8929"/>
                </a:lnTo>
                <a:lnTo>
                  <a:pt x="4644" y="8858"/>
                </a:lnTo>
                <a:lnTo>
                  <a:pt x="5025" y="8525"/>
                </a:lnTo>
                <a:lnTo>
                  <a:pt x="5692" y="8525"/>
                </a:lnTo>
                <a:lnTo>
                  <a:pt x="7049" y="8048"/>
                </a:lnTo>
                <a:lnTo>
                  <a:pt x="8287" y="7834"/>
                </a:lnTo>
                <a:lnTo>
                  <a:pt x="7001" y="1309"/>
                </a:lnTo>
                <a:lnTo>
                  <a:pt x="5954" y="619"/>
                </a:lnTo>
                <a:lnTo>
                  <a:pt x="5811" y="1262"/>
                </a:lnTo>
                <a:lnTo>
                  <a:pt x="5144" y="1143"/>
                </a:lnTo>
                <a:lnTo>
                  <a:pt x="4906" y="381"/>
                </a:lnTo>
                <a:lnTo>
                  <a:pt x="5239" y="0"/>
                </a:lnTo>
                <a:lnTo>
                  <a:pt x="3977" y="143"/>
                </a:lnTo>
                <a:lnTo>
                  <a:pt x="3406" y="500"/>
                </a:lnTo>
                <a:lnTo>
                  <a:pt x="2691" y="643"/>
                </a:lnTo>
                <a:lnTo>
                  <a:pt x="2334" y="1762"/>
                </a:lnTo>
                <a:lnTo>
                  <a:pt x="2572" y="2048"/>
                </a:lnTo>
                <a:lnTo>
                  <a:pt x="2429" y="2500"/>
                </a:lnTo>
                <a:lnTo>
                  <a:pt x="2667" y="3333"/>
                </a:lnTo>
                <a:lnTo>
                  <a:pt x="2001" y="1976"/>
                </a:lnTo>
                <a:close/>
              </a:path>
            </a:pathLst>
          </a:custGeom>
          <a:solidFill>
            <a:srgbClr val="7CB342"/>
          </a:solidFill>
          <a:ln w="9525" cap="flat" cmpd="sng">
            <a:solidFill>
              <a:srgbClr val="FFFFFF"/>
            </a:solidFill>
            <a:prstDash val="solid"/>
            <a:round/>
            <a:headEnd type="none" w="sm" len="sm"/>
            <a:tailEnd type="none" w="sm" len="sm"/>
          </a:ln>
        </p:spPr>
      </p:sp>
      <p:sp>
        <p:nvSpPr>
          <p:cNvPr id="293" name="Google Shape;293;p34"/>
          <p:cNvSpPr/>
          <p:nvPr/>
        </p:nvSpPr>
        <p:spPr>
          <a:xfrm>
            <a:off x="10826486" y="3374441"/>
            <a:ext cx="222261" cy="58300"/>
          </a:xfrm>
          <a:custGeom>
            <a:avLst/>
            <a:gdLst/>
            <a:ahLst/>
            <a:cxnLst/>
            <a:rect l="l" t="t" r="r" b="b"/>
            <a:pathLst>
              <a:path w="8715" h="2286" extrusionOk="0">
                <a:moveTo>
                  <a:pt x="4239" y="0"/>
                </a:moveTo>
                <a:lnTo>
                  <a:pt x="0" y="2024"/>
                </a:lnTo>
                <a:lnTo>
                  <a:pt x="262" y="2286"/>
                </a:lnTo>
                <a:lnTo>
                  <a:pt x="4310" y="857"/>
                </a:lnTo>
                <a:lnTo>
                  <a:pt x="8668" y="666"/>
                </a:lnTo>
                <a:lnTo>
                  <a:pt x="8715" y="285"/>
                </a:lnTo>
                <a:lnTo>
                  <a:pt x="5024" y="285"/>
                </a:lnTo>
                <a:close/>
              </a:path>
            </a:pathLst>
          </a:custGeom>
          <a:solidFill>
            <a:srgbClr val="7CB342"/>
          </a:solidFill>
          <a:ln w="9525" cap="flat" cmpd="sng">
            <a:solidFill>
              <a:srgbClr val="FFFFFF"/>
            </a:solidFill>
            <a:prstDash val="solid"/>
            <a:round/>
            <a:headEnd type="none" w="sm" len="sm"/>
            <a:tailEnd type="none" w="sm" len="sm"/>
          </a:ln>
        </p:spPr>
      </p:sp>
      <p:sp>
        <p:nvSpPr>
          <p:cNvPr id="294" name="Google Shape;294;p34"/>
          <p:cNvSpPr/>
          <p:nvPr/>
        </p:nvSpPr>
        <p:spPr>
          <a:xfrm>
            <a:off x="11056033" y="3356817"/>
            <a:ext cx="85028" cy="35832"/>
          </a:xfrm>
          <a:custGeom>
            <a:avLst/>
            <a:gdLst/>
            <a:ahLst/>
            <a:cxnLst/>
            <a:rect l="l" t="t" r="r" b="b"/>
            <a:pathLst>
              <a:path w="3334" h="1405" extrusionOk="0">
                <a:moveTo>
                  <a:pt x="0" y="1405"/>
                </a:moveTo>
                <a:lnTo>
                  <a:pt x="1357" y="381"/>
                </a:lnTo>
                <a:lnTo>
                  <a:pt x="1929" y="500"/>
                </a:lnTo>
                <a:lnTo>
                  <a:pt x="3215" y="0"/>
                </a:lnTo>
                <a:lnTo>
                  <a:pt x="3334" y="786"/>
                </a:lnTo>
                <a:close/>
              </a:path>
            </a:pathLst>
          </a:custGeom>
          <a:solidFill>
            <a:srgbClr val="7CB342"/>
          </a:solidFill>
          <a:ln w="9525" cap="flat" cmpd="sng">
            <a:solidFill>
              <a:srgbClr val="FFFFFF"/>
            </a:solidFill>
            <a:prstDash val="solid"/>
            <a:round/>
            <a:headEnd type="none" w="sm" len="sm"/>
            <a:tailEnd type="none" w="sm" len="sm"/>
          </a:ln>
        </p:spPr>
      </p:sp>
      <p:sp>
        <p:nvSpPr>
          <p:cNvPr id="295" name="Google Shape;295;p34"/>
          <p:cNvSpPr/>
          <p:nvPr/>
        </p:nvSpPr>
        <p:spPr>
          <a:xfrm>
            <a:off x="10812511" y="2903189"/>
            <a:ext cx="241720" cy="255059"/>
          </a:xfrm>
          <a:custGeom>
            <a:avLst/>
            <a:gdLst/>
            <a:ahLst/>
            <a:cxnLst/>
            <a:rect l="l" t="t" r="r" b="b"/>
            <a:pathLst>
              <a:path w="9478" h="10001" extrusionOk="0">
                <a:moveTo>
                  <a:pt x="0" y="0"/>
                </a:moveTo>
                <a:lnTo>
                  <a:pt x="1143" y="2453"/>
                </a:lnTo>
                <a:lnTo>
                  <a:pt x="1262" y="6644"/>
                </a:lnTo>
                <a:lnTo>
                  <a:pt x="810" y="9025"/>
                </a:lnTo>
                <a:lnTo>
                  <a:pt x="2143" y="9454"/>
                </a:lnTo>
                <a:lnTo>
                  <a:pt x="2572" y="9215"/>
                </a:lnTo>
                <a:lnTo>
                  <a:pt x="2786" y="9716"/>
                </a:lnTo>
                <a:lnTo>
                  <a:pt x="3977" y="10001"/>
                </a:lnTo>
                <a:lnTo>
                  <a:pt x="4787" y="9239"/>
                </a:lnTo>
                <a:lnTo>
                  <a:pt x="4644" y="8930"/>
                </a:lnTo>
                <a:lnTo>
                  <a:pt x="5072" y="8858"/>
                </a:lnTo>
                <a:lnTo>
                  <a:pt x="5572" y="7882"/>
                </a:lnTo>
                <a:lnTo>
                  <a:pt x="6811" y="7953"/>
                </a:lnTo>
                <a:lnTo>
                  <a:pt x="6834" y="5667"/>
                </a:lnTo>
                <a:lnTo>
                  <a:pt x="5001" y="3215"/>
                </a:lnTo>
                <a:lnTo>
                  <a:pt x="9478" y="95"/>
                </a:lnTo>
                <a:close/>
              </a:path>
            </a:pathLst>
          </a:custGeom>
          <a:solidFill>
            <a:srgbClr val="A4C2F4"/>
          </a:solidFill>
          <a:ln w="9525" cap="flat" cmpd="sng">
            <a:solidFill>
              <a:srgbClr val="FFFFFF"/>
            </a:solidFill>
            <a:prstDash val="solid"/>
            <a:round/>
            <a:headEnd type="none" w="sm" len="sm"/>
            <a:tailEnd type="none" w="sm" len="sm"/>
          </a:ln>
        </p:spPr>
      </p:sp>
      <p:sp>
        <p:nvSpPr>
          <p:cNvPr id="296" name="Google Shape;296;p34"/>
          <p:cNvSpPr/>
          <p:nvPr/>
        </p:nvSpPr>
        <p:spPr>
          <a:xfrm>
            <a:off x="11077889" y="3056227"/>
            <a:ext cx="374108" cy="268423"/>
          </a:xfrm>
          <a:custGeom>
            <a:avLst/>
            <a:gdLst/>
            <a:ahLst/>
            <a:cxnLst/>
            <a:rect l="l" t="t" r="r" b="b"/>
            <a:pathLst>
              <a:path w="14669" h="10525" extrusionOk="0">
                <a:moveTo>
                  <a:pt x="834" y="4000"/>
                </a:moveTo>
                <a:lnTo>
                  <a:pt x="715" y="3429"/>
                </a:lnTo>
                <a:lnTo>
                  <a:pt x="0" y="2143"/>
                </a:lnTo>
                <a:lnTo>
                  <a:pt x="548" y="1571"/>
                </a:lnTo>
                <a:lnTo>
                  <a:pt x="1977" y="2238"/>
                </a:lnTo>
                <a:lnTo>
                  <a:pt x="1453" y="2738"/>
                </a:lnTo>
                <a:lnTo>
                  <a:pt x="2001" y="3595"/>
                </a:lnTo>
                <a:lnTo>
                  <a:pt x="2382" y="2691"/>
                </a:lnTo>
                <a:lnTo>
                  <a:pt x="3382" y="2929"/>
                </a:lnTo>
                <a:lnTo>
                  <a:pt x="3572" y="3334"/>
                </a:lnTo>
                <a:lnTo>
                  <a:pt x="3429" y="1976"/>
                </a:lnTo>
                <a:lnTo>
                  <a:pt x="4477" y="2095"/>
                </a:lnTo>
                <a:lnTo>
                  <a:pt x="6453" y="2833"/>
                </a:lnTo>
                <a:lnTo>
                  <a:pt x="8168" y="1667"/>
                </a:lnTo>
                <a:lnTo>
                  <a:pt x="7644" y="357"/>
                </a:lnTo>
                <a:lnTo>
                  <a:pt x="8501" y="357"/>
                </a:lnTo>
                <a:lnTo>
                  <a:pt x="9382" y="0"/>
                </a:lnTo>
                <a:lnTo>
                  <a:pt x="9930" y="357"/>
                </a:lnTo>
                <a:lnTo>
                  <a:pt x="14621" y="405"/>
                </a:lnTo>
                <a:lnTo>
                  <a:pt x="14669" y="7477"/>
                </a:lnTo>
                <a:lnTo>
                  <a:pt x="13597" y="7882"/>
                </a:lnTo>
                <a:lnTo>
                  <a:pt x="12026" y="7644"/>
                </a:lnTo>
                <a:lnTo>
                  <a:pt x="11383" y="8429"/>
                </a:lnTo>
                <a:lnTo>
                  <a:pt x="9882" y="8787"/>
                </a:lnTo>
                <a:lnTo>
                  <a:pt x="9311" y="8310"/>
                </a:lnTo>
                <a:lnTo>
                  <a:pt x="8930" y="9287"/>
                </a:lnTo>
                <a:lnTo>
                  <a:pt x="8406" y="9239"/>
                </a:lnTo>
                <a:lnTo>
                  <a:pt x="8287" y="9001"/>
                </a:lnTo>
                <a:lnTo>
                  <a:pt x="6906" y="8691"/>
                </a:lnTo>
                <a:lnTo>
                  <a:pt x="6834" y="8310"/>
                </a:lnTo>
                <a:lnTo>
                  <a:pt x="5834" y="9596"/>
                </a:lnTo>
                <a:lnTo>
                  <a:pt x="4644" y="9763"/>
                </a:lnTo>
                <a:lnTo>
                  <a:pt x="4001" y="10239"/>
                </a:lnTo>
                <a:lnTo>
                  <a:pt x="2453" y="10525"/>
                </a:lnTo>
                <a:lnTo>
                  <a:pt x="1191" y="4072"/>
                </a:lnTo>
                <a:close/>
              </a:path>
            </a:pathLst>
          </a:custGeom>
          <a:solidFill>
            <a:srgbClr val="A4C2F4"/>
          </a:solidFill>
          <a:ln w="9525" cap="flat" cmpd="sng">
            <a:solidFill>
              <a:srgbClr val="FFFFFF"/>
            </a:solidFill>
            <a:prstDash val="solid"/>
            <a:round/>
            <a:headEnd type="none" w="sm" len="sm"/>
            <a:tailEnd type="none" w="sm" len="sm"/>
          </a:ln>
        </p:spPr>
      </p:sp>
      <p:sp>
        <p:nvSpPr>
          <p:cNvPr id="297" name="Google Shape;297;p34"/>
          <p:cNvSpPr/>
          <p:nvPr/>
        </p:nvSpPr>
        <p:spPr>
          <a:xfrm>
            <a:off x="11139220" y="3311271"/>
            <a:ext cx="126931" cy="63759"/>
          </a:xfrm>
          <a:custGeom>
            <a:avLst/>
            <a:gdLst/>
            <a:ahLst/>
            <a:cxnLst/>
            <a:rect l="l" t="t" r="r" b="b"/>
            <a:pathLst>
              <a:path w="4977" h="2500" extrusionOk="0">
                <a:moveTo>
                  <a:pt x="0" y="1810"/>
                </a:moveTo>
                <a:lnTo>
                  <a:pt x="286" y="2500"/>
                </a:lnTo>
                <a:lnTo>
                  <a:pt x="2096" y="1667"/>
                </a:lnTo>
                <a:lnTo>
                  <a:pt x="4620" y="1238"/>
                </a:lnTo>
                <a:lnTo>
                  <a:pt x="4977" y="0"/>
                </a:lnTo>
                <a:lnTo>
                  <a:pt x="2524" y="548"/>
                </a:lnTo>
                <a:close/>
              </a:path>
            </a:pathLst>
          </a:custGeom>
          <a:solidFill>
            <a:srgbClr val="8E24AA"/>
          </a:solidFill>
          <a:ln w="9525" cap="flat" cmpd="sng">
            <a:solidFill>
              <a:srgbClr val="FFFFFF"/>
            </a:solidFill>
            <a:prstDash val="solid"/>
            <a:round/>
            <a:headEnd type="none" w="sm" len="sm"/>
            <a:tailEnd type="none" w="sm" len="sm"/>
          </a:ln>
        </p:spPr>
      </p:sp>
      <p:sp>
        <p:nvSpPr>
          <p:cNvPr id="298" name="Google Shape;298;p34"/>
          <p:cNvSpPr/>
          <p:nvPr/>
        </p:nvSpPr>
        <p:spPr>
          <a:xfrm>
            <a:off x="6568367" y="338333"/>
            <a:ext cx="5420400" cy="416800"/>
          </a:xfrm>
          <a:prstGeom prst="rect">
            <a:avLst/>
          </a:prstGeom>
          <a:solidFill>
            <a:srgbClr val="CC0000"/>
          </a:solidFill>
          <a:ln>
            <a:noFill/>
          </a:ln>
        </p:spPr>
        <p:txBody>
          <a:bodyPr spcFirstLastPara="1" wrap="square" lIns="121900" tIns="121900" rIns="121900" bIns="121900" anchor="ctr" anchorCtr="0">
            <a:noAutofit/>
          </a:bodyPr>
          <a:lstStyle/>
          <a:p>
            <a:pPr algn="r" defTabSz="1219170">
              <a:buClr>
                <a:srgbClr val="000000"/>
              </a:buClr>
              <a:buSzPts val="1400"/>
            </a:pPr>
            <a:r>
              <a:rPr lang="en" sz="1867" b="1" kern="0">
                <a:solidFill>
                  <a:srgbClr val="FFFFFF"/>
                </a:solidFill>
                <a:latin typeface="Verdana"/>
                <a:ea typeface="Verdana"/>
                <a:cs typeface="Verdana"/>
                <a:sym typeface="Verdana"/>
              </a:rPr>
              <a:t>K-12 EDUCATION STRATEGISTS</a:t>
            </a:r>
            <a:r>
              <a:rPr lang="en" sz="1867" b="1" kern="0">
                <a:solidFill>
                  <a:srgbClr val="CC0000"/>
                </a:solidFill>
                <a:latin typeface="Verdana"/>
                <a:ea typeface="Verdana"/>
                <a:cs typeface="Verdana"/>
                <a:sym typeface="Verdana"/>
              </a:rPr>
              <a:t>.</a:t>
            </a:r>
            <a:endParaRPr sz="1867" b="1" kern="0">
              <a:solidFill>
                <a:srgbClr val="FFFFFF"/>
              </a:solidFill>
              <a:latin typeface="Verdana"/>
              <a:ea typeface="Verdana"/>
              <a:cs typeface="Verdana"/>
              <a:sym typeface="Verdana"/>
            </a:endParaRPr>
          </a:p>
        </p:txBody>
      </p:sp>
      <p:sp>
        <p:nvSpPr>
          <p:cNvPr id="299" name="Google Shape;299;p34"/>
          <p:cNvSpPr/>
          <p:nvPr/>
        </p:nvSpPr>
        <p:spPr>
          <a:xfrm>
            <a:off x="9861137" y="3170437"/>
            <a:ext cx="202800" cy="118400"/>
          </a:xfrm>
          <a:prstGeom prst="rect">
            <a:avLst/>
          </a:prstGeom>
          <a:noFill/>
          <a:ln w="19050" cap="flat" cmpd="sng">
            <a:solidFill>
              <a:srgbClr val="CCCCC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grpSp>
        <p:nvGrpSpPr>
          <p:cNvPr id="300" name="Google Shape;300;p34"/>
          <p:cNvGrpSpPr/>
          <p:nvPr/>
        </p:nvGrpSpPr>
        <p:grpSpPr>
          <a:xfrm>
            <a:off x="10784867" y="2818967"/>
            <a:ext cx="776533" cy="514167"/>
            <a:chOff x="8357025" y="2205575"/>
            <a:chExt cx="582400" cy="385625"/>
          </a:xfrm>
        </p:grpSpPr>
        <p:sp>
          <p:nvSpPr>
            <p:cNvPr id="301" name="Google Shape;301;p34"/>
            <p:cNvSpPr/>
            <p:nvPr/>
          </p:nvSpPr>
          <p:spPr>
            <a:xfrm>
              <a:off x="8823625" y="2303800"/>
              <a:ext cx="115800" cy="287400"/>
            </a:xfrm>
            <a:prstGeom prst="rect">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302" name="Google Shape;302;p34"/>
            <p:cNvSpPr/>
            <p:nvPr/>
          </p:nvSpPr>
          <p:spPr>
            <a:xfrm>
              <a:off x="8357025" y="2205575"/>
              <a:ext cx="244800" cy="90600"/>
            </a:xfrm>
            <a:prstGeom prst="rect">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grpSp>
      <p:sp>
        <p:nvSpPr>
          <p:cNvPr id="303" name="Google Shape;303;p34"/>
          <p:cNvSpPr/>
          <p:nvPr/>
        </p:nvSpPr>
        <p:spPr>
          <a:xfrm>
            <a:off x="3327749" y="4255191"/>
            <a:ext cx="968691" cy="595661"/>
          </a:xfrm>
          <a:custGeom>
            <a:avLst/>
            <a:gdLst/>
            <a:ahLst/>
            <a:cxnLst/>
            <a:rect l="l" t="t" r="r" b="b"/>
            <a:pathLst>
              <a:path w="284630" h="175023" extrusionOk="0">
                <a:moveTo>
                  <a:pt x="728" y="0"/>
                </a:moveTo>
                <a:lnTo>
                  <a:pt x="784" y="224"/>
                </a:lnTo>
                <a:lnTo>
                  <a:pt x="840" y="392"/>
                </a:lnTo>
                <a:lnTo>
                  <a:pt x="1008" y="224"/>
                </a:lnTo>
                <a:lnTo>
                  <a:pt x="1288" y="224"/>
                </a:lnTo>
                <a:lnTo>
                  <a:pt x="1232" y="112"/>
                </a:lnTo>
                <a:lnTo>
                  <a:pt x="1232" y="0"/>
                </a:lnTo>
                <a:close/>
                <a:moveTo>
                  <a:pt x="112" y="560"/>
                </a:moveTo>
                <a:lnTo>
                  <a:pt x="56" y="728"/>
                </a:lnTo>
                <a:lnTo>
                  <a:pt x="56" y="784"/>
                </a:lnTo>
                <a:lnTo>
                  <a:pt x="0" y="952"/>
                </a:lnTo>
                <a:lnTo>
                  <a:pt x="112" y="840"/>
                </a:lnTo>
                <a:lnTo>
                  <a:pt x="224" y="840"/>
                </a:lnTo>
                <a:lnTo>
                  <a:pt x="280" y="728"/>
                </a:lnTo>
                <a:lnTo>
                  <a:pt x="112" y="560"/>
                </a:lnTo>
                <a:close/>
                <a:moveTo>
                  <a:pt x="101261" y="35061"/>
                </a:moveTo>
                <a:lnTo>
                  <a:pt x="100925" y="35285"/>
                </a:lnTo>
                <a:lnTo>
                  <a:pt x="100589" y="35453"/>
                </a:lnTo>
                <a:lnTo>
                  <a:pt x="100197" y="35677"/>
                </a:lnTo>
                <a:lnTo>
                  <a:pt x="97117" y="36069"/>
                </a:lnTo>
                <a:lnTo>
                  <a:pt x="96781" y="36125"/>
                </a:lnTo>
                <a:lnTo>
                  <a:pt x="96221" y="35733"/>
                </a:lnTo>
                <a:lnTo>
                  <a:pt x="95605" y="35453"/>
                </a:lnTo>
                <a:lnTo>
                  <a:pt x="94989" y="35397"/>
                </a:lnTo>
                <a:lnTo>
                  <a:pt x="94485" y="35733"/>
                </a:lnTo>
                <a:lnTo>
                  <a:pt x="93756" y="35957"/>
                </a:lnTo>
                <a:lnTo>
                  <a:pt x="91572" y="37133"/>
                </a:lnTo>
                <a:lnTo>
                  <a:pt x="88492" y="39149"/>
                </a:lnTo>
                <a:lnTo>
                  <a:pt x="88380" y="39205"/>
                </a:lnTo>
                <a:lnTo>
                  <a:pt x="88100" y="39429"/>
                </a:lnTo>
                <a:lnTo>
                  <a:pt x="88044" y="39709"/>
                </a:lnTo>
                <a:lnTo>
                  <a:pt x="88044" y="40101"/>
                </a:lnTo>
                <a:lnTo>
                  <a:pt x="87988" y="40381"/>
                </a:lnTo>
                <a:lnTo>
                  <a:pt x="86363" y="42398"/>
                </a:lnTo>
                <a:lnTo>
                  <a:pt x="85915" y="42790"/>
                </a:lnTo>
                <a:lnTo>
                  <a:pt x="85635" y="43182"/>
                </a:lnTo>
                <a:lnTo>
                  <a:pt x="86027" y="44134"/>
                </a:lnTo>
                <a:lnTo>
                  <a:pt x="86532" y="45030"/>
                </a:lnTo>
                <a:lnTo>
                  <a:pt x="86868" y="45198"/>
                </a:lnTo>
                <a:lnTo>
                  <a:pt x="87092" y="45982"/>
                </a:lnTo>
                <a:lnTo>
                  <a:pt x="87540" y="46318"/>
                </a:lnTo>
                <a:lnTo>
                  <a:pt x="88212" y="46486"/>
                </a:lnTo>
                <a:lnTo>
                  <a:pt x="88940" y="46990"/>
                </a:lnTo>
                <a:lnTo>
                  <a:pt x="89612" y="47158"/>
                </a:lnTo>
                <a:lnTo>
                  <a:pt x="90564" y="47158"/>
                </a:lnTo>
                <a:lnTo>
                  <a:pt x="91460" y="47270"/>
                </a:lnTo>
                <a:lnTo>
                  <a:pt x="92020" y="48334"/>
                </a:lnTo>
                <a:lnTo>
                  <a:pt x="93140" y="49398"/>
                </a:lnTo>
                <a:lnTo>
                  <a:pt x="93420" y="49790"/>
                </a:lnTo>
                <a:lnTo>
                  <a:pt x="93700" y="49790"/>
                </a:lnTo>
                <a:lnTo>
                  <a:pt x="94653" y="49510"/>
                </a:lnTo>
                <a:lnTo>
                  <a:pt x="96445" y="49566"/>
                </a:lnTo>
                <a:lnTo>
                  <a:pt x="98293" y="50071"/>
                </a:lnTo>
                <a:lnTo>
                  <a:pt x="99189" y="50967"/>
                </a:lnTo>
                <a:lnTo>
                  <a:pt x="101373" y="49510"/>
                </a:lnTo>
                <a:lnTo>
                  <a:pt x="103558" y="47438"/>
                </a:lnTo>
                <a:lnTo>
                  <a:pt x="103390" y="46990"/>
                </a:lnTo>
                <a:lnTo>
                  <a:pt x="103390" y="46766"/>
                </a:lnTo>
                <a:lnTo>
                  <a:pt x="103614" y="46654"/>
                </a:lnTo>
                <a:lnTo>
                  <a:pt x="104062" y="46878"/>
                </a:lnTo>
                <a:lnTo>
                  <a:pt x="104118" y="46094"/>
                </a:lnTo>
                <a:lnTo>
                  <a:pt x="104062" y="45198"/>
                </a:lnTo>
                <a:lnTo>
                  <a:pt x="103950" y="44470"/>
                </a:lnTo>
                <a:lnTo>
                  <a:pt x="103782" y="43854"/>
                </a:lnTo>
                <a:lnTo>
                  <a:pt x="105182" y="41333"/>
                </a:lnTo>
                <a:lnTo>
                  <a:pt x="105630" y="39597"/>
                </a:lnTo>
                <a:lnTo>
                  <a:pt x="105630" y="39149"/>
                </a:lnTo>
                <a:lnTo>
                  <a:pt x="105238" y="38925"/>
                </a:lnTo>
                <a:lnTo>
                  <a:pt x="105014" y="38869"/>
                </a:lnTo>
                <a:lnTo>
                  <a:pt x="104790" y="38477"/>
                </a:lnTo>
                <a:lnTo>
                  <a:pt x="104622" y="37973"/>
                </a:lnTo>
                <a:lnTo>
                  <a:pt x="104566" y="37469"/>
                </a:lnTo>
                <a:lnTo>
                  <a:pt x="104342" y="36909"/>
                </a:lnTo>
                <a:lnTo>
                  <a:pt x="103782" y="36349"/>
                </a:lnTo>
                <a:lnTo>
                  <a:pt x="103110" y="35845"/>
                </a:lnTo>
                <a:lnTo>
                  <a:pt x="102102" y="35565"/>
                </a:lnTo>
                <a:lnTo>
                  <a:pt x="101654" y="35285"/>
                </a:lnTo>
                <a:lnTo>
                  <a:pt x="101261" y="35061"/>
                </a:lnTo>
                <a:close/>
                <a:moveTo>
                  <a:pt x="73874" y="44750"/>
                </a:moveTo>
                <a:lnTo>
                  <a:pt x="73426" y="44918"/>
                </a:lnTo>
                <a:lnTo>
                  <a:pt x="72978" y="45422"/>
                </a:lnTo>
                <a:lnTo>
                  <a:pt x="72138" y="46542"/>
                </a:lnTo>
                <a:lnTo>
                  <a:pt x="71690" y="47046"/>
                </a:lnTo>
                <a:lnTo>
                  <a:pt x="71129" y="47438"/>
                </a:lnTo>
                <a:lnTo>
                  <a:pt x="71017" y="47942"/>
                </a:lnTo>
                <a:lnTo>
                  <a:pt x="69785" y="48334"/>
                </a:lnTo>
                <a:lnTo>
                  <a:pt x="68385" y="50351"/>
                </a:lnTo>
                <a:lnTo>
                  <a:pt x="67881" y="51471"/>
                </a:lnTo>
                <a:lnTo>
                  <a:pt x="67657" y="52759"/>
                </a:lnTo>
                <a:lnTo>
                  <a:pt x="67937" y="53711"/>
                </a:lnTo>
                <a:lnTo>
                  <a:pt x="68889" y="54103"/>
                </a:lnTo>
                <a:lnTo>
                  <a:pt x="69337" y="54103"/>
                </a:lnTo>
                <a:lnTo>
                  <a:pt x="69673" y="53991"/>
                </a:lnTo>
                <a:lnTo>
                  <a:pt x="69897" y="53711"/>
                </a:lnTo>
                <a:lnTo>
                  <a:pt x="70121" y="52479"/>
                </a:lnTo>
                <a:lnTo>
                  <a:pt x="70401" y="51919"/>
                </a:lnTo>
                <a:lnTo>
                  <a:pt x="71746" y="50239"/>
                </a:lnTo>
                <a:lnTo>
                  <a:pt x="72082" y="50071"/>
                </a:lnTo>
                <a:lnTo>
                  <a:pt x="72810" y="50071"/>
                </a:lnTo>
                <a:lnTo>
                  <a:pt x="73314" y="49958"/>
                </a:lnTo>
                <a:lnTo>
                  <a:pt x="74098" y="49398"/>
                </a:lnTo>
                <a:lnTo>
                  <a:pt x="74602" y="49174"/>
                </a:lnTo>
                <a:lnTo>
                  <a:pt x="74266" y="48054"/>
                </a:lnTo>
                <a:lnTo>
                  <a:pt x="74434" y="46990"/>
                </a:lnTo>
                <a:lnTo>
                  <a:pt x="74938" y="46094"/>
                </a:lnTo>
                <a:lnTo>
                  <a:pt x="75610" y="45422"/>
                </a:lnTo>
                <a:lnTo>
                  <a:pt x="75106" y="44806"/>
                </a:lnTo>
                <a:lnTo>
                  <a:pt x="73874" y="44750"/>
                </a:lnTo>
                <a:close/>
                <a:moveTo>
                  <a:pt x="158053" y="57631"/>
                </a:moveTo>
                <a:lnTo>
                  <a:pt x="155645" y="58864"/>
                </a:lnTo>
                <a:lnTo>
                  <a:pt x="155029" y="59424"/>
                </a:lnTo>
                <a:lnTo>
                  <a:pt x="154693" y="60208"/>
                </a:lnTo>
                <a:lnTo>
                  <a:pt x="154357" y="60712"/>
                </a:lnTo>
                <a:lnTo>
                  <a:pt x="154076" y="60880"/>
                </a:lnTo>
                <a:lnTo>
                  <a:pt x="153740" y="60992"/>
                </a:lnTo>
                <a:lnTo>
                  <a:pt x="152564" y="61720"/>
                </a:lnTo>
                <a:lnTo>
                  <a:pt x="152396" y="62112"/>
                </a:lnTo>
                <a:lnTo>
                  <a:pt x="152396" y="62504"/>
                </a:lnTo>
                <a:lnTo>
                  <a:pt x="152228" y="62784"/>
                </a:lnTo>
                <a:lnTo>
                  <a:pt x="151612" y="62896"/>
                </a:lnTo>
                <a:lnTo>
                  <a:pt x="151164" y="62784"/>
                </a:lnTo>
                <a:lnTo>
                  <a:pt x="150436" y="62728"/>
                </a:lnTo>
                <a:lnTo>
                  <a:pt x="148196" y="62504"/>
                </a:lnTo>
                <a:lnTo>
                  <a:pt x="147300" y="62616"/>
                </a:lnTo>
                <a:lnTo>
                  <a:pt x="146628" y="62896"/>
                </a:lnTo>
                <a:lnTo>
                  <a:pt x="146179" y="63736"/>
                </a:lnTo>
                <a:lnTo>
                  <a:pt x="147692" y="64968"/>
                </a:lnTo>
                <a:lnTo>
                  <a:pt x="147524" y="65753"/>
                </a:lnTo>
                <a:lnTo>
                  <a:pt x="147244" y="66593"/>
                </a:lnTo>
                <a:lnTo>
                  <a:pt x="147636" y="67489"/>
                </a:lnTo>
                <a:lnTo>
                  <a:pt x="148308" y="68161"/>
                </a:lnTo>
                <a:lnTo>
                  <a:pt x="148812" y="68553"/>
                </a:lnTo>
                <a:lnTo>
                  <a:pt x="149260" y="69057"/>
                </a:lnTo>
                <a:lnTo>
                  <a:pt x="149988" y="70457"/>
                </a:lnTo>
                <a:lnTo>
                  <a:pt x="150548" y="71241"/>
                </a:lnTo>
                <a:lnTo>
                  <a:pt x="150884" y="71465"/>
                </a:lnTo>
                <a:lnTo>
                  <a:pt x="151500" y="71745"/>
                </a:lnTo>
                <a:lnTo>
                  <a:pt x="151780" y="71913"/>
                </a:lnTo>
                <a:lnTo>
                  <a:pt x="151948" y="72249"/>
                </a:lnTo>
                <a:lnTo>
                  <a:pt x="152732" y="75106"/>
                </a:lnTo>
                <a:lnTo>
                  <a:pt x="152956" y="75218"/>
                </a:lnTo>
                <a:lnTo>
                  <a:pt x="153124" y="75386"/>
                </a:lnTo>
                <a:lnTo>
                  <a:pt x="153348" y="75498"/>
                </a:lnTo>
                <a:lnTo>
                  <a:pt x="153684" y="75218"/>
                </a:lnTo>
                <a:lnTo>
                  <a:pt x="154189" y="74938"/>
                </a:lnTo>
                <a:lnTo>
                  <a:pt x="156037" y="74658"/>
                </a:lnTo>
                <a:lnTo>
                  <a:pt x="156933" y="74658"/>
                </a:lnTo>
                <a:lnTo>
                  <a:pt x="157773" y="74938"/>
                </a:lnTo>
                <a:lnTo>
                  <a:pt x="157941" y="73650"/>
                </a:lnTo>
                <a:lnTo>
                  <a:pt x="157381" y="72977"/>
                </a:lnTo>
                <a:lnTo>
                  <a:pt x="156597" y="72585"/>
                </a:lnTo>
                <a:lnTo>
                  <a:pt x="155925" y="71857"/>
                </a:lnTo>
                <a:lnTo>
                  <a:pt x="156709" y="71857"/>
                </a:lnTo>
                <a:lnTo>
                  <a:pt x="157605" y="72249"/>
                </a:lnTo>
                <a:lnTo>
                  <a:pt x="158109" y="72193"/>
                </a:lnTo>
                <a:lnTo>
                  <a:pt x="157549" y="71017"/>
                </a:lnTo>
                <a:lnTo>
                  <a:pt x="158109" y="71409"/>
                </a:lnTo>
                <a:lnTo>
                  <a:pt x="158333" y="71689"/>
                </a:lnTo>
                <a:lnTo>
                  <a:pt x="158669" y="71409"/>
                </a:lnTo>
                <a:lnTo>
                  <a:pt x="158949" y="71409"/>
                </a:lnTo>
                <a:lnTo>
                  <a:pt x="159229" y="71577"/>
                </a:lnTo>
                <a:lnTo>
                  <a:pt x="159397" y="71857"/>
                </a:lnTo>
                <a:lnTo>
                  <a:pt x="159341" y="72473"/>
                </a:lnTo>
                <a:lnTo>
                  <a:pt x="158949" y="72641"/>
                </a:lnTo>
                <a:lnTo>
                  <a:pt x="158557" y="72753"/>
                </a:lnTo>
                <a:lnTo>
                  <a:pt x="158277" y="73145"/>
                </a:lnTo>
                <a:lnTo>
                  <a:pt x="158445" y="73986"/>
                </a:lnTo>
                <a:lnTo>
                  <a:pt x="159285" y="74210"/>
                </a:lnTo>
                <a:lnTo>
                  <a:pt x="160181" y="73986"/>
                </a:lnTo>
                <a:lnTo>
                  <a:pt x="160741" y="73314"/>
                </a:lnTo>
                <a:lnTo>
                  <a:pt x="161581" y="73762"/>
                </a:lnTo>
                <a:lnTo>
                  <a:pt x="161918" y="74098"/>
                </a:lnTo>
                <a:lnTo>
                  <a:pt x="162366" y="74546"/>
                </a:lnTo>
                <a:lnTo>
                  <a:pt x="162142" y="74938"/>
                </a:lnTo>
                <a:lnTo>
                  <a:pt x="162534" y="75330"/>
                </a:lnTo>
                <a:lnTo>
                  <a:pt x="163710" y="75890"/>
                </a:lnTo>
                <a:lnTo>
                  <a:pt x="164270" y="76506"/>
                </a:lnTo>
                <a:lnTo>
                  <a:pt x="164550" y="76618"/>
                </a:lnTo>
                <a:lnTo>
                  <a:pt x="165222" y="76618"/>
                </a:lnTo>
                <a:lnTo>
                  <a:pt x="166174" y="76282"/>
                </a:lnTo>
                <a:lnTo>
                  <a:pt x="167238" y="75890"/>
                </a:lnTo>
                <a:lnTo>
                  <a:pt x="168134" y="75834"/>
                </a:lnTo>
                <a:lnTo>
                  <a:pt x="168694" y="76618"/>
                </a:lnTo>
                <a:lnTo>
                  <a:pt x="169255" y="76058"/>
                </a:lnTo>
                <a:lnTo>
                  <a:pt x="171383" y="74546"/>
                </a:lnTo>
                <a:lnTo>
                  <a:pt x="170767" y="73986"/>
                </a:lnTo>
                <a:lnTo>
                  <a:pt x="169479" y="73426"/>
                </a:lnTo>
                <a:lnTo>
                  <a:pt x="168918" y="72865"/>
                </a:lnTo>
                <a:lnTo>
                  <a:pt x="168750" y="72025"/>
                </a:lnTo>
                <a:lnTo>
                  <a:pt x="168750" y="71241"/>
                </a:lnTo>
                <a:lnTo>
                  <a:pt x="168582" y="70737"/>
                </a:lnTo>
                <a:lnTo>
                  <a:pt x="167966" y="70457"/>
                </a:lnTo>
                <a:lnTo>
                  <a:pt x="167350" y="70177"/>
                </a:lnTo>
                <a:lnTo>
                  <a:pt x="167462" y="69393"/>
                </a:lnTo>
                <a:lnTo>
                  <a:pt x="167910" y="68609"/>
                </a:lnTo>
                <a:lnTo>
                  <a:pt x="168134" y="68329"/>
                </a:lnTo>
                <a:lnTo>
                  <a:pt x="166174" y="68329"/>
                </a:lnTo>
                <a:lnTo>
                  <a:pt x="165670" y="68497"/>
                </a:lnTo>
                <a:lnTo>
                  <a:pt x="166734" y="69281"/>
                </a:lnTo>
                <a:lnTo>
                  <a:pt x="166062" y="69561"/>
                </a:lnTo>
                <a:lnTo>
                  <a:pt x="165614" y="69673"/>
                </a:lnTo>
                <a:lnTo>
                  <a:pt x="165390" y="69449"/>
                </a:lnTo>
                <a:lnTo>
                  <a:pt x="165222" y="69449"/>
                </a:lnTo>
                <a:lnTo>
                  <a:pt x="164326" y="68497"/>
                </a:lnTo>
                <a:lnTo>
                  <a:pt x="163766" y="68049"/>
                </a:lnTo>
                <a:lnTo>
                  <a:pt x="163374" y="67433"/>
                </a:lnTo>
                <a:lnTo>
                  <a:pt x="162646" y="65809"/>
                </a:lnTo>
                <a:lnTo>
                  <a:pt x="162926" y="65809"/>
                </a:lnTo>
                <a:lnTo>
                  <a:pt x="163094" y="65865"/>
                </a:lnTo>
                <a:lnTo>
                  <a:pt x="163262" y="66089"/>
                </a:lnTo>
                <a:lnTo>
                  <a:pt x="163262" y="65304"/>
                </a:lnTo>
                <a:lnTo>
                  <a:pt x="163206" y="64632"/>
                </a:lnTo>
                <a:lnTo>
                  <a:pt x="162926" y="64128"/>
                </a:lnTo>
                <a:lnTo>
                  <a:pt x="161918" y="63456"/>
                </a:lnTo>
                <a:lnTo>
                  <a:pt x="161245" y="62392"/>
                </a:lnTo>
                <a:lnTo>
                  <a:pt x="160629" y="61216"/>
                </a:lnTo>
                <a:lnTo>
                  <a:pt x="160517" y="60544"/>
                </a:lnTo>
                <a:lnTo>
                  <a:pt x="160069" y="59760"/>
                </a:lnTo>
                <a:lnTo>
                  <a:pt x="159621" y="59032"/>
                </a:lnTo>
                <a:lnTo>
                  <a:pt x="159061" y="58472"/>
                </a:lnTo>
                <a:lnTo>
                  <a:pt x="158333" y="58192"/>
                </a:lnTo>
                <a:lnTo>
                  <a:pt x="158221" y="58136"/>
                </a:lnTo>
                <a:lnTo>
                  <a:pt x="158109" y="58024"/>
                </a:lnTo>
                <a:lnTo>
                  <a:pt x="158053" y="57912"/>
                </a:lnTo>
                <a:lnTo>
                  <a:pt x="158053" y="57631"/>
                </a:lnTo>
                <a:close/>
                <a:moveTo>
                  <a:pt x="186617" y="78074"/>
                </a:moveTo>
                <a:lnTo>
                  <a:pt x="186561" y="78802"/>
                </a:lnTo>
                <a:lnTo>
                  <a:pt x="186673" y="79418"/>
                </a:lnTo>
                <a:lnTo>
                  <a:pt x="186561" y="80090"/>
                </a:lnTo>
                <a:lnTo>
                  <a:pt x="185833" y="80987"/>
                </a:lnTo>
                <a:lnTo>
                  <a:pt x="185441" y="81267"/>
                </a:lnTo>
                <a:lnTo>
                  <a:pt x="185049" y="81827"/>
                </a:lnTo>
                <a:lnTo>
                  <a:pt x="184713" y="82443"/>
                </a:lnTo>
                <a:lnTo>
                  <a:pt x="184713" y="83283"/>
                </a:lnTo>
                <a:lnTo>
                  <a:pt x="185161" y="83843"/>
                </a:lnTo>
                <a:lnTo>
                  <a:pt x="185945" y="84179"/>
                </a:lnTo>
                <a:lnTo>
                  <a:pt x="186841" y="84179"/>
                </a:lnTo>
                <a:lnTo>
                  <a:pt x="187569" y="83675"/>
                </a:lnTo>
                <a:lnTo>
                  <a:pt x="188241" y="83451"/>
                </a:lnTo>
                <a:lnTo>
                  <a:pt x="190705" y="83563"/>
                </a:lnTo>
                <a:lnTo>
                  <a:pt x="194122" y="83283"/>
                </a:lnTo>
                <a:lnTo>
                  <a:pt x="195018" y="83395"/>
                </a:lnTo>
                <a:lnTo>
                  <a:pt x="198882" y="85019"/>
                </a:lnTo>
                <a:lnTo>
                  <a:pt x="200451" y="85523"/>
                </a:lnTo>
                <a:lnTo>
                  <a:pt x="202019" y="85579"/>
                </a:lnTo>
                <a:lnTo>
                  <a:pt x="203531" y="85355"/>
                </a:lnTo>
                <a:lnTo>
                  <a:pt x="205043" y="84627"/>
                </a:lnTo>
                <a:lnTo>
                  <a:pt x="206499" y="83843"/>
                </a:lnTo>
                <a:lnTo>
                  <a:pt x="207788" y="82611"/>
                </a:lnTo>
                <a:lnTo>
                  <a:pt x="208460" y="80987"/>
                </a:lnTo>
                <a:lnTo>
                  <a:pt x="208012" y="80987"/>
                </a:lnTo>
                <a:lnTo>
                  <a:pt x="206836" y="80650"/>
                </a:lnTo>
                <a:lnTo>
                  <a:pt x="205995" y="80650"/>
                </a:lnTo>
                <a:lnTo>
                  <a:pt x="205659" y="80538"/>
                </a:lnTo>
                <a:lnTo>
                  <a:pt x="205435" y="80370"/>
                </a:lnTo>
                <a:lnTo>
                  <a:pt x="205267" y="80258"/>
                </a:lnTo>
                <a:lnTo>
                  <a:pt x="204931" y="80258"/>
                </a:lnTo>
                <a:lnTo>
                  <a:pt x="204259" y="80875"/>
                </a:lnTo>
                <a:lnTo>
                  <a:pt x="203979" y="80987"/>
                </a:lnTo>
                <a:lnTo>
                  <a:pt x="201235" y="80987"/>
                </a:lnTo>
                <a:lnTo>
                  <a:pt x="200395" y="80762"/>
                </a:lnTo>
                <a:lnTo>
                  <a:pt x="199891" y="80482"/>
                </a:lnTo>
                <a:lnTo>
                  <a:pt x="198938" y="79418"/>
                </a:lnTo>
                <a:lnTo>
                  <a:pt x="198210" y="78858"/>
                </a:lnTo>
                <a:lnTo>
                  <a:pt x="198098" y="79026"/>
                </a:lnTo>
                <a:lnTo>
                  <a:pt x="198154" y="79530"/>
                </a:lnTo>
                <a:lnTo>
                  <a:pt x="197818" y="80090"/>
                </a:lnTo>
                <a:lnTo>
                  <a:pt x="197202" y="80090"/>
                </a:lnTo>
                <a:lnTo>
                  <a:pt x="195802" y="79586"/>
                </a:lnTo>
                <a:lnTo>
                  <a:pt x="195186" y="79418"/>
                </a:lnTo>
                <a:lnTo>
                  <a:pt x="189921" y="79194"/>
                </a:lnTo>
                <a:lnTo>
                  <a:pt x="189417" y="78858"/>
                </a:lnTo>
                <a:lnTo>
                  <a:pt x="188969" y="78354"/>
                </a:lnTo>
                <a:lnTo>
                  <a:pt x="188577" y="78074"/>
                </a:lnTo>
                <a:lnTo>
                  <a:pt x="188129" y="78130"/>
                </a:lnTo>
                <a:lnTo>
                  <a:pt x="187737" y="78354"/>
                </a:lnTo>
                <a:lnTo>
                  <a:pt x="187289" y="78354"/>
                </a:lnTo>
                <a:lnTo>
                  <a:pt x="186841" y="78242"/>
                </a:lnTo>
                <a:lnTo>
                  <a:pt x="186617" y="78074"/>
                </a:lnTo>
                <a:close/>
                <a:moveTo>
                  <a:pt x="200283" y="90844"/>
                </a:moveTo>
                <a:lnTo>
                  <a:pt x="195690" y="91124"/>
                </a:lnTo>
                <a:lnTo>
                  <a:pt x="194514" y="91852"/>
                </a:lnTo>
                <a:lnTo>
                  <a:pt x="195354" y="93196"/>
                </a:lnTo>
                <a:lnTo>
                  <a:pt x="196754" y="93924"/>
                </a:lnTo>
                <a:lnTo>
                  <a:pt x="197146" y="94428"/>
                </a:lnTo>
                <a:lnTo>
                  <a:pt x="197314" y="95324"/>
                </a:lnTo>
                <a:lnTo>
                  <a:pt x="197314" y="96389"/>
                </a:lnTo>
                <a:lnTo>
                  <a:pt x="197370" y="97341"/>
                </a:lnTo>
                <a:lnTo>
                  <a:pt x="197706" y="98125"/>
                </a:lnTo>
                <a:lnTo>
                  <a:pt x="198378" y="98685"/>
                </a:lnTo>
                <a:lnTo>
                  <a:pt x="200003" y="98853"/>
                </a:lnTo>
                <a:lnTo>
                  <a:pt x="201739" y="98405"/>
                </a:lnTo>
                <a:lnTo>
                  <a:pt x="203195" y="97341"/>
                </a:lnTo>
                <a:lnTo>
                  <a:pt x="204091" y="96052"/>
                </a:lnTo>
                <a:lnTo>
                  <a:pt x="204483" y="95324"/>
                </a:lnTo>
                <a:lnTo>
                  <a:pt x="204483" y="94876"/>
                </a:lnTo>
                <a:lnTo>
                  <a:pt x="204203" y="94428"/>
                </a:lnTo>
                <a:lnTo>
                  <a:pt x="203083" y="93252"/>
                </a:lnTo>
                <a:lnTo>
                  <a:pt x="202859" y="93140"/>
                </a:lnTo>
                <a:lnTo>
                  <a:pt x="202355" y="92804"/>
                </a:lnTo>
                <a:lnTo>
                  <a:pt x="200283" y="90844"/>
                </a:lnTo>
                <a:close/>
                <a:moveTo>
                  <a:pt x="212380" y="85579"/>
                </a:moveTo>
                <a:lnTo>
                  <a:pt x="212268" y="85971"/>
                </a:lnTo>
                <a:lnTo>
                  <a:pt x="212100" y="86251"/>
                </a:lnTo>
                <a:lnTo>
                  <a:pt x="211428" y="86251"/>
                </a:lnTo>
                <a:lnTo>
                  <a:pt x="211148" y="86195"/>
                </a:lnTo>
                <a:lnTo>
                  <a:pt x="211092" y="86475"/>
                </a:lnTo>
                <a:lnTo>
                  <a:pt x="210924" y="86979"/>
                </a:lnTo>
                <a:lnTo>
                  <a:pt x="210924" y="87315"/>
                </a:lnTo>
                <a:lnTo>
                  <a:pt x="210756" y="87259"/>
                </a:lnTo>
                <a:lnTo>
                  <a:pt x="210252" y="87147"/>
                </a:lnTo>
                <a:lnTo>
                  <a:pt x="210084" y="87035"/>
                </a:lnTo>
                <a:lnTo>
                  <a:pt x="209916" y="87987"/>
                </a:lnTo>
                <a:lnTo>
                  <a:pt x="208460" y="91068"/>
                </a:lnTo>
                <a:lnTo>
                  <a:pt x="211092" y="94988"/>
                </a:lnTo>
                <a:lnTo>
                  <a:pt x="211316" y="95156"/>
                </a:lnTo>
                <a:lnTo>
                  <a:pt x="211652" y="95268"/>
                </a:lnTo>
                <a:lnTo>
                  <a:pt x="212548" y="95660"/>
                </a:lnTo>
                <a:lnTo>
                  <a:pt x="213332" y="96108"/>
                </a:lnTo>
                <a:lnTo>
                  <a:pt x="214453" y="96613"/>
                </a:lnTo>
                <a:lnTo>
                  <a:pt x="214957" y="96613"/>
                </a:lnTo>
                <a:lnTo>
                  <a:pt x="215293" y="96501"/>
                </a:lnTo>
                <a:lnTo>
                  <a:pt x="215629" y="96445"/>
                </a:lnTo>
                <a:lnTo>
                  <a:pt x="216021" y="96333"/>
                </a:lnTo>
                <a:lnTo>
                  <a:pt x="217029" y="96333"/>
                </a:lnTo>
                <a:lnTo>
                  <a:pt x="217477" y="96445"/>
                </a:lnTo>
                <a:lnTo>
                  <a:pt x="217701" y="96725"/>
                </a:lnTo>
                <a:lnTo>
                  <a:pt x="217813" y="97677"/>
                </a:lnTo>
                <a:lnTo>
                  <a:pt x="217981" y="98181"/>
                </a:lnTo>
                <a:lnTo>
                  <a:pt x="218149" y="98349"/>
                </a:lnTo>
                <a:lnTo>
                  <a:pt x="218485" y="98685"/>
                </a:lnTo>
                <a:lnTo>
                  <a:pt x="218709" y="99525"/>
                </a:lnTo>
                <a:lnTo>
                  <a:pt x="218821" y="102997"/>
                </a:lnTo>
                <a:lnTo>
                  <a:pt x="219269" y="104398"/>
                </a:lnTo>
                <a:lnTo>
                  <a:pt x="220277" y="105294"/>
                </a:lnTo>
                <a:lnTo>
                  <a:pt x="222070" y="105294"/>
                </a:lnTo>
                <a:lnTo>
                  <a:pt x="222798" y="104902"/>
                </a:lnTo>
                <a:lnTo>
                  <a:pt x="223246" y="104678"/>
                </a:lnTo>
                <a:lnTo>
                  <a:pt x="223414" y="104790"/>
                </a:lnTo>
                <a:lnTo>
                  <a:pt x="223638" y="105126"/>
                </a:lnTo>
                <a:lnTo>
                  <a:pt x="224086" y="105126"/>
                </a:lnTo>
                <a:lnTo>
                  <a:pt x="225598" y="104790"/>
                </a:lnTo>
                <a:lnTo>
                  <a:pt x="227782" y="103221"/>
                </a:lnTo>
                <a:lnTo>
                  <a:pt x="228566" y="103053"/>
                </a:lnTo>
                <a:lnTo>
                  <a:pt x="229295" y="103165"/>
                </a:lnTo>
                <a:lnTo>
                  <a:pt x="230079" y="103445"/>
                </a:lnTo>
                <a:lnTo>
                  <a:pt x="230919" y="103557"/>
                </a:lnTo>
                <a:lnTo>
                  <a:pt x="231647" y="103333"/>
                </a:lnTo>
                <a:lnTo>
                  <a:pt x="234335" y="101821"/>
                </a:lnTo>
                <a:lnTo>
                  <a:pt x="235511" y="100701"/>
                </a:lnTo>
                <a:lnTo>
                  <a:pt x="236631" y="99413"/>
                </a:lnTo>
                <a:lnTo>
                  <a:pt x="237136" y="97789"/>
                </a:lnTo>
                <a:lnTo>
                  <a:pt x="236519" y="96333"/>
                </a:lnTo>
                <a:lnTo>
                  <a:pt x="234279" y="95100"/>
                </a:lnTo>
                <a:lnTo>
                  <a:pt x="233663" y="94876"/>
                </a:lnTo>
                <a:lnTo>
                  <a:pt x="231871" y="94596"/>
                </a:lnTo>
                <a:lnTo>
                  <a:pt x="231535" y="94204"/>
                </a:lnTo>
                <a:lnTo>
                  <a:pt x="231311" y="93252"/>
                </a:lnTo>
                <a:lnTo>
                  <a:pt x="231031" y="92860"/>
                </a:lnTo>
                <a:lnTo>
                  <a:pt x="229631" y="92580"/>
                </a:lnTo>
                <a:lnTo>
                  <a:pt x="228790" y="92356"/>
                </a:lnTo>
                <a:lnTo>
                  <a:pt x="228398" y="91796"/>
                </a:lnTo>
                <a:lnTo>
                  <a:pt x="228118" y="91404"/>
                </a:lnTo>
                <a:lnTo>
                  <a:pt x="227558" y="90844"/>
                </a:lnTo>
                <a:lnTo>
                  <a:pt x="226942" y="90340"/>
                </a:lnTo>
                <a:lnTo>
                  <a:pt x="226438" y="90508"/>
                </a:lnTo>
                <a:lnTo>
                  <a:pt x="226382" y="90340"/>
                </a:lnTo>
                <a:lnTo>
                  <a:pt x="226214" y="90228"/>
                </a:lnTo>
                <a:lnTo>
                  <a:pt x="225934" y="90228"/>
                </a:lnTo>
                <a:lnTo>
                  <a:pt x="225374" y="90060"/>
                </a:lnTo>
                <a:lnTo>
                  <a:pt x="224758" y="89836"/>
                </a:lnTo>
                <a:lnTo>
                  <a:pt x="224030" y="89836"/>
                </a:lnTo>
                <a:lnTo>
                  <a:pt x="223414" y="89948"/>
                </a:lnTo>
                <a:lnTo>
                  <a:pt x="222798" y="90116"/>
                </a:lnTo>
                <a:lnTo>
                  <a:pt x="221509" y="91068"/>
                </a:lnTo>
                <a:lnTo>
                  <a:pt x="221061" y="91236"/>
                </a:lnTo>
                <a:lnTo>
                  <a:pt x="219941" y="91292"/>
                </a:lnTo>
                <a:lnTo>
                  <a:pt x="219325" y="91404"/>
                </a:lnTo>
                <a:lnTo>
                  <a:pt x="218709" y="91684"/>
                </a:lnTo>
                <a:lnTo>
                  <a:pt x="218205" y="91964"/>
                </a:lnTo>
                <a:lnTo>
                  <a:pt x="217701" y="92076"/>
                </a:lnTo>
                <a:lnTo>
                  <a:pt x="217141" y="91684"/>
                </a:lnTo>
                <a:lnTo>
                  <a:pt x="216021" y="88940"/>
                </a:lnTo>
                <a:lnTo>
                  <a:pt x="215741" y="88491"/>
                </a:lnTo>
                <a:lnTo>
                  <a:pt x="215405" y="88099"/>
                </a:lnTo>
                <a:lnTo>
                  <a:pt x="213836" y="86475"/>
                </a:lnTo>
                <a:lnTo>
                  <a:pt x="213332" y="86195"/>
                </a:lnTo>
                <a:lnTo>
                  <a:pt x="212716" y="85691"/>
                </a:lnTo>
                <a:lnTo>
                  <a:pt x="212380" y="85579"/>
                </a:lnTo>
                <a:close/>
                <a:moveTo>
                  <a:pt x="213948" y="104454"/>
                </a:moveTo>
                <a:lnTo>
                  <a:pt x="213164" y="104566"/>
                </a:lnTo>
                <a:lnTo>
                  <a:pt x="212380" y="104958"/>
                </a:lnTo>
                <a:lnTo>
                  <a:pt x="211204" y="105910"/>
                </a:lnTo>
                <a:lnTo>
                  <a:pt x="209692" y="106526"/>
                </a:lnTo>
                <a:lnTo>
                  <a:pt x="209132" y="106918"/>
                </a:lnTo>
                <a:lnTo>
                  <a:pt x="208740" y="107646"/>
                </a:lnTo>
                <a:lnTo>
                  <a:pt x="209972" y="108430"/>
                </a:lnTo>
                <a:lnTo>
                  <a:pt x="210476" y="108542"/>
                </a:lnTo>
                <a:lnTo>
                  <a:pt x="211428" y="108038"/>
                </a:lnTo>
                <a:lnTo>
                  <a:pt x="211876" y="107982"/>
                </a:lnTo>
                <a:lnTo>
                  <a:pt x="213556" y="107982"/>
                </a:lnTo>
                <a:lnTo>
                  <a:pt x="214509" y="107870"/>
                </a:lnTo>
                <a:lnTo>
                  <a:pt x="215013" y="107366"/>
                </a:lnTo>
                <a:lnTo>
                  <a:pt x="214453" y="106974"/>
                </a:lnTo>
                <a:lnTo>
                  <a:pt x="214565" y="105070"/>
                </a:lnTo>
                <a:lnTo>
                  <a:pt x="213948" y="104454"/>
                </a:lnTo>
                <a:close/>
                <a:moveTo>
                  <a:pt x="242344" y="118399"/>
                </a:moveTo>
                <a:lnTo>
                  <a:pt x="241392" y="119576"/>
                </a:lnTo>
                <a:lnTo>
                  <a:pt x="240776" y="121088"/>
                </a:lnTo>
                <a:lnTo>
                  <a:pt x="240664" y="122376"/>
                </a:lnTo>
                <a:lnTo>
                  <a:pt x="241000" y="123944"/>
                </a:lnTo>
                <a:lnTo>
                  <a:pt x="241728" y="125344"/>
                </a:lnTo>
                <a:lnTo>
                  <a:pt x="243688" y="127865"/>
                </a:lnTo>
                <a:lnTo>
                  <a:pt x="243800" y="128033"/>
                </a:lnTo>
                <a:lnTo>
                  <a:pt x="244248" y="128817"/>
                </a:lnTo>
                <a:lnTo>
                  <a:pt x="244248" y="129601"/>
                </a:lnTo>
                <a:lnTo>
                  <a:pt x="243856" y="130161"/>
                </a:lnTo>
                <a:lnTo>
                  <a:pt x="242568" y="131169"/>
                </a:lnTo>
                <a:lnTo>
                  <a:pt x="242344" y="131449"/>
                </a:lnTo>
                <a:lnTo>
                  <a:pt x="240832" y="133801"/>
                </a:lnTo>
                <a:lnTo>
                  <a:pt x="240384" y="134249"/>
                </a:lnTo>
                <a:lnTo>
                  <a:pt x="239600" y="135706"/>
                </a:lnTo>
                <a:lnTo>
                  <a:pt x="237976" y="136266"/>
                </a:lnTo>
                <a:lnTo>
                  <a:pt x="237360" y="136770"/>
                </a:lnTo>
                <a:lnTo>
                  <a:pt x="237136" y="137554"/>
                </a:lnTo>
                <a:lnTo>
                  <a:pt x="236799" y="137946"/>
                </a:lnTo>
                <a:lnTo>
                  <a:pt x="235959" y="138506"/>
                </a:lnTo>
                <a:lnTo>
                  <a:pt x="235119" y="139290"/>
                </a:lnTo>
                <a:lnTo>
                  <a:pt x="234671" y="140242"/>
                </a:lnTo>
                <a:lnTo>
                  <a:pt x="234895" y="142090"/>
                </a:lnTo>
                <a:lnTo>
                  <a:pt x="235679" y="143323"/>
                </a:lnTo>
                <a:lnTo>
                  <a:pt x="236743" y="144611"/>
                </a:lnTo>
                <a:lnTo>
                  <a:pt x="237696" y="146067"/>
                </a:lnTo>
                <a:lnTo>
                  <a:pt x="238032" y="146907"/>
                </a:lnTo>
                <a:lnTo>
                  <a:pt x="238256" y="147803"/>
                </a:lnTo>
                <a:lnTo>
                  <a:pt x="238424" y="148643"/>
                </a:lnTo>
                <a:lnTo>
                  <a:pt x="238480" y="149595"/>
                </a:lnTo>
                <a:lnTo>
                  <a:pt x="238536" y="149987"/>
                </a:lnTo>
                <a:lnTo>
                  <a:pt x="239040" y="151444"/>
                </a:lnTo>
                <a:lnTo>
                  <a:pt x="239152" y="151556"/>
                </a:lnTo>
                <a:lnTo>
                  <a:pt x="239712" y="151444"/>
                </a:lnTo>
                <a:lnTo>
                  <a:pt x="239824" y="151444"/>
                </a:lnTo>
                <a:lnTo>
                  <a:pt x="239824" y="151724"/>
                </a:lnTo>
                <a:lnTo>
                  <a:pt x="239768" y="152116"/>
                </a:lnTo>
                <a:lnTo>
                  <a:pt x="239768" y="152340"/>
                </a:lnTo>
                <a:lnTo>
                  <a:pt x="240720" y="155812"/>
                </a:lnTo>
                <a:lnTo>
                  <a:pt x="241280" y="156764"/>
                </a:lnTo>
                <a:lnTo>
                  <a:pt x="241448" y="157268"/>
                </a:lnTo>
                <a:lnTo>
                  <a:pt x="241448" y="157548"/>
                </a:lnTo>
                <a:lnTo>
                  <a:pt x="240384" y="164325"/>
                </a:lnTo>
                <a:lnTo>
                  <a:pt x="240384" y="167798"/>
                </a:lnTo>
                <a:lnTo>
                  <a:pt x="240552" y="168694"/>
                </a:lnTo>
                <a:lnTo>
                  <a:pt x="241056" y="169030"/>
                </a:lnTo>
                <a:lnTo>
                  <a:pt x="241504" y="169254"/>
                </a:lnTo>
                <a:lnTo>
                  <a:pt x="241672" y="169814"/>
                </a:lnTo>
                <a:lnTo>
                  <a:pt x="241784" y="170318"/>
                </a:lnTo>
                <a:lnTo>
                  <a:pt x="242008" y="170766"/>
                </a:lnTo>
                <a:lnTo>
                  <a:pt x="243632" y="170766"/>
                </a:lnTo>
                <a:lnTo>
                  <a:pt x="245145" y="171214"/>
                </a:lnTo>
                <a:lnTo>
                  <a:pt x="246769" y="171830"/>
                </a:lnTo>
                <a:lnTo>
                  <a:pt x="248169" y="172726"/>
                </a:lnTo>
                <a:lnTo>
                  <a:pt x="249065" y="173623"/>
                </a:lnTo>
                <a:lnTo>
                  <a:pt x="249737" y="174743"/>
                </a:lnTo>
                <a:lnTo>
                  <a:pt x="249737" y="175023"/>
                </a:lnTo>
                <a:lnTo>
                  <a:pt x="250241" y="174799"/>
                </a:lnTo>
                <a:lnTo>
                  <a:pt x="250969" y="174071"/>
                </a:lnTo>
                <a:lnTo>
                  <a:pt x="251361" y="173847"/>
                </a:lnTo>
                <a:lnTo>
                  <a:pt x="251922" y="173455"/>
                </a:lnTo>
                <a:lnTo>
                  <a:pt x="253658" y="170934"/>
                </a:lnTo>
                <a:lnTo>
                  <a:pt x="254274" y="168638"/>
                </a:lnTo>
                <a:lnTo>
                  <a:pt x="254610" y="167966"/>
                </a:lnTo>
                <a:lnTo>
                  <a:pt x="256346" y="166286"/>
                </a:lnTo>
                <a:lnTo>
                  <a:pt x="256962" y="166118"/>
                </a:lnTo>
                <a:lnTo>
                  <a:pt x="258978" y="164941"/>
                </a:lnTo>
                <a:lnTo>
                  <a:pt x="259539" y="164549"/>
                </a:lnTo>
                <a:lnTo>
                  <a:pt x="260491" y="163485"/>
                </a:lnTo>
                <a:lnTo>
                  <a:pt x="261163" y="163149"/>
                </a:lnTo>
                <a:lnTo>
                  <a:pt x="261779" y="162925"/>
                </a:lnTo>
                <a:lnTo>
                  <a:pt x="262283" y="162757"/>
                </a:lnTo>
                <a:lnTo>
                  <a:pt x="263571" y="161469"/>
                </a:lnTo>
                <a:lnTo>
                  <a:pt x="264523" y="160797"/>
                </a:lnTo>
                <a:lnTo>
                  <a:pt x="265027" y="160573"/>
                </a:lnTo>
                <a:lnTo>
                  <a:pt x="265699" y="160405"/>
                </a:lnTo>
                <a:lnTo>
                  <a:pt x="268836" y="160461"/>
                </a:lnTo>
                <a:lnTo>
                  <a:pt x="269564" y="160069"/>
                </a:lnTo>
                <a:lnTo>
                  <a:pt x="272252" y="159509"/>
                </a:lnTo>
                <a:lnTo>
                  <a:pt x="273652" y="158725"/>
                </a:lnTo>
                <a:lnTo>
                  <a:pt x="274437" y="158445"/>
                </a:lnTo>
                <a:lnTo>
                  <a:pt x="275445" y="158389"/>
                </a:lnTo>
                <a:lnTo>
                  <a:pt x="276173" y="158165"/>
                </a:lnTo>
                <a:lnTo>
                  <a:pt x="279701" y="154972"/>
                </a:lnTo>
                <a:lnTo>
                  <a:pt x="279981" y="154468"/>
                </a:lnTo>
                <a:lnTo>
                  <a:pt x="283230" y="152676"/>
                </a:lnTo>
                <a:lnTo>
                  <a:pt x="283734" y="151948"/>
                </a:lnTo>
                <a:lnTo>
                  <a:pt x="284182" y="151108"/>
                </a:lnTo>
                <a:lnTo>
                  <a:pt x="284518" y="150155"/>
                </a:lnTo>
                <a:lnTo>
                  <a:pt x="284630" y="149259"/>
                </a:lnTo>
                <a:lnTo>
                  <a:pt x="281493" y="147467"/>
                </a:lnTo>
                <a:lnTo>
                  <a:pt x="279477" y="146347"/>
                </a:lnTo>
                <a:lnTo>
                  <a:pt x="277853" y="144667"/>
                </a:lnTo>
                <a:lnTo>
                  <a:pt x="277629" y="144107"/>
                </a:lnTo>
                <a:lnTo>
                  <a:pt x="277293" y="141978"/>
                </a:lnTo>
                <a:lnTo>
                  <a:pt x="277125" y="141250"/>
                </a:lnTo>
                <a:lnTo>
                  <a:pt x="276621" y="140914"/>
                </a:lnTo>
                <a:lnTo>
                  <a:pt x="275669" y="140802"/>
                </a:lnTo>
                <a:lnTo>
                  <a:pt x="274044" y="141082"/>
                </a:lnTo>
                <a:lnTo>
                  <a:pt x="273596" y="140914"/>
                </a:lnTo>
                <a:lnTo>
                  <a:pt x="273316" y="139906"/>
                </a:lnTo>
                <a:lnTo>
                  <a:pt x="273316" y="136658"/>
                </a:lnTo>
                <a:lnTo>
                  <a:pt x="273204" y="135650"/>
                </a:lnTo>
                <a:lnTo>
                  <a:pt x="272812" y="134978"/>
                </a:lnTo>
                <a:lnTo>
                  <a:pt x="269452" y="131225"/>
                </a:lnTo>
                <a:lnTo>
                  <a:pt x="268164" y="130105"/>
                </a:lnTo>
                <a:lnTo>
                  <a:pt x="262955" y="127417"/>
                </a:lnTo>
                <a:lnTo>
                  <a:pt x="258586" y="125680"/>
                </a:lnTo>
                <a:lnTo>
                  <a:pt x="256850" y="125288"/>
                </a:lnTo>
                <a:lnTo>
                  <a:pt x="255394" y="124392"/>
                </a:lnTo>
                <a:lnTo>
                  <a:pt x="254498" y="124056"/>
                </a:lnTo>
                <a:lnTo>
                  <a:pt x="254106" y="124112"/>
                </a:lnTo>
                <a:lnTo>
                  <a:pt x="253714" y="124392"/>
                </a:lnTo>
                <a:lnTo>
                  <a:pt x="253266" y="124504"/>
                </a:lnTo>
                <a:lnTo>
                  <a:pt x="252762" y="124224"/>
                </a:lnTo>
                <a:lnTo>
                  <a:pt x="252258" y="123776"/>
                </a:lnTo>
                <a:lnTo>
                  <a:pt x="251978" y="123552"/>
                </a:lnTo>
                <a:lnTo>
                  <a:pt x="251193" y="123272"/>
                </a:lnTo>
                <a:lnTo>
                  <a:pt x="250129" y="122320"/>
                </a:lnTo>
                <a:lnTo>
                  <a:pt x="247777" y="121368"/>
                </a:lnTo>
                <a:lnTo>
                  <a:pt x="247497" y="121144"/>
                </a:lnTo>
                <a:lnTo>
                  <a:pt x="247441" y="120752"/>
                </a:lnTo>
                <a:lnTo>
                  <a:pt x="247385" y="120360"/>
                </a:lnTo>
                <a:lnTo>
                  <a:pt x="247217" y="119968"/>
                </a:lnTo>
                <a:lnTo>
                  <a:pt x="247049" y="119800"/>
                </a:lnTo>
                <a:lnTo>
                  <a:pt x="245929" y="119576"/>
                </a:lnTo>
                <a:lnTo>
                  <a:pt x="243632" y="118567"/>
                </a:lnTo>
                <a:lnTo>
                  <a:pt x="242344" y="118399"/>
                </a:lnTo>
                <a:close/>
              </a:path>
            </a:pathLst>
          </a:custGeom>
          <a:solidFill>
            <a:srgbClr val="FBC02D"/>
          </a:solidFill>
          <a:ln w="9525" cap="flat" cmpd="sng">
            <a:solidFill>
              <a:srgbClr val="FFFFFF"/>
            </a:solidFill>
            <a:prstDash val="solid"/>
            <a:round/>
            <a:headEnd type="none" w="sm" len="sm"/>
            <a:tailEnd type="none" w="sm" len="sm"/>
          </a:ln>
        </p:spPr>
        <p:txBody>
          <a:bodyPr spcFirstLastPara="1" wrap="square" lIns="150800" tIns="150800" rIns="150800" bIns="1508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304" name="Google Shape;304;p34"/>
          <p:cNvSpPr/>
          <p:nvPr/>
        </p:nvSpPr>
        <p:spPr>
          <a:xfrm>
            <a:off x="3549954" y="404117"/>
            <a:ext cx="1670857" cy="1276435"/>
          </a:xfrm>
          <a:custGeom>
            <a:avLst/>
            <a:gdLst/>
            <a:ahLst/>
            <a:cxnLst/>
            <a:rect l="l" t="t" r="r" b="b"/>
            <a:pathLst>
              <a:path w="271390" h="207438" extrusionOk="0">
                <a:moveTo>
                  <a:pt x="180082" y="12410"/>
                </a:moveTo>
                <a:lnTo>
                  <a:pt x="179976" y="12516"/>
                </a:lnTo>
                <a:lnTo>
                  <a:pt x="180187" y="12516"/>
                </a:lnTo>
                <a:lnTo>
                  <a:pt x="180504" y="12674"/>
                </a:lnTo>
                <a:lnTo>
                  <a:pt x="181349" y="13414"/>
                </a:lnTo>
                <a:lnTo>
                  <a:pt x="181508" y="13467"/>
                </a:lnTo>
                <a:lnTo>
                  <a:pt x="181613" y="13414"/>
                </a:lnTo>
                <a:lnTo>
                  <a:pt x="181824" y="13361"/>
                </a:lnTo>
                <a:lnTo>
                  <a:pt x="182247" y="13625"/>
                </a:lnTo>
                <a:lnTo>
                  <a:pt x="181877" y="13255"/>
                </a:lnTo>
                <a:lnTo>
                  <a:pt x="181772" y="13202"/>
                </a:lnTo>
                <a:lnTo>
                  <a:pt x="181666" y="13202"/>
                </a:lnTo>
                <a:lnTo>
                  <a:pt x="181508" y="13308"/>
                </a:lnTo>
                <a:lnTo>
                  <a:pt x="181402" y="13308"/>
                </a:lnTo>
                <a:lnTo>
                  <a:pt x="180293" y="12410"/>
                </a:lnTo>
                <a:close/>
                <a:moveTo>
                  <a:pt x="120407" y="15262"/>
                </a:moveTo>
                <a:lnTo>
                  <a:pt x="120142" y="15473"/>
                </a:lnTo>
                <a:lnTo>
                  <a:pt x="120037" y="15737"/>
                </a:lnTo>
                <a:lnTo>
                  <a:pt x="119984" y="15843"/>
                </a:lnTo>
                <a:lnTo>
                  <a:pt x="120301" y="15473"/>
                </a:lnTo>
                <a:lnTo>
                  <a:pt x="120671" y="15421"/>
                </a:lnTo>
                <a:lnTo>
                  <a:pt x="121991" y="15685"/>
                </a:lnTo>
                <a:lnTo>
                  <a:pt x="120407" y="15262"/>
                </a:lnTo>
                <a:close/>
                <a:moveTo>
                  <a:pt x="119086" y="16424"/>
                </a:moveTo>
                <a:lnTo>
                  <a:pt x="118453" y="16846"/>
                </a:lnTo>
                <a:lnTo>
                  <a:pt x="117608" y="17850"/>
                </a:lnTo>
                <a:lnTo>
                  <a:pt x="117502" y="18008"/>
                </a:lnTo>
                <a:lnTo>
                  <a:pt x="117238" y="18748"/>
                </a:lnTo>
                <a:lnTo>
                  <a:pt x="117344" y="18642"/>
                </a:lnTo>
                <a:lnTo>
                  <a:pt x="117449" y="18272"/>
                </a:lnTo>
                <a:lnTo>
                  <a:pt x="117555" y="18061"/>
                </a:lnTo>
                <a:lnTo>
                  <a:pt x="118241" y="17163"/>
                </a:lnTo>
                <a:lnTo>
                  <a:pt x="119086" y="16424"/>
                </a:lnTo>
                <a:close/>
                <a:moveTo>
                  <a:pt x="117238" y="18959"/>
                </a:moveTo>
                <a:lnTo>
                  <a:pt x="117027" y="19064"/>
                </a:lnTo>
                <a:lnTo>
                  <a:pt x="116868" y="19328"/>
                </a:lnTo>
                <a:lnTo>
                  <a:pt x="116710" y="19593"/>
                </a:lnTo>
                <a:lnTo>
                  <a:pt x="116551" y="19909"/>
                </a:lnTo>
                <a:lnTo>
                  <a:pt x="116446" y="20226"/>
                </a:lnTo>
                <a:lnTo>
                  <a:pt x="116076" y="20913"/>
                </a:lnTo>
                <a:lnTo>
                  <a:pt x="116393" y="20490"/>
                </a:lnTo>
                <a:lnTo>
                  <a:pt x="116551" y="20226"/>
                </a:lnTo>
                <a:lnTo>
                  <a:pt x="116657" y="19804"/>
                </a:lnTo>
                <a:lnTo>
                  <a:pt x="117027" y="19276"/>
                </a:lnTo>
                <a:lnTo>
                  <a:pt x="117238" y="18959"/>
                </a:lnTo>
                <a:close/>
                <a:moveTo>
                  <a:pt x="115918" y="21124"/>
                </a:moveTo>
                <a:lnTo>
                  <a:pt x="115126" y="22233"/>
                </a:lnTo>
                <a:lnTo>
                  <a:pt x="115020" y="22550"/>
                </a:lnTo>
                <a:lnTo>
                  <a:pt x="114861" y="22920"/>
                </a:lnTo>
                <a:lnTo>
                  <a:pt x="114545" y="24293"/>
                </a:lnTo>
                <a:lnTo>
                  <a:pt x="114703" y="23923"/>
                </a:lnTo>
                <a:lnTo>
                  <a:pt x="114967" y="22972"/>
                </a:lnTo>
                <a:lnTo>
                  <a:pt x="115073" y="22550"/>
                </a:lnTo>
                <a:lnTo>
                  <a:pt x="115706" y="21599"/>
                </a:lnTo>
                <a:lnTo>
                  <a:pt x="115918" y="21124"/>
                </a:lnTo>
                <a:close/>
                <a:moveTo>
                  <a:pt x="215042" y="22603"/>
                </a:moveTo>
                <a:lnTo>
                  <a:pt x="215200" y="22761"/>
                </a:lnTo>
                <a:lnTo>
                  <a:pt x="215464" y="22814"/>
                </a:lnTo>
                <a:lnTo>
                  <a:pt x="215623" y="22972"/>
                </a:lnTo>
                <a:lnTo>
                  <a:pt x="215887" y="23025"/>
                </a:lnTo>
                <a:lnTo>
                  <a:pt x="216204" y="23289"/>
                </a:lnTo>
                <a:lnTo>
                  <a:pt x="216520" y="23395"/>
                </a:lnTo>
                <a:lnTo>
                  <a:pt x="217049" y="24029"/>
                </a:lnTo>
                <a:lnTo>
                  <a:pt x="217313" y="24240"/>
                </a:lnTo>
                <a:lnTo>
                  <a:pt x="217471" y="24398"/>
                </a:lnTo>
                <a:lnTo>
                  <a:pt x="217418" y="24240"/>
                </a:lnTo>
                <a:lnTo>
                  <a:pt x="217313" y="24134"/>
                </a:lnTo>
                <a:lnTo>
                  <a:pt x="217260" y="24029"/>
                </a:lnTo>
                <a:lnTo>
                  <a:pt x="216785" y="23500"/>
                </a:lnTo>
                <a:lnTo>
                  <a:pt x="215464" y="22655"/>
                </a:lnTo>
                <a:lnTo>
                  <a:pt x="215042" y="22603"/>
                </a:lnTo>
                <a:close/>
                <a:moveTo>
                  <a:pt x="217788" y="24451"/>
                </a:moveTo>
                <a:lnTo>
                  <a:pt x="217788" y="24504"/>
                </a:lnTo>
                <a:lnTo>
                  <a:pt x="217894" y="24504"/>
                </a:lnTo>
                <a:lnTo>
                  <a:pt x="217999" y="24557"/>
                </a:lnTo>
                <a:lnTo>
                  <a:pt x="218073" y="24557"/>
                </a:lnTo>
                <a:lnTo>
                  <a:pt x="217788" y="24451"/>
                </a:lnTo>
                <a:close/>
                <a:moveTo>
                  <a:pt x="218073" y="24557"/>
                </a:moveTo>
                <a:lnTo>
                  <a:pt x="218144" y="24583"/>
                </a:lnTo>
                <a:lnTo>
                  <a:pt x="218105" y="24557"/>
                </a:lnTo>
                <a:close/>
                <a:moveTo>
                  <a:pt x="114545" y="24609"/>
                </a:moveTo>
                <a:lnTo>
                  <a:pt x="114439" y="24662"/>
                </a:lnTo>
                <a:lnTo>
                  <a:pt x="114386" y="24926"/>
                </a:lnTo>
                <a:lnTo>
                  <a:pt x="114365" y="25064"/>
                </a:lnTo>
                <a:lnTo>
                  <a:pt x="114439" y="24768"/>
                </a:lnTo>
                <a:lnTo>
                  <a:pt x="114545" y="24609"/>
                </a:lnTo>
                <a:close/>
                <a:moveTo>
                  <a:pt x="114365" y="25064"/>
                </a:moveTo>
                <a:lnTo>
                  <a:pt x="114333" y="25190"/>
                </a:lnTo>
                <a:lnTo>
                  <a:pt x="114333" y="25270"/>
                </a:lnTo>
                <a:lnTo>
                  <a:pt x="114365" y="25064"/>
                </a:lnTo>
                <a:close/>
                <a:moveTo>
                  <a:pt x="114333" y="25270"/>
                </a:moveTo>
                <a:lnTo>
                  <a:pt x="114281" y="25613"/>
                </a:lnTo>
                <a:lnTo>
                  <a:pt x="114281" y="26458"/>
                </a:lnTo>
                <a:lnTo>
                  <a:pt x="114281" y="26563"/>
                </a:lnTo>
                <a:lnTo>
                  <a:pt x="114281" y="26933"/>
                </a:lnTo>
                <a:lnTo>
                  <a:pt x="114333" y="27303"/>
                </a:lnTo>
                <a:lnTo>
                  <a:pt x="114333" y="26194"/>
                </a:lnTo>
                <a:lnTo>
                  <a:pt x="114333" y="26035"/>
                </a:lnTo>
                <a:lnTo>
                  <a:pt x="114333" y="25666"/>
                </a:lnTo>
                <a:lnTo>
                  <a:pt x="114333" y="25270"/>
                </a:lnTo>
                <a:close/>
                <a:moveTo>
                  <a:pt x="106676" y="64587"/>
                </a:moveTo>
                <a:lnTo>
                  <a:pt x="106456" y="64692"/>
                </a:lnTo>
                <a:lnTo>
                  <a:pt x="106676" y="64692"/>
                </a:lnTo>
                <a:lnTo>
                  <a:pt x="106729" y="64639"/>
                </a:lnTo>
                <a:lnTo>
                  <a:pt x="106729" y="64587"/>
                </a:lnTo>
                <a:close/>
                <a:moveTo>
                  <a:pt x="106359" y="64692"/>
                </a:moveTo>
                <a:lnTo>
                  <a:pt x="106306" y="64745"/>
                </a:lnTo>
                <a:lnTo>
                  <a:pt x="106306" y="64764"/>
                </a:lnTo>
                <a:lnTo>
                  <a:pt x="106306" y="64764"/>
                </a:lnTo>
                <a:lnTo>
                  <a:pt x="106456" y="64692"/>
                </a:lnTo>
                <a:close/>
                <a:moveTo>
                  <a:pt x="106306" y="64764"/>
                </a:moveTo>
                <a:lnTo>
                  <a:pt x="105246" y="65273"/>
                </a:lnTo>
                <a:lnTo>
                  <a:pt x="105356" y="65273"/>
                </a:lnTo>
                <a:lnTo>
                  <a:pt x="106042" y="64956"/>
                </a:lnTo>
                <a:lnTo>
                  <a:pt x="106306" y="64956"/>
                </a:lnTo>
                <a:lnTo>
                  <a:pt x="106306" y="64903"/>
                </a:lnTo>
                <a:lnTo>
                  <a:pt x="106306" y="64851"/>
                </a:lnTo>
                <a:lnTo>
                  <a:pt x="106306" y="64764"/>
                </a:lnTo>
                <a:close/>
                <a:moveTo>
                  <a:pt x="104986" y="65273"/>
                </a:moveTo>
                <a:lnTo>
                  <a:pt x="104775" y="65484"/>
                </a:lnTo>
                <a:lnTo>
                  <a:pt x="104696" y="65537"/>
                </a:lnTo>
                <a:lnTo>
                  <a:pt x="104696" y="65537"/>
                </a:lnTo>
                <a:lnTo>
                  <a:pt x="105246" y="65273"/>
                </a:lnTo>
                <a:close/>
                <a:moveTo>
                  <a:pt x="104035" y="65748"/>
                </a:moveTo>
                <a:lnTo>
                  <a:pt x="103666" y="65907"/>
                </a:lnTo>
                <a:lnTo>
                  <a:pt x="103877" y="65854"/>
                </a:lnTo>
                <a:lnTo>
                  <a:pt x="104035" y="65748"/>
                </a:lnTo>
                <a:close/>
                <a:moveTo>
                  <a:pt x="103719" y="65907"/>
                </a:moveTo>
                <a:lnTo>
                  <a:pt x="103560" y="65960"/>
                </a:lnTo>
                <a:lnTo>
                  <a:pt x="103402" y="66065"/>
                </a:lnTo>
                <a:lnTo>
                  <a:pt x="103719" y="65907"/>
                </a:lnTo>
                <a:close/>
                <a:moveTo>
                  <a:pt x="103138" y="66171"/>
                </a:moveTo>
                <a:lnTo>
                  <a:pt x="102398" y="66541"/>
                </a:lnTo>
                <a:lnTo>
                  <a:pt x="102293" y="66646"/>
                </a:lnTo>
                <a:lnTo>
                  <a:pt x="102346" y="66699"/>
                </a:lnTo>
                <a:lnTo>
                  <a:pt x="102451" y="66699"/>
                </a:lnTo>
                <a:lnTo>
                  <a:pt x="102610" y="66541"/>
                </a:lnTo>
                <a:lnTo>
                  <a:pt x="102662" y="66488"/>
                </a:lnTo>
                <a:lnTo>
                  <a:pt x="102715" y="66435"/>
                </a:lnTo>
                <a:lnTo>
                  <a:pt x="102821" y="66435"/>
                </a:lnTo>
                <a:lnTo>
                  <a:pt x="103138" y="66171"/>
                </a:lnTo>
                <a:close/>
                <a:moveTo>
                  <a:pt x="101817" y="67016"/>
                </a:moveTo>
                <a:lnTo>
                  <a:pt x="101606" y="67174"/>
                </a:lnTo>
                <a:lnTo>
                  <a:pt x="101078" y="67491"/>
                </a:lnTo>
                <a:lnTo>
                  <a:pt x="101025" y="67597"/>
                </a:lnTo>
                <a:lnTo>
                  <a:pt x="100920" y="67755"/>
                </a:lnTo>
                <a:lnTo>
                  <a:pt x="100920" y="67861"/>
                </a:lnTo>
                <a:lnTo>
                  <a:pt x="101131" y="67755"/>
                </a:lnTo>
                <a:lnTo>
                  <a:pt x="101237" y="67702"/>
                </a:lnTo>
                <a:lnTo>
                  <a:pt x="101448" y="67438"/>
                </a:lnTo>
                <a:lnTo>
                  <a:pt x="101553" y="67333"/>
                </a:lnTo>
                <a:lnTo>
                  <a:pt x="101817" y="67069"/>
                </a:lnTo>
                <a:lnTo>
                  <a:pt x="101817" y="67016"/>
                </a:lnTo>
                <a:close/>
                <a:moveTo>
                  <a:pt x="100656" y="67861"/>
                </a:moveTo>
                <a:lnTo>
                  <a:pt x="100497" y="67914"/>
                </a:lnTo>
                <a:lnTo>
                  <a:pt x="100339" y="68019"/>
                </a:lnTo>
                <a:lnTo>
                  <a:pt x="100233" y="68072"/>
                </a:lnTo>
                <a:lnTo>
                  <a:pt x="100180" y="68178"/>
                </a:lnTo>
                <a:lnTo>
                  <a:pt x="100233" y="68283"/>
                </a:lnTo>
                <a:lnTo>
                  <a:pt x="100339" y="68178"/>
                </a:lnTo>
                <a:lnTo>
                  <a:pt x="100444" y="68072"/>
                </a:lnTo>
                <a:lnTo>
                  <a:pt x="100708" y="67914"/>
                </a:lnTo>
                <a:lnTo>
                  <a:pt x="100708" y="67861"/>
                </a:lnTo>
                <a:close/>
                <a:moveTo>
                  <a:pt x="96959" y="70396"/>
                </a:moveTo>
                <a:lnTo>
                  <a:pt x="96906" y="70449"/>
                </a:lnTo>
                <a:lnTo>
                  <a:pt x="96800" y="70449"/>
                </a:lnTo>
                <a:lnTo>
                  <a:pt x="95111" y="71822"/>
                </a:lnTo>
                <a:lnTo>
                  <a:pt x="95058" y="71927"/>
                </a:lnTo>
                <a:lnTo>
                  <a:pt x="95163" y="71927"/>
                </a:lnTo>
                <a:lnTo>
                  <a:pt x="95216" y="71874"/>
                </a:lnTo>
                <a:lnTo>
                  <a:pt x="95427" y="71610"/>
                </a:lnTo>
                <a:lnTo>
                  <a:pt x="95586" y="71558"/>
                </a:lnTo>
                <a:lnTo>
                  <a:pt x="95691" y="71452"/>
                </a:lnTo>
                <a:lnTo>
                  <a:pt x="96061" y="71188"/>
                </a:lnTo>
                <a:lnTo>
                  <a:pt x="96272" y="71082"/>
                </a:lnTo>
                <a:lnTo>
                  <a:pt x="96853" y="70554"/>
                </a:lnTo>
                <a:lnTo>
                  <a:pt x="96959" y="70396"/>
                </a:lnTo>
                <a:close/>
                <a:moveTo>
                  <a:pt x="87136" y="73511"/>
                </a:moveTo>
                <a:lnTo>
                  <a:pt x="87031" y="73564"/>
                </a:lnTo>
                <a:lnTo>
                  <a:pt x="86978" y="73670"/>
                </a:lnTo>
                <a:lnTo>
                  <a:pt x="87031" y="73776"/>
                </a:lnTo>
                <a:lnTo>
                  <a:pt x="87083" y="73828"/>
                </a:lnTo>
                <a:lnTo>
                  <a:pt x="87136" y="73828"/>
                </a:lnTo>
                <a:lnTo>
                  <a:pt x="87189" y="73723"/>
                </a:lnTo>
                <a:lnTo>
                  <a:pt x="87189" y="73564"/>
                </a:lnTo>
                <a:lnTo>
                  <a:pt x="87189" y="73511"/>
                </a:lnTo>
                <a:close/>
                <a:moveTo>
                  <a:pt x="92470" y="73406"/>
                </a:moveTo>
                <a:lnTo>
                  <a:pt x="92259" y="73564"/>
                </a:lnTo>
                <a:lnTo>
                  <a:pt x="92206" y="73670"/>
                </a:lnTo>
                <a:lnTo>
                  <a:pt x="92153" y="73776"/>
                </a:lnTo>
                <a:lnTo>
                  <a:pt x="92153" y="73828"/>
                </a:lnTo>
                <a:lnTo>
                  <a:pt x="92259" y="73828"/>
                </a:lnTo>
                <a:lnTo>
                  <a:pt x="92364" y="73776"/>
                </a:lnTo>
                <a:lnTo>
                  <a:pt x="92417" y="73670"/>
                </a:lnTo>
                <a:lnTo>
                  <a:pt x="92470" y="73564"/>
                </a:lnTo>
                <a:lnTo>
                  <a:pt x="92576" y="73511"/>
                </a:lnTo>
                <a:lnTo>
                  <a:pt x="92681" y="73459"/>
                </a:lnTo>
                <a:lnTo>
                  <a:pt x="92681" y="73406"/>
                </a:lnTo>
                <a:close/>
                <a:moveTo>
                  <a:pt x="93526" y="72931"/>
                </a:moveTo>
                <a:lnTo>
                  <a:pt x="93051" y="73195"/>
                </a:lnTo>
                <a:lnTo>
                  <a:pt x="92893" y="73300"/>
                </a:lnTo>
                <a:lnTo>
                  <a:pt x="92840" y="73406"/>
                </a:lnTo>
                <a:lnTo>
                  <a:pt x="92840" y="73511"/>
                </a:lnTo>
                <a:lnTo>
                  <a:pt x="92840" y="73617"/>
                </a:lnTo>
                <a:lnTo>
                  <a:pt x="92787" y="73776"/>
                </a:lnTo>
                <a:lnTo>
                  <a:pt x="92840" y="73828"/>
                </a:lnTo>
                <a:lnTo>
                  <a:pt x="92945" y="73828"/>
                </a:lnTo>
                <a:lnTo>
                  <a:pt x="93157" y="73459"/>
                </a:lnTo>
                <a:lnTo>
                  <a:pt x="93104" y="73459"/>
                </a:lnTo>
                <a:lnTo>
                  <a:pt x="93104" y="73353"/>
                </a:lnTo>
                <a:lnTo>
                  <a:pt x="93157" y="73247"/>
                </a:lnTo>
                <a:lnTo>
                  <a:pt x="93526" y="73036"/>
                </a:lnTo>
                <a:lnTo>
                  <a:pt x="93579" y="72931"/>
                </a:lnTo>
                <a:close/>
                <a:moveTo>
                  <a:pt x="91150" y="82331"/>
                </a:moveTo>
                <a:lnTo>
                  <a:pt x="91044" y="82436"/>
                </a:lnTo>
                <a:lnTo>
                  <a:pt x="91044" y="82595"/>
                </a:lnTo>
                <a:lnTo>
                  <a:pt x="91097" y="82648"/>
                </a:lnTo>
                <a:lnTo>
                  <a:pt x="91255" y="82648"/>
                </a:lnTo>
                <a:lnTo>
                  <a:pt x="91361" y="82542"/>
                </a:lnTo>
                <a:lnTo>
                  <a:pt x="91308" y="82436"/>
                </a:lnTo>
                <a:lnTo>
                  <a:pt x="91308" y="82331"/>
                </a:lnTo>
                <a:close/>
                <a:moveTo>
                  <a:pt x="99969" y="87823"/>
                </a:moveTo>
                <a:lnTo>
                  <a:pt x="99863" y="87876"/>
                </a:lnTo>
                <a:lnTo>
                  <a:pt x="99863" y="87981"/>
                </a:lnTo>
                <a:lnTo>
                  <a:pt x="99916" y="88087"/>
                </a:lnTo>
                <a:lnTo>
                  <a:pt x="100022" y="88087"/>
                </a:lnTo>
                <a:lnTo>
                  <a:pt x="100075" y="87929"/>
                </a:lnTo>
                <a:lnTo>
                  <a:pt x="100075" y="87876"/>
                </a:lnTo>
                <a:lnTo>
                  <a:pt x="99969" y="87823"/>
                </a:lnTo>
                <a:close/>
                <a:moveTo>
                  <a:pt x="75465" y="97276"/>
                </a:moveTo>
                <a:lnTo>
                  <a:pt x="75465" y="97329"/>
                </a:lnTo>
                <a:lnTo>
                  <a:pt x="75666" y="97329"/>
                </a:lnTo>
                <a:lnTo>
                  <a:pt x="75465" y="97276"/>
                </a:lnTo>
                <a:close/>
                <a:moveTo>
                  <a:pt x="75666" y="97329"/>
                </a:moveTo>
                <a:lnTo>
                  <a:pt x="75680" y="97333"/>
                </a:lnTo>
                <a:lnTo>
                  <a:pt x="75680" y="97333"/>
                </a:lnTo>
                <a:lnTo>
                  <a:pt x="75677" y="97329"/>
                </a:lnTo>
                <a:close/>
                <a:moveTo>
                  <a:pt x="76521" y="97382"/>
                </a:moveTo>
                <a:lnTo>
                  <a:pt x="76838" y="97487"/>
                </a:lnTo>
                <a:lnTo>
                  <a:pt x="76838" y="97487"/>
                </a:lnTo>
                <a:lnTo>
                  <a:pt x="76574" y="97382"/>
                </a:lnTo>
                <a:close/>
                <a:moveTo>
                  <a:pt x="117660" y="97170"/>
                </a:moveTo>
                <a:lnTo>
                  <a:pt x="117660" y="97276"/>
                </a:lnTo>
                <a:lnTo>
                  <a:pt x="117608" y="97329"/>
                </a:lnTo>
                <a:lnTo>
                  <a:pt x="117502" y="97329"/>
                </a:lnTo>
                <a:lnTo>
                  <a:pt x="117132" y="97223"/>
                </a:lnTo>
                <a:lnTo>
                  <a:pt x="117027" y="97223"/>
                </a:lnTo>
                <a:lnTo>
                  <a:pt x="117027" y="97382"/>
                </a:lnTo>
                <a:lnTo>
                  <a:pt x="116974" y="97329"/>
                </a:lnTo>
                <a:lnTo>
                  <a:pt x="116921" y="97276"/>
                </a:lnTo>
                <a:lnTo>
                  <a:pt x="116868" y="97276"/>
                </a:lnTo>
                <a:lnTo>
                  <a:pt x="116710" y="97329"/>
                </a:lnTo>
                <a:lnTo>
                  <a:pt x="116710" y="97382"/>
                </a:lnTo>
                <a:lnTo>
                  <a:pt x="116499" y="97804"/>
                </a:lnTo>
                <a:lnTo>
                  <a:pt x="116657" y="97910"/>
                </a:lnTo>
                <a:lnTo>
                  <a:pt x="116815" y="97910"/>
                </a:lnTo>
                <a:lnTo>
                  <a:pt x="116921" y="98015"/>
                </a:lnTo>
                <a:lnTo>
                  <a:pt x="117502" y="98015"/>
                </a:lnTo>
                <a:lnTo>
                  <a:pt x="118030" y="97857"/>
                </a:lnTo>
                <a:lnTo>
                  <a:pt x="118030" y="97910"/>
                </a:lnTo>
                <a:lnTo>
                  <a:pt x="118083" y="98015"/>
                </a:lnTo>
                <a:lnTo>
                  <a:pt x="118136" y="98015"/>
                </a:lnTo>
                <a:lnTo>
                  <a:pt x="118188" y="97963"/>
                </a:lnTo>
                <a:lnTo>
                  <a:pt x="118188" y="97910"/>
                </a:lnTo>
                <a:lnTo>
                  <a:pt x="118188" y="97698"/>
                </a:lnTo>
                <a:lnTo>
                  <a:pt x="118188" y="97646"/>
                </a:lnTo>
                <a:lnTo>
                  <a:pt x="118188" y="97593"/>
                </a:lnTo>
                <a:lnTo>
                  <a:pt x="117977" y="97329"/>
                </a:lnTo>
                <a:lnTo>
                  <a:pt x="117977" y="97276"/>
                </a:lnTo>
                <a:lnTo>
                  <a:pt x="117819" y="97170"/>
                </a:lnTo>
                <a:close/>
                <a:moveTo>
                  <a:pt x="84337" y="99916"/>
                </a:moveTo>
                <a:lnTo>
                  <a:pt x="84443" y="99969"/>
                </a:lnTo>
                <a:lnTo>
                  <a:pt x="84707" y="100022"/>
                </a:lnTo>
                <a:lnTo>
                  <a:pt x="84337" y="99916"/>
                </a:lnTo>
                <a:close/>
                <a:moveTo>
                  <a:pt x="78687" y="99705"/>
                </a:moveTo>
                <a:lnTo>
                  <a:pt x="79901" y="100392"/>
                </a:lnTo>
                <a:lnTo>
                  <a:pt x="79743" y="100233"/>
                </a:lnTo>
                <a:lnTo>
                  <a:pt x="78687" y="99705"/>
                </a:lnTo>
                <a:close/>
                <a:moveTo>
                  <a:pt x="79901" y="100392"/>
                </a:moveTo>
                <a:lnTo>
                  <a:pt x="80271" y="100814"/>
                </a:lnTo>
                <a:lnTo>
                  <a:pt x="80641" y="101342"/>
                </a:lnTo>
                <a:lnTo>
                  <a:pt x="80641" y="101342"/>
                </a:lnTo>
                <a:lnTo>
                  <a:pt x="80218" y="100709"/>
                </a:lnTo>
                <a:lnTo>
                  <a:pt x="79901" y="100392"/>
                </a:lnTo>
                <a:close/>
                <a:moveTo>
                  <a:pt x="107521" y="102715"/>
                </a:moveTo>
                <a:lnTo>
                  <a:pt x="107468" y="102821"/>
                </a:lnTo>
                <a:lnTo>
                  <a:pt x="107415" y="102927"/>
                </a:lnTo>
                <a:lnTo>
                  <a:pt x="107415" y="103032"/>
                </a:lnTo>
                <a:lnTo>
                  <a:pt x="107521" y="103085"/>
                </a:lnTo>
                <a:lnTo>
                  <a:pt x="107627" y="102979"/>
                </a:lnTo>
                <a:lnTo>
                  <a:pt x="107627" y="102927"/>
                </a:lnTo>
                <a:lnTo>
                  <a:pt x="107627" y="102874"/>
                </a:lnTo>
                <a:lnTo>
                  <a:pt x="107627" y="102715"/>
                </a:lnTo>
                <a:close/>
                <a:moveTo>
                  <a:pt x="82331" y="102399"/>
                </a:moveTo>
                <a:lnTo>
                  <a:pt x="82595" y="102715"/>
                </a:lnTo>
                <a:lnTo>
                  <a:pt x="82700" y="102927"/>
                </a:lnTo>
                <a:lnTo>
                  <a:pt x="82911" y="103191"/>
                </a:lnTo>
                <a:lnTo>
                  <a:pt x="82647" y="102715"/>
                </a:lnTo>
                <a:lnTo>
                  <a:pt x="82331" y="102399"/>
                </a:lnTo>
                <a:close/>
                <a:moveTo>
                  <a:pt x="107627" y="103191"/>
                </a:moveTo>
                <a:lnTo>
                  <a:pt x="107574" y="103296"/>
                </a:lnTo>
                <a:lnTo>
                  <a:pt x="107574" y="103402"/>
                </a:lnTo>
                <a:lnTo>
                  <a:pt x="107785" y="103402"/>
                </a:lnTo>
                <a:lnTo>
                  <a:pt x="107785" y="103296"/>
                </a:lnTo>
                <a:lnTo>
                  <a:pt x="107732" y="103191"/>
                </a:lnTo>
                <a:close/>
                <a:moveTo>
                  <a:pt x="82911" y="103191"/>
                </a:moveTo>
                <a:lnTo>
                  <a:pt x="83070" y="103508"/>
                </a:lnTo>
                <a:lnTo>
                  <a:pt x="83070" y="103402"/>
                </a:lnTo>
                <a:lnTo>
                  <a:pt x="83017" y="103296"/>
                </a:lnTo>
                <a:lnTo>
                  <a:pt x="82911" y="103191"/>
                </a:lnTo>
                <a:close/>
                <a:moveTo>
                  <a:pt x="74039" y="95586"/>
                </a:moveTo>
                <a:lnTo>
                  <a:pt x="73987" y="95639"/>
                </a:lnTo>
                <a:lnTo>
                  <a:pt x="73828" y="95639"/>
                </a:lnTo>
                <a:lnTo>
                  <a:pt x="73775" y="95692"/>
                </a:lnTo>
                <a:lnTo>
                  <a:pt x="73775" y="95744"/>
                </a:lnTo>
                <a:lnTo>
                  <a:pt x="73775" y="95850"/>
                </a:lnTo>
                <a:lnTo>
                  <a:pt x="73775" y="95956"/>
                </a:lnTo>
                <a:lnTo>
                  <a:pt x="73775" y="96009"/>
                </a:lnTo>
                <a:lnTo>
                  <a:pt x="73828" y="96114"/>
                </a:lnTo>
                <a:lnTo>
                  <a:pt x="73828" y="96273"/>
                </a:lnTo>
                <a:lnTo>
                  <a:pt x="73723" y="96589"/>
                </a:lnTo>
                <a:lnTo>
                  <a:pt x="73723" y="96906"/>
                </a:lnTo>
                <a:lnTo>
                  <a:pt x="73723" y="97012"/>
                </a:lnTo>
                <a:lnTo>
                  <a:pt x="73617" y="97170"/>
                </a:lnTo>
                <a:lnTo>
                  <a:pt x="73564" y="97223"/>
                </a:lnTo>
                <a:lnTo>
                  <a:pt x="73511" y="97223"/>
                </a:lnTo>
                <a:lnTo>
                  <a:pt x="73511" y="97276"/>
                </a:lnTo>
                <a:lnTo>
                  <a:pt x="73511" y="97329"/>
                </a:lnTo>
                <a:lnTo>
                  <a:pt x="73511" y="97382"/>
                </a:lnTo>
                <a:lnTo>
                  <a:pt x="73511" y="97434"/>
                </a:lnTo>
                <a:lnTo>
                  <a:pt x="73511" y="97487"/>
                </a:lnTo>
                <a:lnTo>
                  <a:pt x="73511" y="97593"/>
                </a:lnTo>
                <a:lnTo>
                  <a:pt x="73459" y="97698"/>
                </a:lnTo>
                <a:lnTo>
                  <a:pt x="73406" y="97751"/>
                </a:lnTo>
                <a:lnTo>
                  <a:pt x="73353" y="97804"/>
                </a:lnTo>
                <a:lnTo>
                  <a:pt x="73300" y="97910"/>
                </a:lnTo>
                <a:lnTo>
                  <a:pt x="73300" y="97963"/>
                </a:lnTo>
                <a:lnTo>
                  <a:pt x="73300" y="98174"/>
                </a:lnTo>
                <a:lnTo>
                  <a:pt x="73300" y="98332"/>
                </a:lnTo>
                <a:lnTo>
                  <a:pt x="73300" y="98438"/>
                </a:lnTo>
                <a:lnTo>
                  <a:pt x="73300" y="98491"/>
                </a:lnTo>
                <a:lnTo>
                  <a:pt x="73300" y="98543"/>
                </a:lnTo>
                <a:lnTo>
                  <a:pt x="73300" y="98702"/>
                </a:lnTo>
                <a:lnTo>
                  <a:pt x="73300" y="98807"/>
                </a:lnTo>
                <a:lnTo>
                  <a:pt x="73300" y="98966"/>
                </a:lnTo>
                <a:lnTo>
                  <a:pt x="73353" y="99124"/>
                </a:lnTo>
                <a:lnTo>
                  <a:pt x="73353" y="99283"/>
                </a:lnTo>
                <a:lnTo>
                  <a:pt x="73353" y="99388"/>
                </a:lnTo>
                <a:lnTo>
                  <a:pt x="73670" y="99969"/>
                </a:lnTo>
                <a:lnTo>
                  <a:pt x="73775" y="100075"/>
                </a:lnTo>
                <a:lnTo>
                  <a:pt x="73934" y="100181"/>
                </a:lnTo>
                <a:lnTo>
                  <a:pt x="74145" y="100233"/>
                </a:lnTo>
                <a:lnTo>
                  <a:pt x="74303" y="100339"/>
                </a:lnTo>
                <a:lnTo>
                  <a:pt x="74515" y="100339"/>
                </a:lnTo>
                <a:lnTo>
                  <a:pt x="74568" y="100445"/>
                </a:lnTo>
                <a:lnTo>
                  <a:pt x="75148" y="100603"/>
                </a:lnTo>
                <a:lnTo>
                  <a:pt x="75307" y="100603"/>
                </a:lnTo>
                <a:lnTo>
                  <a:pt x="75412" y="100445"/>
                </a:lnTo>
                <a:lnTo>
                  <a:pt x="75518" y="100392"/>
                </a:lnTo>
                <a:lnTo>
                  <a:pt x="75677" y="100286"/>
                </a:lnTo>
                <a:lnTo>
                  <a:pt x="75835" y="100181"/>
                </a:lnTo>
                <a:lnTo>
                  <a:pt x="75835" y="99969"/>
                </a:lnTo>
                <a:lnTo>
                  <a:pt x="75941" y="99969"/>
                </a:lnTo>
                <a:lnTo>
                  <a:pt x="76046" y="99811"/>
                </a:lnTo>
                <a:lnTo>
                  <a:pt x="76416" y="99758"/>
                </a:lnTo>
                <a:lnTo>
                  <a:pt x="76521" y="99652"/>
                </a:lnTo>
                <a:lnTo>
                  <a:pt x="76574" y="99547"/>
                </a:lnTo>
                <a:lnTo>
                  <a:pt x="76680" y="99441"/>
                </a:lnTo>
                <a:lnTo>
                  <a:pt x="76891" y="99388"/>
                </a:lnTo>
                <a:lnTo>
                  <a:pt x="76891" y="99336"/>
                </a:lnTo>
                <a:lnTo>
                  <a:pt x="76983" y="99322"/>
                </a:lnTo>
                <a:lnTo>
                  <a:pt x="76983" y="99322"/>
                </a:lnTo>
                <a:lnTo>
                  <a:pt x="76997" y="99336"/>
                </a:lnTo>
                <a:lnTo>
                  <a:pt x="77419" y="99336"/>
                </a:lnTo>
                <a:lnTo>
                  <a:pt x="78317" y="99547"/>
                </a:lnTo>
                <a:lnTo>
                  <a:pt x="77311" y="99273"/>
                </a:lnTo>
                <a:lnTo>
                  <a:pt x="77311" y="99273"/>
                </a:lnTo>
                <a:lnTo>
                  <a:pt x="77947" y="99177"/>
                </a:lnTo>
                <a:lnTo>
                  <a:pt x="78000" y="99177"/>
                </a:lnTo>
                <a:lnTo>
                  <a:pt x="78106" y="99230"/>
                </a:lnTo>
                <a:lnTo>
                  <a:pt x="78106" y="99283"/>
                </a:lnTo>
                <a:lnTo>
                  <a:pt x="78211" y="99441"/>
                </a:lnTo>
                <a:lnTo>
                  <a:pt x="78264" y="99494"/>
                </a:lnTo>
                <a:lnTo>
                  <a:pt x="78370" y="99547"/>
                </a:lnTo>
                <a:lnTo>
                  <a:pt x="78792" y="99547"/>
                </a:lnTo>
                <a:lnTo>
                  <a:pt x="78792" y="99600"/>
                </a:lnTo>
                <a:lnTo>
                  <a:pt x="78792" y="99652"/>
                </a:lnTo>
                <a:lnTo>
                  <a:pt x="79109" y="99705"/>
                </a:lnTo>
                <a:lnTo>
                  <a:pt x="79849" y="100128"/>
                </a:lnTo>
                <a:lnTo>
                  <a:pt x="80007" y="100339"/>
                </a:lnTo>
                <a:lnTo>
                  <a:pt x="80377" y="100709"/>
                </a:lnTo>
                <a:lnTo>
                  <a:pt x="80693" y="100867"/>
                </a:lnTo>
                <a:lnTo>
                  <a:pt x="80799" y="100867"/>
                </a:lnTo>
                <a:lnTo>
                  <a:pt x="80852" y="100920"/>
                </a:lnTo>
                <a:lnTo>
                  <a:pt x="80852" y="101025"/>
                </a:lnTo>
                <a:lnTo>
                  <a:pt x="80852" y="101131"/>
                </a:lnTo>
                <a:lnTo>
                  <a:pt x="80852" y="101184"/>
                </a:lnTo>
                <a:lnTo>
                  <a:pt x="80852" y="101237"/>
                </a:lnTo>
                <a:lnTo>
                  <a:pt x="80852" y="101501"/>
                </a:lnTo>
                <a:lnTo>
                  <a:pt x="80852" y="101606"/>
                </a:lnTo>
                <a:lnTo>
                  <a:pt x="80799" y="101659"/>
                </a:lnTo>
                <a:lnTo>
                  <a:pt x="80746" y="101659"/>
                </a:lnTo>
                <a:lnTo>
                  <a:pt x="80693" y="101712"/>
                </a:lnTo>
                <a:lnTo>
                  <a:pt x="80693" y="101818"/>
                </a:lnTo>
                <a:lnTo>
                  <a:pt x="80799" y="101818"/>
                </a:lnTo>
                <a:lnTo>
                  <a:pt x="81063" y="101923"/>
                </a:lnTo>
                <a:lnTo>
                  <a:pt x="81169" y="101923"/>
                </a:lnTo>
                <a:lnTo>
                  <a:pt x="81222" y="101870"/>
                </a:lnTo>
                <a:lnTo>
                  <a:pt x="81380" y="101712"/>
                </a:lnTo>
                <a:lnTo>
                  <a:pt x="81486" y="101712"/>
                </a:lnTo>
                <a:lnTo>
                  <a:pt x="81486" y="101765"/>
                </a:lnTo>
                <a:lnTo>
                  <a:pt x="81486" y="101818"/>
                </a:lnTo>
                <a:lnTo>
                  <a:pt x="81486" y="101923"/>
                </a:lnTo>
                <a:lnTo>
                  <a:pt x="81644" y="101923"/>
                </a:lnTo>
                <a:lnTo>
                  <a:pt x="81697" y="101976"/>
                </a:lnTo>
                <a:lnTo>
                  <a:pt x="81750" y="102082"/>
                </a:lnTo>
                <a:lnTo>
                  <a:pt x="82014" y="102240"/>
                </a:lnTo>
                <a:lnTo>
                  <a:pt x="82014" y="102135"/>
                </a:lnTo>
                <a:lnTo>
                  <a:pt x="82489" y="102346"/>
                </a:lnTo>
                <a:lnTo>
                  <a:pt x="82753" y="102557"/>
                </a:lnTo>
                <a:lnTo>
                  <a:pt x="82911" y="102874"/>
                </a:lnTo>
                <a:lnTo>
                  <a:pt x="83070" y="103138"/>
                </a:lnTo>
                <a:lnTo>
                  <a:pt x="83123" y="103191"/>
                </a:lnTo>
                <a:lnTo>
                  <a:pt x="83228" y="103191"/>
                </a:lnTo>
                <a:lnTo>
                  <a:pt x="83281" y="103455"/>
                </a:lnTo>
                <a:lnTo>
                  <a:pt x="83228" y="103613"/>
                </a:lnTo>
                <a:lnTo>
                  <a:pt x="83123" y="103666"/>
                </a:lnTo>
                <a:lnTo>
                  <a:pt x="83017" y="103666"/>
                </a:lnTo>
                <a:lnTo>
                  <a:pt x="83070" y="103772"/>
                </a:lnTo>
                <a:lnTo>
                  <a:pt x="83070" y="103930"/>
                </a:lnTo>
                <a:lnTo>
                  <a:pt x="83070" y="104036"/>
                </a:lnTo>
                <a:lnTo>
                  <a:pt x="83017" y="104194"/>
                </a:lnTo>
                <a:lnTo>
                  <a:pt x="83123" y="104194"/>
                </a:lnTo>
                <a:lnTo>
                  <a:pt x="83228" y="104247"/>
                </a:lnTo>
                <a:lnTo>
                  <a:pt x="83440" y="104405"/>
                </a:lnTo>
                <a:lnTo>
                  <a:pt x="83492" y="104405"/>
                </a:lnTo>
                <a:lnTo>
                  <a:pt x="83598" y="104353"/>
                </a:lnTo>
                <a:lnTo>
                  <a:pt x="83704" y="104141"/>
                </a:lnTo>
                <a:lnTo>
                  <a:pt x="83756" y="104036"/>
                </a:lnTo>
                <a:lnTo>
                  <a:pt x="83968" y="104036"/>
                </a:lnTo>
                <a:lnTo>
                  <a:pt x="84021" y="103983"/>
                </a:lnTo>
                <a:lnTo>
                  <a:pt x="83862" y="103772"/>
                </a:lnTo>
                <a:lnTo>
                  <a:pt x="83862" y="103666"/>
                </a:lnTo>
                <a:lnTo>
                  <a:pt x="83862" y="103455"/>
                </a:lnTo>
                <a:lnTo>
                  <a:pt x="83862" y="103349"/>
                </a:lnTo>
                <a:lnTo>
                  <a:pt x="84021" y="103138"/>
                </a:lnTo>
                <a:lnTo>
                  <a:pt x="84021" y="103085"/>
                </a:lnTo>
                <a:lnTo>
                  <a:pt x="84073" y="102927"/>
                </a:lnTo>
                <a:lnTo>
                  <a:pt x="84179" y="102821"/>
                </a:lnTo>
                <a:lnTo>
                  <a:pt x="84443" y="102715"/>
                </a:lnTo>
                <a:lnTo>
                  <a:pt x="84601" y="102557"/>
                </a:lnTo>
                <a:lnTo>
                  <a:pt x="84654" y="102451"/>
                </a:lnTo>
                <a:lnTo>
                  <a:pt x="84654" y="102346"/>
                </a:lnTo>
                <a:lnTo>
                  <a:pt x="84601" y="102240"/>
                </a:lnTo>
                <a:lnTo>
                  <a:pt x="84918" y="101976"/>
                </a:lnTo>
                <a:lnTo>
                  <a:pt x="85182" y="101765"/>
                </a:lnTo>
                <a:lnTo>
                  <a:pt x="85869" y="101659"/>
                </a:lnTo>
                <a:lnTo>
                  <a:pt x="85763" y="101765"/>
                </a:lnTo>
                <a:lnTo>
                  <a:pt x="85658" y="101870"/>
                </a:lnTo>
                <a:lnTo>
                  <a:pt x="85288" y="101870"/>
                </a:lnTo>
                <a:lnTo>
                  <a:pt x="85182" y="101923"/>
                </a:lnTo>
                <a:lnTo>
                  <a:pt x="84971" y="102082"/>
                </a:lnTo>
                <a:lnTo>
                  <a:pt x="84971" y="102082"/>
                </a:lnTo>
                <a:lnTo>
                  <a:pt x="85182" y="101976"/>
                </a:lnTo>
                <a:lnTo>
                  <a:pt x="86344" y="101870"/>
                </a:lnTo>
                <a:lnTo>
                  <a:pt x="86714" y="101923"/>
                </a:lnTo>
                <a:lnTo>
                  <a:pt x="86767" y="102029"/>
                </a:lnTo>
                <a:lnTo>
                  <a:pt x="87031" y="102082"/>
                </a:lnTo>
                <a:lnTo>
                  <a:pt x="87506" y="102082"/>
                </a:lnTo>
                <a:lnTo>
                  <a:pt x="87664" y="102029"/>
                </a:lnTo>
                <a:lnTo>
                  <a:pt x="87876" y="101818"/>
                </a:lnTo>
                <a:lnTo>
                  <a:pt x="88087" y="101342"/>
                </a:lnTo>
                <a:lnTo>
                  <a:pt x="88140" y="101078"/>
                </a:lnTo>
                <a:lnTo>
                  <a:pt x="88034" y="100867"/>
                </a:lnTo>
                <a:lnTo>
                  <a:pt x="88087" y="100814"/>
                </a:lnTo>
                <a:lnTo>
                  <a:pt x="88192" y="100709"/>
                </a:lnTo>
                <a:lnTo>
                  <a:pt x="88298" y="100656"/>
                </a:lnTo>
                <a:lnTo>
                  <a:pt x="88140" y="100550"/>
                </a:lnTo>
                <a:lnTo>
                  <a:pt x="86978" y="100286"/>
                </a:lnTo>
                <a:lnTo>
                  <a:pt x="86819" y="100181"/>
                </a:lnTo>
                <a:lnTo>
                  <a:pt x="86767" y="100181"/>
                </a:lnTo>
                <a:lnTo>
                  <a:pt x="86450" y="100233"/>
                </a:lnTo>
                <a:lnTo>
                  <a:pt x="85763" y="100181"/>
                </a:lnTo>
                <a:lnTo>
                  <a:pt x="85763" y="100233"/>
                </a:lnTo>
                <a:lnTo>
                  <a:pt x="86133" y="100286"/>
                </a:lnTo>
                <a:lnTo>
                  <a:pt x="86291" y="100339"/>
                </a:lnTo>
                <a:lnTo>
                  <a:pt x="86450" y="100445"/>
                </a:lnTo>
                <a:lnTo>
                  <a:pt x="86344" y="100603"/>
                </a:lnTo>
                <a:lnTo>
                  <a:pt x="86186" y="100656"/>
                </a:lnTo>
                <a:lnTo>
                  <a:pt x="85922" y="100656"/>
                </a:lnTo>
                <a:lnTo>
                  <a:pt x="85816" y="100603"/>
                </a:lnTo>
                <a:lnTo>
                  <a:pt x="85552" y="100181"/>
                </a:lnTo>
                <a:lnTo>
                  <a:pt x="85394" y="100075"/>
                </a:lnTo>
                <a:lnTo>
                  <a:pt x="85235" y="100022"/>
                </a:lnTo>
                <a:lnTo>
                  <a:pt x="84760" y="100022"/>
                </a:lnTo>
                <a:lnTo>
                  <a:pt x="84813" y="100075"/>
                </a:lnTo>
                <a:lnTo>
                  <a:pt x="84707" y="100181"/>
                </a:lnTo>
                <a:lnTo>
                  <a:pt x="84496" y="100181"/>
                </a:lnTo>
                <a:lnTo>
                  <a:pt x="84337" y="100128"/>
                </a:lnTo>
                <a:lnTo>
                  <a:pt x="84179" y="100022"/>
                </a:lnTo>
                <a:lnTo>
                  <a:pt x="84126" y="99811"/>
                </a:lnTo>
                <a:lnTo>
                  <a:pt x="84021" y="99494"/>
                </a:lnTo>
                <a:lnTo>
                  <a:pt x="83968" y="99336"/>
                </a:lnTo>
                <a:lnTo>
                  <a:pt x="83651" y="99177"/>
                </a:lnTo>
                <a:lnTo>
                  <a:pt x="83070" y="99230"/>
                </a:lnTo>
                <a:lnTo>
                  <a:pt x="82806" y="99124"/>
                </a:lnTo>
                <a:lnTo>
                  <a:pt x="82911" y="99072"/>
                </a:lnTo>
                <a:lnTo>
                  <a:pt x="83123" y="99072"/>
                </a:lnTo>
                <a:lnTo>
                  <a:pt x="83228" y="99019"/>
                </a:lnTo>
                <a:lnTo>
                  <a:pt x="82753" y="98966"/>
                </a:lnTo>
                <a:lnTo>
                  <a:pt x="82542" y="98860"/>
                </a:lnTo>
                <a:lnTo>
                  <a:pt x="82278" y="98649"/>
                </a:lnTo>
                <a:lnTo>
                  <a:pt x="81802" y="98596"/>
                </a:lnTo>
                <a:lnTo>
                  <a:pt x="81697" y="98596"/>
                </a:lnTo>
                <a:lnTo>
                  <a:pt x="81644" y="98649"/>
                </a:lnTo>
                <a:lnTo>
                  <a:pt x="81697" y="98543"/>
                </a:lnTo>
                <a:lnTo>
                  <a:pt x="81802" y="98332"/>
                </a:lnTo>
                <a:lnTo>
                  <a:pt x="81855" y="98174"/>
                </a:lnTo>
                <a:lnTo>
                  <a:pt x="81855" y="98015"/>
                </a:lnTo>
                <a:lnTo>
                  <a:pt x="81802" y="97963"/>
                </a:lnTo>
                <a:lnTo>
                  <a:pt x="81802" y="97910"/>
                </a:lnTo>
                <a:lnTo>
                  <a:pt x="81802" y="97857"/>
                </a:lnTo>
                <a:lnTo>
                  <a:pt x="81802" y="97751"/>
                </a:lnTo>
                <a:lnTo>
                  <a:pt x="81802" y="97646"/>
                </a:lnTo>
                <a:lnTo>
                  <a:pt x="81750" y="97540"/>
                </a:lnTo>
                <a:lnTo>
                  <a:pt x="81697" y="97276"/>
                </a:lnTo>
                <a:lnTo>
                  <a:pt x="81538" y="97223"/>
                </a:lnTo>
                <a:lnTo>
                  <a:pt x="81274" y="97118"/>
                </a:lnTo>
                <a:lnTo>
                  <a:pt x="81169" y="97012"/>
                </a:lnTo>
                <a:lnTo>
                  <a:pt x="80905" y="96695"/>
                </a:lnTo>
                <a:lnTo>
                  <a:pt x="80852" y="96642"/>
                </a:lnTo>
                <a:lnTo>
                  <a:pt x="80799" y="96642"/>
                </a:lnTo>
                <a:lnTo>
                  <a:pt x="80746" y="96589"/>
                </a:lnTo>
                <a:lnTo>
                  <a:pt x="80641" y="96431"/>
                </a:lnTo>
                <a:lnTo>
                  <a:pt x="80482" y="96431"/>
                </a:lnTo>
                <a:lnTo>
                  <a:pt x="80218" y="96537"/>
                </a:lnTo>
                <a:lnTo>
                  <a:pt x="80165" y="96537"/>
                </a:lnTo>
                <a:lnTo>
                  <a:pt x="80060" y="96431"/>
                </a:lnTo>
                <a:lnTo>
                  <a:pt x="79849" y="96431"/>
                </a:lnTo>
                <a:lnTo>
                  <a:pt x="79690" y="96484"/>
                </a:lnTo>
                <a:lnTo>
                  <a:pt x="79268" y="96801"/>
                </a:lnTo>
                <a:lnTo>
                  <a:pt x="79109" y="96801"/>
                </a:lnTo>
                <a:lnTo>
                  <a:pt x="79004" y="96642"/>
                </a:lnTo>
                <a:lnTo>
                  <a:pt x="78898" y="96801"/>
                </a:lnTo>
                <a:lnTo>
                  <a:pt x="78634" y="97012"/>
                </a:lnTo>
                <a:lnTo>
                  <a:pt x="78423" y="97329"/>
                </a:lnTo>
                <a:lnTo>
                  <a:pt x="78106" y="97487"/>
                </a:lnTo>
                <a:lnTo>
                  <a:pt x="77842" y="97698"/>
                </a:lnTo>
                <a:lnTo>
                  <a:pt x="77631" y="97857"/>
                </a:lnTo>
                <a:lnTo>
                  <a:pt x="77419" y="97751"/>
                </a:lnTo>
                <a:lnTo>
                  <a:pt x="77419" y="97698"/>
                </a:lnTo>
                <a:lnTo>
                  <a:pt x="76891" y="97751"/>
                </a:lnTo>
                <a:lnTo>
                  <a:pt x="76838" y="97751"/>
                </a:lnTo>
                <a:lnTo>
                  <a:pt x="76786" y="97646"/>
                </a:lnTo>
                <a:lnTo>
                  <a:pt x="76469" y="97646"/>
                </a:lnTo>
                <a:lnTo>
                  <a:pt x="76469" y="97593"/>
                </a:lnTo>
                <a:lnTo>
                  <a:pt x="76469" y="97540"/>
                </a:lnTo>
                <a:lnTo>
                  <a:pt x="75680" y="97333"/>
                </a:lnTo>
                <a:lnTo>
                  <a:pt x="75680" y="97333"/>
                </a:lnTo>
                <a:lnTo>
                  <a:pt x="75782" y="97434"/>
                </a:lnTo>
                <a:lnTo>
                  <a:pt x="75624" y="97487"/>
                </a:lnTo>
                <a:lnTo>
                  <a:pt x="74937" y="97593"/>
                </a:lnTo>
                <a:lnTo>
                  <a:pt x="74884" y="97593"/>
                </a:lnTo>
                <a:lnTo>
                  <a:pt x="74832" y="97540"/>
                </a:lnTo>
                <a:lnTo>
                  <a:pt x="74779" y="97487"/>
                </a:lnTo>
                <a:lnTo>
                  <a:pt x="74726" y="97487"/>
                </a:lnTo>
                <a:lnTo>
                  <a:pt x="74673" y="97540"/>
                </a:lnTo>
                <a:lnTo>
                  <a:pt x="74673" y="97434"/>
                </a:lnTo>
                <a:lnTo>
                  <a:pt x="74726" y="97382"/>
                </a:lnTo>
                <a:lnTo>
                  <a:pt x="74884" y="97118"/>
                </a:lnTo>
                <a:lnTo>
                  <a:pt x="74937" y="97065"/>
                </a:lnTo>
                <a:lnTo>
                  <a:pt x="75043" y="97118"/>
                </a:lnTo>
                <a:lnTo>
                  <a:pt x="75201" y="97223"/>
                </a:lnTo>
                <a:lnTo>
                  <a:pt x="75307" y="97223"/>
                </a:lnTo>
                <a:lnTo>
                  <a:pt x="75148" y="97065"/>
                </a:lnTo>
                <a:lnTo>
                  <a:pt x="74356" y="96695"/>
                </a:lnTo>
                <a:lnTo>
                  <a:pt x="74251" y="96642"/>
                </a:lnTo>
                <a:lnTo>
                  <a:pt x="74198" y="96484"/>
                </a:lnTo>
                <a:lnTo>
                  <a:pt x="74198" y="96325"/>
                </a:lnTo>
                <a:lnTo>
                  <a:pt x="74198" y="96167"/>
                </a:lnTo>
                <a:lnTo>
                  <a:pt x="74251" y="96061"/>
                </a:lnTo>
                <a:lnTo>
                  <a:pt x="74303" y="96009"/>
                </a:lnTo>
                <a:lnTo>
                  <a:pt x="74251" y="95797"/>
                </a:lnTo>
                <a:lnTo>
                  <a:pt x="74145" y="95692"/>
                </a:lnTo>
                <a:lnTo>
                  <a:pt x="74039" y="95586"/>
                </a:lnTo>
                <a:close/>
                <a:moveTo>
                  <a:pt x="106306" y="107521"/>
                </a:moveTo>
                <a:lnTo>
                  <a:pt x="106306" y="107627"/>
                </a:lnTo>
                <a:lnTo>
                  <a:pt x="106306" y="107732"/>
                </a:lnTo>
                <a:lnTo>
                  <a:pt x="106359" y="107732"/>
                </a:lnTo>
                <a:lnTo>
                  <a:pt x="106412" y="107785"/>
                </a:lnTo>
                <a:lnTo>
                  <a:pt x="106412" y="107521"/>
                </a:lnTo>
                <a:close/>
                <a:moveTo>
                  <a:pt x="105620" y="107785"/>
                </a:moveTo>
                <a:lnTo>
                  <a:pt x="105514" y="107838"/>
                </a:lnTo>
                <a:lnTo>
                  <a:pt x="105620" y="107891"/>
                </a:lnTo>
                <a:lnTo>
                  <a:pt x="105673" y="107838"/>
                </a:lnTo>
                <a:lnTo>
                  <a:pt x="105620" y="107785"/>
                </a:lnTo>
                <a:close/>
                <a:moveTo>
                  <a:pt x="105989" y="107680"/>
                </a:moveTo>
                <a:lnTo>
                  <a:pt x="105989" y="107732"/>
                </a:lnTo>
                <a:lnTo>
                  <a:pt x="105989" y="107785"/>
                </a:lnTo>
                <a:lnTo>
                  <a:pt x="106042" y="107891"/>
                </a:lnTo>
                <a:lnTo>
                  <a:pt x="106148" y="107996"/>
                </a:lnTo>
                <a:lnTo>
                  <a:pt x="106201" y="107944"/>
                </a:lnTo>
                <a:lnTo>
                  <a:pt x="106148" y="107838"/>
                </a:lnTo>
                <a:lnTo>
                  <a:pt x="106148" y="107732"/>
                </a:lnTo>
                <a:lnTo>
                  <a:pt x="106148" y="107680"/>
                </a:lnTo>
                <a:close/>
                <a:moveTo>
                  <a:pt x="105989" y="108366"/>
                </a:moveTo>
                <a:lnTo>
                  <a:pt x="105884" y="108419"/>
                </a:lnTo>
                <a:lnTo>
                  <a:pt x="105937" y="108472"/>
                </a:lnTo>
                <a:lnTo>
                  <a:pt x="105989" y="108525"/>
                </a:lnTo>
                <a:lnTo>
                  <a:pt x="106095" y="108525"/>
                </a:lnTo>
                <a:lnTo>
                  <a:pt x="106095" y="108472"/>
                </a:lnTo>
                <a:lnTo>
                  <a:pt x="106095" y="108366"/>
                </a:lnTo>
                <a:close/>
                <a:moveTo>
                  <a:pt x="106201" y="108313"/>
                </a:moveTo>
                <a:lnTo>
                  <a:pt x="106201" y="108419"/>
                </a:lnTo>
                <a:lnTo>
                  <a:pt x="106148" y="108472"/>
                </a:lnTo>
                <a:lnTo>
                  <a:pt x="106148" y="108525"/>
                </a:lnTo>
                <a:lnTo>
                  <a:pt x="106201" y="108577"/>
                </a:lnTo>
                <a:lnTo>
                  <a:pt x="106306" y="108577"/>
                </a:lnTo>
                <a:lnTo>
                  <a:pt x="106306" y="108419"/>
                </a:lnTo>
                <a:lnTo>
                  <a:pt x="106253" y="108313"/>
                </a:lnTo>
                <a:close/>
                <a:moveTo>
                  <a:pt x="101078" y="113277"/>
                </a:moveTo>
                <a:lnTo>
                  <a:pt x="101025" y="113330"/>
                </a:lnTo>
                <a:lnTo>
                  <a:pt x="101025" y="113365"/>
                </a:lnTo>
                <a:lnTo>
                  <a:pt x="101078" y="113277"/>
                </a:lnTo>
                <a:close/>
                <a:moveTo>
                  <a:pt x="101025" y="113365"/>
                </a:moveTo>
                <a:lnTo>
                  <a:pt x="100920" y="113541"/>
                </a:lnTo>
                <a:lnTo>
                  <a:pt x="100920" y="113647"/>
                </a:lnTo>
                <a:lnTo>
                  <a:pt x="100937" y="113673"/>
                </a:lnTo>
                <a:lnTo>
                  <a:pt x="101025" y="113541"/>
                </a:lnTo>
                <a:lnTo>
                  <a:pt x="101025" y="113365"/>
                </a:lnTo>
                <a:close/>
                <a:moveTo>
                  <a:pt x="100937" y="113673"/>
                </a:moveTo>
                <a:lnTo>
                  <a:pt x="100920" y="113700"/>
                </a:lnTo>
                <a:lnTo>
                  <a:pt x="100920" y="113858"/>
                </a:lnTo>
                <a:lnTo>
                  <a:pt x="100972" y="113911"/>
                </a:lnTo>
                <a:lnTo>
                  <a:pt x="101025" y="113911"/>
                </a:lnTo>
                <a:lnTo>
                  <a:pt x="101078" y="113964"/>
                </a:lnTo>
                <a:lnTo>
                  <a:pt x="101078" y="113858"/>
                </a:lnTo>
                <a:lnTo>
                  <a:pt x="101078" y="113806"/>
                </a:lnTo>
                <a:lnTo>
                  <a:pt x="101025" y="113806"/>
                </a:lnTo>
                <a:lnTo>
                  <a:pt x="100937" y="113673"/>
                </a:lnTo>
                <a:close/>
                <a:moveTo>
                  <a:pt x="101131" y="114334"/>
                </a:moveTo>
                <a:lnTo>
                  <a:pt x="101078" y="114386"/>
                </a:lnTo>
                <a:lnTo>
                  <a:pt x="101025" y="114545"/>
                </a:lnTo>
                <a:lnTo>
                  <a:pt x="100920" y="115073"/>
                </a:lnTo>
                <a:lnTo>
                  <a:pt x="100920" y="115179"/>
                </a:lnTo>
                <a:lnTo>
                  <a:pt x="100972" y="115337"/>
                </a:lnTo>
                <a:lnTo>
                  <a:pt x="101025" y="115337"/>
                </a:lnTo>
                <a:lnTo>
                  <a:pt x="101025" y="115284"/>
                </a:lnTo>
                <a:lnTo>
                  <a:pt x="101025" y="115020"/>
                </a:lnTo>
                <a:lnTo>
                  <a:pt x="101025" y="114809"/>
                </a:lnTo>
                <a:lnTo>
                  <a:pt x="101131" y="114386"/>
                </a:lnTo>
                <a:lnTo>
                  <a:pt x="101131" y="114334"/>
                </a:lnTo>
                <a:close/>
                <a:moveTo>
                  <a:pt x="107046" y="117819"/>
                </a:moveTo>
                <a:lnTo>
                  <a:pt x="107098" y="117925"/>
                </a:lnTo>
                <a:lnTo>
                  <a:pt x="107204" y="118083"/>
                </a:lnTo>
                <a:lnTo>
                  <a:pt x="106887" y="118189"/>
                </a:lnTo>
                <a:lnTo>
                  <a:pt x="106940" y="118400"/>
                </a:lnTo>
                <a:lnTo>
                  <a:pt x="106940" y="118558"/>
                </a:lnTo>
                <a:lnTo>
                  <a:pt x="106834" y="118664"/>
                </a:lnTo>
                <a:lnTo>
                  <a:pt x="106729" y="118770"/>
                </a:lnTo>
                <a:lnTo>
                  <a:pt x="106623" y="118822"/>
                </a:lnTo>
                <a:lnTo>
                  <a:pt x="106570" y="118822"/>
                </a:lnTo>
                <a:lnTo>
                  <a:pt x="106518" y="118875"/>
                </a:lnTo>
                <a:lnTo>
                  <a:pt x="106518" y="119087"/>
                </a:lnTo>
                <a:lnTo>
                  <a:pt x="106359" y="119087"/>
                </a:lnTo>
                <a:lnTo>
                  <a:pt x="105884" y="119192"/>
                </a:lnTo>
                <a:lnTo>
                  <a:pt x="105725" y="119298"/>
                </a:lnTo>
                <a:lnTo>
                  <a:pt x="105725" y="119403"/>
                </a:lnTo>
                <a:lnTo>
                  <a:pt x="105514" y="119562"/>
                </a:lnTo>
                <a:lnTo>
                  <a:pt x="105514" y="119615"/>
                </a:lnTo>
                <a:lnTo>
                  <a:pt x="105567" y="119720"/>
                </a:lnTo>
                <a:lnTo>
                  <a:pt x="105408" y="119879"/>
                </a:lnTo>
                <a:lnTo>
                  <a:pt x="104986" y="119879"/>
                </a:lnTo>
                <a:lnTo>
                  <a:pt x="104916" y="120019"/>
                </a:lnTo>
                <a:lnTo>
                  <a:pt x="104916" y="120019"/>
                </a:lnTo>
                <a:lnTo>
                  <a:pt x="104880" y="119879"/>
                </a:lnTo>
                <a:lnTo>
                  <a:pt x="104986" y="119826"/>
                </a:lnTo>
                <a:lnTo>
                  <a:pt x="105144" y="119615"/>
                </a:lnTo>
                <a:lnTo>
                  <a:pt x="105408" y="119615"/>
                </a:lnTo>
                <a:lnTo>
                  <a:pt x="105461" y="119562"/>
                </a:lnTo>
                <a:lnTo>
                  <a:pt x="105461" y="119509"/>
                </a:lnTo>
                <a:lnTo>
                  <a:pt x="105461" y="119403"/>
                </a:lnTo>
                <a:lnTo>
                  <a:pt x="105461" y="119351"/>
                </a:lnTo>
                <a:lnTo>
                  <a:pt x="105673" y="119351"/>
                </a:lnTo>
                <a:lnTo>
                  <a:pt x="105725" y="119298"/>
                </a:lnTo>
                <a:lnTo>
                  <a:pt x="105778" y="119192"/>
                </a:lnTo>
                <a:lnTo>
                  <a:pt x="105778" y="119139"/>
                </a:lnTo>
                <a:lnTo>
                  <a:pt x="105831" y="119034"/>
                </a:lnTo>
                <a:lnTo>
                  <a:pt x="105884" y="118981"/>
                </a:lnTo>
                <a:lnTo>
                  <a:pt x="106042" y="118928"/>
                </a:lnTo>
                <a:lnTo>
                  <a:pt x="106359" y="118928"/>
                </a:lnTo>
                <a:lnTo>
                  <a:pt x="106306" y="118822"/>
                </a:lnTo>
                <a:lnTo>
                  <a:pt x="106570" y="118400"/>
                </a:lnTo>
                <a:lnTo>
                  <a:pt x="106623" y="118189"/>
                </a:lnTo>
                <a:lnTo>
                  <a:pt x="106729" y="118083"/>
                </a:lnTo>
                <a:lnTo>
                  <a:pt x="106887" y="118083"/>
                </a:lnTo>
                <a:lnTo>
                  <a:pt x="106887" y="118030"/>
                </a:lnTo>
                <a:lnTo>
                  <a:pt x="106887" y="117925"/>
                </a:lnTo>
                <a:lnTo>
                  <a:pt x="106887" y="117872"/>
                </a:lnTo>
                <a:lnTo>
                  <a:pt x="106887" y="117819"/>
                </a:lnTo>
                <a:close/>
                <a:moveTo>
                  <a:pt x="104880" y="120196"/>
                </a:moveTo>
                <a:lnTo>
                  <a:pt x="104880" y="120248"/>
                </a:lnTo>
                <a:lnTo>
                  <a:pt x="104933" y="120301"/>
                </a:lnTo>
                <a:lnTo>
                  <a:pt x="104933" y="120407"/>
                </a:lnTo>
                <a:lnTo>
                  <a:pt x="104880" y="120512"/>
                </a:lnTo>
                <a:lnTo>
                  <a:pt x="104828" y="120512"/>
                </a:lnTo>
                <a:lnTo>
                  <a:pt x="104616" y="120565"/>
                </a:lnTo>
                <a:lnTo>
                  <a:pt x="104465" y="120641"/>
                </a:lnTo>
                <a:lnTo>
                  <a:pt x="104465" y="120641"/>
                </a:lnTo>
                <a:lnTo>
                  <a:pt x="104458" y="120618"/>
                </a:lnTo>
                <a:lnTo>
                  <a:pt x="104511" y="120565"/>
                </a:lnTo>
                <a:lnTo>
                  <a:pt x="104564" y="120512"/>
                </a:lnTo>
                <a:lnTo>
                  <a:pt x="104564" y="120407"/>
                </a:lnTo>
                <a:lnTo>
                  <a:pt x="104616" y="120354"/>
                </a:lnTo>
                <a:lnTo>
                  <a:pt x="104722" y="120301"/>
                </a:lnTo>
                <a:lnTo>
                  <a:pt x="104880" y="120196"/>
                </a:lnTo>
                <a:close/>
                <a:moveTo>
                  <a:pt x="104616" y="120724"/>
                </a:moveTo>
                <a:lnTo>
                  <a:pt x="104643" y="120750"/>
                </a:lnTo>
                <a:lnTo>
                  <a:pt x="104643" y="120750"/>
                </a:lnTo>
                <a:lnTo>
                  <a:pt x="104616" y="120776"/>
                </a:lnTo>
                <a:lnTo>
                  <a:pt x="104511" y="120776"/>
                </a:lnTo>
                <a:lnTo>
                  <a:pt x="104493" y="120724"/>
                </a:lnTo>
                <a:close/>
                <a:moveTo>
                  <a:pt x="104669" y="121199"/>
                </a:moveTo>
                <a:lnTo>
                  <a:pt x="104669" y="121252"/>
                </a:lnTo>
                <a:lnTo>
                  <a:pt x="104616" y="121410"/>
                </a:lnTo>
                <a:lnTo>
                  <a:pt x="104564" y="121463"/>
                </a:lnTo>
                <a:lnTo>
                  <a:pt x="104299" y="121463"/>
                </a:lnTo>
                <a:lnTo>
                  <a:pt x="104141" y="121674"/>
                </a:lnTo>
                <a:lnTo>
                  <a:pt x="103983" y="121885"/>
                </a:lnTo>
                <a:lnTo>
                  <a:pt x="103983" y="121621"/>
                </a:lnTo>
                <a:lnTo>
                  <a:pt x="104194" y="121463"/>
                </a:lnTo>
                <a:lnTo>
                  <a:pt x="104352" y="121305"/>
                </a:lnTo>
                <a:lnTo>
                  <a:pt x="104564" y="121199"/>
                </a:lnTo>
                <a:close/>
                <a:moveTo>
                  <a:pt x="175698" y="122308"/>
                </a:moveTo>
                <a:lnTo>
                  <a:pt x="175646" y="122361"/>
                </a:lnTo>
                <a:lnTo>
                  <a:pt x="175593" y="122572"/>
                </a:lnTo>
                <a:lnTo>
                  <a:pt x="175540" y="122678"/>
                </a:lnTo>
                <a:lnTo>
                  <a:pt x="175434" y="122730"/>
                </a:lnTo>
                <a:lnTo>
                  <a:pt x="175487" y="122783"/>
                </a:lnTo>
                <a:lnTo>
                  <a:pt x="175646" y="122730"/>
                </a:lnTo>
                <a:lnTo>
                  <a:pt x="175804" y="122625"/>
                </a:lnTo>
                <a:lnTo>
                  <a:pt x="175857" y="122466"/>
                </a:lnTo>
                <a:lnTo>
                  <a:pt x="175857" y="122308"/>
                </a:lnTo>
                <a:close/>
                <a:moveTo>
                  <a:pt x="185468" y="122836"/>
                </a:moveTo>
                <a:lnTo>
                  <a:pt x="185521" y="122889"/>
                </a:lnTo>
                <a:lnTo>
                  <a:pt x="185468" y="123047"/>
                </a:lnTo>
                <a:lnTo>
                  <a:pt x="185521" y="123100"/>
                </a:lnTo>
                <a:lnTo>
                  <a:pt x="185574" y="123259"/>
                </a:lnTo>
                <a:lnTo>
                  <a:pt x="185521" y="123206"/>
                </a:lnTo>
                <a:lnTo>
                  <a:pt x="185310" y="123259"/>
                </a:lnTo>
                <a:lnTo>
                  <a:pt x="184835" y="123470"/>
                </a:lnTo>
                <a:lnTo>
                  <a:pt x="184676" y="123575"/>
                </a:lnTo>
                <a:lnTo>
                  <a:pt x="184359" y="123998"/>
                </a:lnTo>
                <a:lnTo>
                  <a:pt x="184201" y="124103"/>
                </a:lnTo>
                <a:lnTo>
                  <a:pt x="184042" y="124051"/>
                </a:lnTo>
                <a:lnTo>
                  <a:pt x="184042" y="123998"/>
                </a:lnTo>
                <a:lnTo>
                  <a:pt x="184201" y="123892"/>
                </a:lnTo>
                <a:lnTo>
                  <a:pt x="184254" y="123839"/>
                </a:lnTo>
                <a:lnTo>
                  <a:pt x="184306" y="123734"/>
                </a:lnTo>
                <a:lnTo>
                  <a:pt x="184412" y="123575"/>
                </a:lnTo>
                <a:lnTo>
                  <a:pt x="184465" y="123523"/>
                </a:lnTo>
                <a:lnTo>
                  <a:pt x="184412" y="123470"/>
                </a:lnTo>
                <a:lnTo>
                  <a:pt x="184254" y="123417"/>
                </a:lnTo>
                <a:lnTo>
                  <a:pt x="184201" y="123364"/>
                </a:lnTo>
                <a:lnTo>
                  <a:pt x="184306" y="123311"/>
                </a:lnTo>
                <a:lnTo>
                  <a:pt x="184729" y="123206"/>
                </a:lnTo>
                <a:lnTo>
                  <a:pt x="184835" y="123100"/>
                </a:lnTo>
                <a:lnTo>
                  <a:pt x="184940" y="123047"/>
                </a:lnTo>
                <a:lnTo>
                  <a:pt x="185204" y="122994"/>
                </a:lnTo>
                <a:lnTo>
                  <a:pt x="185415" y="122836"/>
                </a:lnTo>
                <a:close/>
                <a:moveTo>
                  <a:pt x="191805" y="124948"/>
                </a:moveTo>
                <a:lnTo>
                  <a:pt x="191805" y="125001"/>
                </a:lnTo>
                <a:lnTo>
                  <a:pt x="191885" y="125001"/>
                </a:lnTo>
                <a:lnTo>
                  <a:pt x="191858" y="124948"/>
                </a:lnTo>
                <a:close/>
                <a:moveTo>
                  <a:pt x="191885" y="125001"/>
                </a:moveTo>
                <a:lnTo>
                  <a:pt x="191911" y="125054"/>
                </a:lnTo>
                <a:lnTo>
                  <a:pt x="191911" y="125001"/>
                </a:lnTo>
                <a:close/>
                <a:moveTo>
                  <a:pt x="190327" y="124579"/>
                </a:moveTo>
                <a:lnTo>
                  <a:pt x="190221" y="124737"/>
                </a:lnTo>
                <a:lnTo>
                  <a:pt x="190063" y="124737"/>
                </a:lnTo>
                <a:lnTo>
                  <a:pt x="190010" y="124843"/>
                </a:lnTo>
                <a:lnTo>
                  <a:pt x="190010" y="124737"/>
                </a:lnTo>
                <a:lnTo>
                  <a:pt x="189851" y="124790"/>
                </a:lnTo>
                <a:lnTo>
                  <a:pt x="189693" y="124790"/>
                </a:lnTo>
                <a:lnTo>
                  <a:pt x="189640" y="124843"/>
                </a:lnTo>
                <a:lnTo>
                  <a:pt x="189587" y="124948"/>
                </a:lnTo>
                <a:lnTo>
                  <a:pt x="189376" y="124948"/>
                </a:lnTo>
                <a:lnTo>
                  <a:pt x="189640" y="125001"/>
                </a:lnTo>
                <a:lnTo>
                  <a:pt x="189851" y="125001"/>
                </a:lnTo>
                <a:lnTo>
                  <a:pt x="189851" y="124948"/>
                </a:lnTo>
                <a:lnTo>
                  <a:pt x="189957" y="124948"/>
                </a:lnTo>
                <a:lnTo>
                  <a:pt x="189957" y="125001"/>
                </a:lnTo>
                <a:lnTo>
                  <a:pt x="189957" y="125107"/>
                </a:lnTo>
                <a:lnTo>
                  <a:pt x="190221" y="125107"/>
                </a:lnTo>
                <a:lnTo>
                  <a:pt x="190380" y="125054"/>
                </a:lnTo>
                <a:lnTo>
                  <a:pt x="190485" y="124896"/>
                </a:lnTo>
                <a:lnTo>
                  <a:pt x="190485" y="124843"/>
                </a:lnTo>
                <a:lnTo>
                  <a:pt x="190485" y="124790"/>
                </a:lnTo>
                <a:lnTo>
                  <a:pt x="190432" y="124737"/>
                </a:lnTo>
                <a:lnTo>
                  <a:pt x="190432" y="124843"/>
                </a:lnTo>
                <a:lnTo>
                  <a:pt x="190327" y="124843"/>
                </a:lnTo>
                <a:lnTo>
                  <a:pt x="190221" y="124896"/>
                </a:lnTo>
                <a:lnTo>
                  <a:pt x="190380" y="124790"/>
                </a:lnTo>
                <a:lnTo>
                  <a:pt x="190432" y="124684"/>
                </a:lnTo>
                <a:lnTo>
                  <a:pt x="190432" y="124632"/>
                </a:lnTo>
                <a:lnTo>
                  <a:pt x="190327" y="124632"/>
                </a:lnTo>
                <a:lnTo>
                  <a:pt x="190327" y="124579"/>
                </a:lnTo>
                <a:close/>
                <a:moveTo>
                  <a:pt x="185996" y="124684"/>
                </a:moveTo>
                <a:lnTo>
                  <a:pt x="185732" y="124737"/>
                </a:lnTo>
                <a:lnTo>
                  <a:pt x="185627" y="124737"/>
                </a:lnTo>
                <a:lnTo>
                  <a:pt x="185627" y="124790"/>
                </a:lnTo>
                <a:lnTo>
                  <a:pt x="185785" y="124948"/>
                </a:lnTo>
                <a:lnTo>
                  <a:pt x="185732" y="125054"/>
                </a:lnTo>
                <a:lnTo>
                  <a:pt x="185627" y="125160"/>
                </a:lnTo>
                <a:lnTo>
                  <a:pt x="185521" y="125371"/>
                </a:lnTo>
                <a:lnTo>
                  <a:pt x="185521" y="125477"/>
                </a:lnTo>
                <a:lnTo>
                  <a:pt x="185521" y="125582"/>
                </a:lnTo>
                <a:lnTo>
                  <a:pt x="185521" y="125688"/>
                </a:lnTo>
                <a:lnTo>
                  <a:pt x="185521" y="125793"/>
                </a:lnTo>
                <a:lnTo>
                  <a:pt x="185574" y="125952"/>
                </a:lnTo>
                <a:lnTo>
                  <a:pt x="185732" y="125952"/>
                </a:lnTo>
                <a:lnTo>
                  <a:pt x="186049" y="126005"/>
                </a:lnTo>
                <a:lnTo>
                  <a:pt x="186102" y="125952"/>
                </a:lnTo>
                <a:lnTo>
                  <a:pt x="186313" y="125688"/>
                </a:lnTo>
                <a:lnTo>
                  <a:pt x="186366" y="125741"/>
                </a:lnTo>
                <a:lnTo>
                  <a:pt x="186419" y="125793"/>
                </a:lnTo>
                <a:lnTo>
                  <a:pt x="186524" y="125899"/>
                </a:lnTo>
                <a:lnTo>
                  <a:pt x="186577" y="125793"/>
                </a:lnTo>
                <a:lnTo>
                  <a:pt x="186577" y="125688"/>
                </a:lnTo>
                <a:lnTo>
                  <a:pt x="186524" y="125582"/>
                </a:lnTo>
                <a:lnTo>
                  <a:pt x="186419" y="125318"/>
                </a:lnTo>
                <a:lnTo>
                  <a:pt x="186419" y="125107"/>
                </a:lnTo>
                <a:lnTo>
                  <a:pt x="186313" y="124896"/>
                </a:lnTo>
                <a:lnTo>
                  <a:pt x="185996" y="124684"/>
                </a:lnTo>
                <a:close/>
                <a:moveTo>
                  <a:pt x="186366" y="126374"/>
                </a:moveTo>
                <a:lnTo>
                  <a:pt x="186313" y="126480"/>
                </a:lnTo>
                <a:lnTo>
                  <a:pt x="186313" y="126586"/>
                </a:lnTo>
                <a:lnTo>
                  <a:pt x="186366" y="126797"/>
                </a:lnTo>
                <a:lnTo>
                  <a:pt x="186313" y="126744"/>
                </a:lnTo>
                <a:lnTo>
                  <a:pt x="186260" y="126638"/>
                </a:lnTo>
                <a:lnTo>
                  <a:pt x="186155" y="126586"/>
                </a:lnTo>
                <a:lnTo>
                  <a:pt x="186102" y="126638"/>
                </a:lnTo>
                <a:lnTo>
                  <a:pt x="186313" y="127114"/>
                </a:lnTo>
                <a:lnTo>
                  <a:pt x="186419" y="127219"/>
                </a:lnTo>
                <a:lnTo>
                  <a:pt x="186472" y="127166"/>
                </a:lnTo>
                <a:lnTo>
                  <a:pt x="186472" y="127114"/>
                </a:lnTo>
                <a:lnTo>
                  <a:pt x="186472" y="127008"/>
                </a:lnTo>
                <a:lnTo>
                  <a:pt x="186736" y="127008"/>
                </a:lnTo>
                <a:lnTo>
                  <a:pt x="186789" y="126955"/>
                </a:lnTo>
                <a:lnTo>
                  <a:pt x="186789" y="126850"/>
                </a:lnTo>
                <a:lnTo>
                  <a:pt x="186736" y="126691"/>
                </a:lnTo>
                <a:lnTo>
                  <a:pt x="186683" y="126586"/>
                </a:lnTo>
                <a:lnTo>
                  <a:pt x="186524" y="126480"/>
                </a:lnTo>
                <a:lnTo>
                  <a:pt x="186472" y="126480"/>
                </a:lnTo>
                <a:lnTo>
                  <a:pt x="186472" y="126586"/>
                </a:lnTo>
                <a:lnTo>
                  <a:pt x="186472" y="126744"/>
                </a:lnTo>
                <a:lnTo>
                  <a:pt x="186419" y="126638"/>
                </a:lnTo>
                <a:lnTo>
                  <a:pt x="186419" y="126533"/>
                </a:lnTo>
                <a:lnTo>
                  <a:pt x="186419" y="126427"/>
                </a:lnTo>
                <a:lnTo>
                  <a:pt x="186366" y="126374"/>
                </a:lnTo>
                <a:close/>
                <a:moveTo>
                  <a:pt x="185415" y="126321"/>
                </a:moveTo>
                <a:lnTo>
                  <a:pt x="185151" y="126374"/>
                </a:lnTo>
                <a:lnTo>
                  <a:pt x="185204" y="126480"/>
                </a:lnTo>
                <a:lnTo>
                  <a:pt x="185046" y="126586"/>
                </a:lnTo>
                <a:lnTo>
                  <a:pt x="185099" y="126850"/>
                </a:lnTo>
                <a:lnTo>
                  <a:pt x="185204" y="127061"/>
                </a:lnTo>
                <a:lnTo>
                  <a:pt x="185363" y="127272"/>
                </a:lnTo>
                <a:lnTo>
                  <a:pt x="185415" y="127325"/>
                </a:lnTo>
                <a:lnTo>
                  <a:pt x="185468" y="127378"/>
                </a:lnTo>
                <a:lnTo>
                  <a:pt x="185574" y="127378"/>
                </a:lnTo>
                <a:lnTo>
                  <a:pt x="185627" y="127272"/>
                </a:lnTo>
                <a:lnTo>
                  <a:pt x="185679" y="127114"/>
                </a:lnTo>
                <a:lnTo>
                  <a:pt x="185679" y="126955"/>
                </a:lnTo>
                <a:lnTo>
                  <a:pt x="185627" y="126850"/>
                </a:lnTo>
                <a:lnTo>
                  <a:pt x="185574" y="126850"/>
                </a:lnTo>
                <a:lnTo>
                  <a:pt x="185574" y="126744"/>
                </a:lnTo>
                <a:lnTo>
                  <a:pt x="185627" y="126691"/>
                </a:lnTo>
                <a:lnTo>
                  <a:pt x="185627" y="126533"/>
                </a:lnTo>
                <a:lnTo>
                  <a:pt x="185574" y="126427"/>
                </a:lnTo>
                <a:lnTo>
                  <a:pt x="185468" y="126374"/>
                </a:lnTo>
                <a:lnTo>
                  <a:pt x="185415" y="126321"/>
                </a:lnTo>
                <a:close/>
                <a:moveTo>
                  <a:pt x="188901" y="126797"/>
                </a:moveTo>
                <a:lnTo>
                  <a:pt x="188690" y="126902"/>
                </a:lnTo>
                <a:lnTo>
                  <a:pt x="188690" y="127008"/>
                </a:lnTo>
                <a:lnTo>
                  <a:pt x="188742" y="127008"/>
                </a:lnTo>
                <a:lnTo>
                  <a:pt x="188795" y="127061"/>
                </a:lnTo>
                <a:lnTo>
                  <a:pt x="188795" y="127166"/>
                </a:lnTo>
                <a:lnTo>
                  <a:pt x="188584" y="127219"/>
                </a:lnTo>
                <a:lnTo>
                  <a:pt x="188531" y="127272"/>
                </a:lnTo>
                <a:lnTo>
                  <a:pt x="188637" y="127219"/>
                </a:lnTo>
                <a:lnTo>
                  <a:pt x="188742" y="127219"/>
                </a:lnTo>
                <a:lnTo>
                  <a:pt x="188742" y="127325"/>
                </a:lnTo>
                <a:lnTo>
                  <a:pt x="188690" y="127378"/>
                </a:lnTo>
                <a:lnTo>
                  <a:pt x="188637" y="127483"/>
                </a:lnTo>
                <a:lnTo>
                  <a:pt x="188742" y="127483"/>
                </a:lnTo>
                <a:lnTo>
                  <a:pt x="189007" y="127378"/>
                </a:lnTo>
                <a:lnTo>
                  <a:pt x="189059" y="127378"/>
                </a:lnTo>
                <a:lnTo>
                  <a:pt x="189165" y="127430"/>
                </a:lnTo>
                <a:lnTo>
                  <a:pt x="189271" y="127430"/>
                </a:lnTo>
                <a:lnTo>
                  <a:pt x="189376" y="127325"/>
                </a:lnTo>
                <a:lnTo>
                  <a:pt x="189429" y="127061"/>
                </a:lnTo>
                <a:lnTo>
                  <a:pt x="189376" y="127061"/>
                </a:lnTo>
                <a:lnTo>
                  <a:pt x="189271" y="127114"/>
                </a:lnTo>
                <a:lnTo>
                  <a:pt x="189218" y="127166"/>
                </a:lnTo>
                <a:lnTo>
                  <a:pt x="189165" y="127219"/>
                </a:lnTo>
                <a:lnTo>
                  <a:pt x="189112" y="127219"/>
                </a:lnTo>
                <a:lnTo>
                  <a:pt x="189059" y="127166"/>
                </a:lnTo>
                <a:lnTo>
                  <a:pt x="188954" y="126955"/>
                </a:lnTo>
                <a:lnTo>
                  <a:pt x="188954" y="126902"/>
                </a:lnTo>
                <a:lnTo>
                  <a:pt x="188901" y="126797"/>
                </a:lnTo>
                <a:close/>
                <a:moveTo>
                  <a:pt x="67438" y="126955"/>
                </a:moveTo>
                <a:lnTo>
                  <a:pt x="67333" y="127008"/>
                </a:lnTo>
                <a:lnTo>
                  <a:pt x="67227" y="127166"/>
                </a:lnTo>
                <a:lnTo>
                  <a:pt x="67227" y="127272"/>
                </a:lnTo>
                <a:lnTo>
                  <a:pt x="67280" y="127325"/>
                </a:lnTo>
                <a:lnTo>
                  <a:pt x="67438" y="127536"/>
                </a:lnTo>
                <a:lnTo>
                  <a:pt x="67491" y="127536"/>
                </a:lnTo>
                <a:lnTo>
                  <a:pt x="67491" y="127483"/>
                </a:lnTo>
                <a:lnTo>
                  <a:pt x="67438" y="127378"/>
                </a:lnTo>
                <a:lnTo>
                  <a:pt x="67438" y="127008"/>
                </a:lnTo>
                <a:lnTo>
                  <a:pt x="67438" y="126955"/>
                </a:lnTo>
                <a:close/>
                <a:moveTo>
                  <a:pt x="196717" y="127589"/>
                </a:moveTo>
                <a:lnTo>
                  <a:pt x="196506" y="127800"/>
                </a:lnTo>
                <a:lnTo>
                  <a:pt x="196241" y="127906"/>
                </a:lnTo>
                <a:lnTo>
                  <a:pt x="195713" y="128011"/>
                </a:lnTo>
                <a:lnTo>
                  <a:pt x="195766" y="128064"/>
                </a:lnTo>
                <a:lnTo>
                  <a:pt x="195766" y="128117"/>
                </a:lnTo>
                <a:lnTo>
                  <a:pt x="195766" y="128170"/>
                </a:lnTo>
                <a:lnTo>
                  <a:pt x="195397" y="128275"/>
                </a:lnTo>
                <a:lnTo>
                  <a:pt x="194974" y="128434"/>
                </a:lnTo>
                <a:lnTo>
                  <a:pt x="195080" y="128539"/>
                </a:lnTo>
                <a:lnTo>
                  <a:pt x="195132" y="128539"/>
                </a:lnTo>
                <a:lnTo>
                  <a:pt x="194974" y="128592"/>
                </a:lnTo>
                <a:lnTo>
                  <a:pt x="194182" y="128592"/>
                </a:lnTo>
                <a:lnTo>
                  <a:pt x="194129" y="128698"/>
                </a:lnTo>
                <a:lnTo>
                  <a:pt x="194023" y="128856"/>
                </a:lnTo>
                <a:lnTo>
                  <a:pt x="193971" y="129120"/>
                </a:lnTo>
                <a:lnTo>
                  <a:pt x="194182" y="129226"/>
                </a:lnTo>
                <a:lnTo>
                  <a:pt x="195080" y="128962"/>
                </a:lnTo>
                <a:lnTo>
                  <a:pt x="195238" y="128909"/>
                </a:lnTo>
                <a:lnTo>
                  <a:pt x="195502" y="128698"/>
                </a:lnTo>
                <a:lnTo>
                  <a:pt x="195713" y="128592"/>
                </a:lnTo>
                <a:lnTo>
                  <a:pt x="195977" y="128434"/>
                </a:lnTo>
                <a:lnTo>
                  <a:pt x="196189" y="128381"/>
                </a:lnTo>
                <a:lnTo>
                  <a:pt x="196611" y="128011"/>
                </a:lnTo>
                <a:lnTo>
                  <a:pt x="196664" y="128011"/>
                </a:lnTo>
                <a:lnTo>
                  <a:pt x="196717" y="127959"/>
                </a:lnTo>
                <a:lnTo>
                  <a:pt x="196770" y="127906"/>
                </a:lnTo>
                <a:lnTo>
                  <a:pt x="196770" y="127853"/>
                </a:lnTo>
                <a:lnTo>
                  <a:pt x="196717" y="127853"/>
                </a:lnTo>
                <a:lnTo>
                  <a:pt x="196611" y="127800"/>
                </a:lnTo>
                <a:lnTo>
                  <a:pt x="196664" y="127800"/>
                </a:lnTo>
                <a:lnTo>
                  <a:pt x="196770" y="127695"/>
                </a:lnTo>
                <a:lnTo>
                  <a:pt x="196717" y="127589"/>
                </a:lnTo>
                <a:close/>
                <a:moveTo>
                  <a:pt x="167460" y="128751"/>
                </a:moveTo>
                <a:lnTo>
                  <a:pt x="167302" y="128962"/>
                </a:lnTo>
                <a:lnTo>
                  <a:pt x="167354" y="129120"/>
                </a:lnTo>
                <a:lnTo>
                  <a:pt x="167354" y="129279"/>
                </a:lnTo>
                <a:lnTo>
                  <a:pt x="167354" y="129384"/>
                </a:lnTo>
                <a:lnTo>
                  <a:pt x="167354" y="129490"/>
                </a:lnTo>
                <a:lnTo>
                  <a:pt x="167460" y="129384"/>
                </a:lnTo>
                <a:lnTo>
                  <a:pt x="167619" y="129384"/>
                </a:lnTo>
                <a:lnTo>
                  <a:pt x="167671" y="129332"/>
                </a:lnTo>
                <a:lnTo>
                  <a:pt x="167671" y="129226"/>
                </a:lnTo>
                <a:lnTo>
                  <a:pt x="167724" y="129068"/>
                </a:lnTo>
                <a:lnTo>
                  <a:pt x="167777" y="128962"/>
                </a:lnTo>
                <a:lnTo>
                  <a:pt x="167830" y="128962"/>
                </a:lnTo>
                <a:lnTo>
                  <a:pt x="167830" y="128856"/>
                </a:lnTo>
                <a:lnTo>
                  <a:pt x="167724" y="128804"/>
                </a:lnTo>
                <a:lnTo>
                  <a:pt x="167671" y="128751"/>
                </a:lnTo>
                <a:close/>
                <a:moveTo>
                  <a:pt x="167354" y="129490"/>
                </a:moveTo>
                <a:lnTo>
                  <a:pt x="167354" y="129490"/>
                </a:lnTo>
                <a:lnTo>
                  <a:pt x="167354" y="129490"/>
                </a:lnTo>
                <a:close/>
                <a:moveTo>
                  <a:pt x="167354" y="129490"/>
                </a:moveTo>
                <a:lnTo>
                  <a:pt x="167319" y="129631"/>
                </a:lnTo>
                <a:lnTo>
                  <a:pt x="167319" y="129631"/>
                </a:lnTo>
                <a:lnTo>
                  <a:pt x="167354" y="129596"/>
                </a:lnTo>
                <a:lnTo>
                  <a:pt x="167354" y="129490"/>
                </a:lnTo>
                <a:close/>
                <a:moveTo>
                  <a:pt x="187211" y="129807"/>
                </a:moveTo>
                <a:lnTo>
                  <a:pt x="187158" y="129965"/>
                </a:lnTo>
                <a:lnTo>
                  <a:pt x="187105" y="129913"/>
                </a:lnTo>
                <a:lnTo>
                  <a:pt x="186947" y="129913"/>
                </a:lnTo>
                <a:lnTo>
                  <a:pt x="187158" y="129807"/>
                </a:lnTo>
                <a:close/>
                <a:moveTo>
                  <a:pt x="196136" y="129913"/>
                </a:moveTo>
                <a:lnTo>
                  <a:pt x="196189" y="129965"/>
                </a:lnTo>
                <a:lnTo>
                  <a:pt x="196294" y="129965"/>
                </a:lnTo>
                <a:lnTo>
                  <a:pt x="196241" y="129913"/>
                </a:lnTo>
                <a:close/>
                <a:moveTo>
                  <a:pt x="167319" y="129631"/>
                </a:moveTo>
                <a:lnTo>
                  <a:pt x="167249" y="129701"/>
                </a:lnTo>
                <a:lnTo>
                  <a:pt x="167196" y="129754"/>
                </a:lnTo>
                <a:lnTo>
                  <a:pt x="167196" y="129807"/>
                </a:lnTo>
                <a:lnTo>
                  <a:pt x="167196" y="130018"/>
                </a:lnTo>
                <a:lnTo>
                  <a:pt x="167090" y="130124"/>
                </a:lnTo>
                <a:lnTo>
                  <a:pt x="167038" y="130124"/>
                </a:lnTo>
                <a:lnTo>
                  <a:pt x="166826" y="130177"/>
                </a:lnTo>
                <a:lnTo>
                  <a:pt x="166879" y="130229"/>
                </a:lnTo>
                <a:lnTo>
                  <a:pt x="167038" y="130229"/>
                </a:lnTo>
                <a:lnTo>
                  <a:pt x="167354" y="130018"/>
                </a:lnTo>
                <a:lnTo>
                  <a:pt x="167302" y="129860"/>
                </a:lnTo>
                <a:lnTo>
                  <a:pt x="167302" y="129701"/>
                </a:lnTo>
                <a:lnTo>
                  <a:pt x="167319" y="129631"/>
                </a:lnTo>
                <a:close/>
                <a:moveTo>
                  <a:pt x="197562" y="130282"/>
                </a:moveTo>
                <a:lnTo>
                  <a:pt x="197562" y="130335"/>
                </a:lnTo>
                <a:lnTo>
                  <a:pt x="197615" y="130388"/>
                </a:lnTo>
                <a:lnTo>
                  <a:pt x="197615" y="130335"/>
                </a:lnTo>
                <a:lnTo>
                  <a:pt x="197562" y="130282"/>
                </a:lnTo>
                <a:close/>
                <a:moveTo>
                  <a:pt x="68178" y="127800"/>
                </a:moveTo>
                <a:lnTo>
                  <a:pt x="68072" y="127906"/>
                </a:lnTo>
                <a:lnTo>
                  <a:pt x="67808" y="128117"/>
                </a:lnTo>
                <a:lnTo>
                  <a:pt x="67755" y="128170"/>
                </a:lnTo>
                <a:lnTo>
                  <a:pt x="67649" y="128170"/>
                </a:lnTo>
                <a:lnTo>
                  <a:pt x="67649" y="128328"/>
                </a:lnTo>
                <a:lnTo>
                  <a:pt x="67649" y="128434"/>
                </a:lnTo>
                <a:lnTo>
                  <a:pt x="67649" y="128645"/>
                </a:lnTo>
                <a:lnTo>
                  <a:pt x="67649" y="128751"/>
                </a:lnTo>
                <a:lnTo>
                  <a:pt x="67597" y="128804"/>
                </a:lnTo>
                <a:lnTo>
                  <a:pt x="67861" y="128909"/>
                </a:lnTo>
                <a:lnTo>
                  <a:pt x="68917" y="129649"/>
                </a:lnTo>
                <a:lnTo>
                  <a:pt x="69022" y="129701"/>
                </a:lnTo>
                <a:lnTo>
                  <a:pt x="69075" y="129807"/>
                </a:lnTo>
                <a:lnTo>
                  <a:pt x="69128" y="129965"/>
                </a:lnTo>
                <a:lnTo>
                  <a:pt x="69181" y="130071"/>
                </a:lnTo>
                <a:lnTo>
                  <a:pt x="69445" y="130071"/>
                </a:lnTo>
                <a:lnTo>
                  <a:pt x="69656" y="130282"/>
                </a:lnTo>
                <a:lnTo>
                  <a:pt x="69762" y="130335"/>
                </a:lnTo>
                <a:lnTo>
                  <a:pt x="69920" y="130335"/>
                </a:lnTo>
                <a:lnTo>
                  <a:pt x="70079" y="130282"/>
                </a:lnTo>
                <a:lnTo>
                  <a:pt x="70184" y="130177"/>
                </a:lnTo>
                <a:lnTo>
                  <a:pt x="70343" y="130124"/>
                </a:lnTo>
                <a:lnTo>
                  <a:pt x="70607" y="130229"/>
                </a:lnTo>
                <a:lnTo>
                  <a:pt x="70765" y="130177"/>
                </a:lnTo>
                <a:lnTo>
                  <a:pt x="70871" y="130177"/>
                </a:lnTo>
                <a:lnTo>
                  <a:pt x="71188" y="130388"/>
                </a:lnTo>
                <a:lnTo>
                  <a:pt x="71293" y="130493"/>
                </a:lnTo>
                <a:lnTo>
                  <a:pt x="71346" y="130493"/>
                </a:lnTo>
                <a:lnTo>
                  <a:pt x="71557" y="130441"/>
                </a:lnTo>
                <a:lnTo>
                  <a:pt x="71610" y="130441"/>
                </a:lnTo>
                <a:lnTo>
                  <a:pt x="71557" y="130335"/>
                </a:lnTo>
                <a:lnTo>
                  <a:pt x="71188" y="130335"/>
                </a:lnTo>
                <a:lnTo>
                  <a:pt x="71135" y="130229"/>
                </a:lnTo>
                <a:lnTo>
                  <a:pt x="70712" y="129807"/>
                </a:lnTo>
                <a:lnTo>
                  <a:pt x="70554" y="129754"/>
                </a:lnTo>
                <a:lnTo>
                  <a:pt x="70132" y="129913"/>
                </a:lnTo>
                <a:lnTo>
                  <a:pt x="70026" y="129913"/>
                </a:lnTo>
                <a:lnTo>
                  <a:pt x="68706" y="129068"/>
                </a:lnTo>
                <a:lnTo>
                  <a:pt x="68389" y="128698"/>
                </a:lnTo>
                <a:lnTo>
                  <a:pt x="68336" y="128645"/>
                </a:lnTo>
                <a:lnTo>
                  <a:pt x="68230" y="128592"/>
                </a:lnTo>
                <a:lnTo>
                  <a:pt x="68178" y="128381"/>
                </a:lnTo>
                <a:lnTo>
                  <a:pt x="68178" y="128170"/>
                </a:lnTo>
                <a:lnTo>
                  <a:pt x="68230" y="128011"/>
                </a:lnTo>
                <a:lnTo>
                  <a:pt x="68178" y="127800"/>
                </a:lnTo>
                <a:close/>
                <a:moveTo>
                  <a:pt x="199885" y="129543"/>
                </a:moveTo>
                <a:lnTo>
                  <a:pt x="199780" y="129649"/>
                </a:lnTo>
                <a:lnTo>
                  <a:pt x="199516" y="129913"/>
                </a:lnTo>
                <a:lnTo>
                  <a:pt x="198988" y="130335"/>
                </a:lnTo>
                <a:lnTo>
                  <a:pt x="198988" y="130388"/>
                </a:lnTo>
                <a:lnTo>
                  <a:pt x="199093" y="130388"/>
                </a:lnTo>
                <a:lnTo>
                  <a:pt x="199252" y="130546"/>
                </a:lnTo>
                <a:lnTo>
                  <a:pt x="199357" y="130546"/>
                </a:lnTo>
                <a:lnTo>
                  <a:pt x="199463" y="130493"/>
                </a:lnTo>
                <a:lnTo>
                  <a:pt x="199568" y="130493"/>
                </a:lnTo>
                <a:lnTo>
                  <a:pt x="199621" y="130599"/>
                </a:lnTo>
                <a:lnTo>
                  <a:pt x="199674" y="130599"/>
                </a:lnTo>
                <a:lnTo>
                  <a:pt x="199727" y="130546"/>
                </a:lnTo>
                <a:lnTo>
                  <a:pt x="199727" y="130441"/>
                </a:lnTo>
                <a:lnTo>
                  <a:pt x="199727" y="130124"/>
                </a:lnTo>
                <a:lnTo>
                  <a:pt x="199727" y="130018"/>
                </a:lnTo>
                <a:lnTo>
                  <a:pt x="199833" y="129807"/>
                </a:lnTo>
                <a:lnTo>
                  <a:pt x="199885" y="129701"/>
                </a:lnTo>
                <a:lnTo>
                  <a:pt x="199885" y="129543"/>
                </a:lnTo>
                <a:close/>
                <a:moveTo>
                  <a:pt x="197667" y="130652"/>
                </a:moveTo>
                <a:lnTo>
                  <a:pt x="197667" y="130705"/>
                </a:lnTo>
                <a:lnTo>
                  <a:pt x="197720" y="130705"/>
                </a:lnTo>
                <a:lnTo>
                  <a:pt x="197667" y="130652"/>
                </a:lnTo>
                <a:close/>
                <a:moveTo>
                  <a:pt x="198143" y="130652"/>
                </a:moveTo>
                <a:lnTo>
                  <a:pt x="197984" y="130705"/>
                </a:lnTo>
                <a:lnTo>
                  <a:pt x="197826" y="130705"/>
                </a:lnTo>
                <a:lnTo>
                  <a:pt x="197931" y="130758"/>
                </a:lnTo>
                <a:lnTo>
                  <a:pt x="198090" y="130758"/>
                </a:lnTo>
                <a:lnTo>
                  <a:pt x="198143" y="130705"/>
                </a:lnTo>
                <a:lnTo>
                  <a:pt x="198143" y="130652"/>
                </a:lnTo>
                <a:close/>
                <a:moveTo>
                  <a:pt x="186049" y="129860"/>
                </a:moveTo>
                <a:lnTo>
                  <a:pt x="185785" y="130018"/>
                </a:lnTo>
                <a:lnTo>
                  <a:pt x="185521" y="130388"/>
                </a:lnTo>
                <a:lnTo>
                  <a:pt x="185521" y="130652"/>
                </a:lnTo>
                <a:lnTo>
                  <a:pt x="185627" y="130758"/>
                </a:lnTo>
                <a:lnTo>
                  <a:pt x="185785" y="130863"/>
                </a:lnTo>
                <a:lnTo>
                  <a:pt x="185944" y="130863"/>
                </a:lnTo>
                <a:lnTo>
                  <a:pt x="186049" y="130705"/>
                </a:lnTo>
                <a:lnTo>
                  <a:pt x="186049" y="130652"/>
                </a:lnTo>
                <a:lnTo>
                  <a:pt x="186102" y="130388"/>
                </a:lnTo>
                <a:lnTo>
                  <a:pt x="186102" y="130282"/>
                </a:lnTo>
                <a:lnTo>
                  <a:pt x="186208" y="130071"/>
                </a:lnTo>
                <a:lnTo>
                  <a:pt x="186208" y="130018"/>
                </a:lnTo>
                <a:lnTo>
                  <a:pt x="186049" y="129860"/>
                </a:lnTo>
                <a:close/>
                <a:moveTo>
                  <a:pt x="192756" y="128962"/>
                </a:moveTo>
                <a:lnTo>
                  <a:pt x="192650" y="129015"/>
                </a:lnTo>
                <a:lnTo>
                  <a:pt x="192545" y="129173"/>
                </a:lnTo>
                <a:lnTo>
                  <a:pt x="192492" y="129279"/>
                </a:lnTo>
                <a:lnTo>
                  <a:pt x="192492" y="129384"/>
                </a:lnTo>
                <a:lnTo>
                  <a:pt x="192492" y="129437"/>
                </a:lnTo>
                <a:lnTo>
                  <a:pt x="192334" y="129543"/>
                </a:lnTo>
                <a:lnTo>
                  <a:pt x="192228" y="129860"/>
                </a:lnTo>
                <a:lnTo>
                  <a:pt x="192334" y="130177"/>
                </a:lnTo>
                <a:lnTo>
                  <a:pt x="192545" y="130335"/>
                </a:lnTo>
                <a:lnTo>
                  <a:pt x="192703" y="130177"/>
                </a:lnTo>
                <a:lnTo>
                  <a:pt x="192545" y="130177"/>
                </a:lnTo>
                <a:lnTo>
                  <a:pt x="192703" y="130018"/>
                </a:lnTo>
                <a:lnTo>
                  <a:pt x="192756" y="130071"/>
                </a:lnTo>
                <a:lnTo>
                  <a:pt x="192862" y="130071"/>
                </a:lnTo>
                <a:lnTo>
                  <a:pt x="192809" y="130124"/>
                </a:lnTo>
                <a:lnTo>
                  <a:pt x="192914" y="130177"/>
                </a:lnTo>
                <a:lnTo>
                  <a:pt x="193178" y="130124"/>
                </a:lnTo>
                <a:lnTo>
                  <a:pt x="193284" y="130177"/>
                </a:lnTo>
                <a:lnTo>
                  <a:pt x="192492" y="130705"/>
                </a:lnTo>
                <a:lnTo>
                  <a:pt x="192386" y="130916"/>
                </a:lnTo>
                <a:lnTo>
                  <a:pt x="192386" y="131022"/>
                </a:lnTo>
                <a:lnTo>
                  <a:pt x="192545" y="131180"/>
                </a:lnTo>
                <a:lnTo>
                  <a:pt x="192650" y="131233"/>
                </a:lnTo>
                <a:lnTo>
                  <a:pt x="192862" y="131233"/>
                </a:lnTo>
                <a:lnTo>
                  <a:pt x="192967" y="131127"/>
                </a:lnTo>
                <a:lnTo>
                  <a:pt x="193284" y="130705"/>
                </a:lnTo>
                <a:lnTo>
                  <a:pt x="194023" y="130229"/>
                </a:lnTo>
                <a:lnTo>
                  <a:pt x="194129" y="130229"/>
                </a:lnTo>
                <a:lnTo>
                  <a:pt x="194393" y="130282"/>
                </a:lnTo>
                <a:lnTo>
                  <a:pt x="194552" y="130282"/>
                </a:lnTo>
                <a:lnTo>
                  <a:pt x="194657" y="130177"/>
                </a:lnTo>
                <a:lnTo>
                  <a:pt x="194657" y="130071"/>
                </a:lnTo>
                <a:lnTo>
                  <a:pt x="194657" y="130018"/>
                </a:lnTo>
                <a:lnTo>
                  <a:pt x="195080" y="129860"/>
                </a:lnTo>
                <a:lnTo>
                  <a:pt x="195027" y="129807"/>
                </a:lnTo>
                <a:lnTo>
                  <a:pt x="194763" y="129754"/>
                </a:lnTo>
                <a:lnTo>
                  <a:pt x="194816" y="129701"/>
                </a:lnTo>
                <a:lnTo>
                  <a:pt x="195027" y="129596"/>
                </a:lnTo>
                <a:lnTo>
                  <a:pt x="195080" y="129543"/>
                </a:lnTo>
                <a:lnTo>
                  <a:pt x="195027" y="129437"/>
                </a:lnTo>
                <a:lnTo>
                  <a:pt x="194921" y="129437"/>
                </a:lnTo>
                <a:lnTo>
                  <a:pt x="194499" y="129490"/>
                </a:lnTo>
                <a:lnTo>
                  <a:pt x="194129" y="129701"/>
                </a:lnTo>
                <a:lnTo>
                  <a:pt x="193918" y="129701"/>
                </a:lnTo>
                <a:lnTo>
                  <a:pt x="193918" y="129543"/>
                </a:lnTo>
                <a:lnTo>
                  <a:pt x="193918" y="129279"/>
                </a:lnTo>
                <a:lnTo>
                  <a:pt x="193971" y="129120"/>
                </a:lnTo>
                <a:lnTo>
                  <a:pt x="193812" y="129068"/>
                </a:lnTo>
                <a:lnTo>
                  <a:pt x="193707" y="129068"/>
                </a:lnTo>
                <a:lnTo>
                  <a:pt x="193601" y="129120"/>
                </a:lnTo>
                <a:lnTo>
                  <a:pt x="193020" y="129120"/>
                </a:lnTo>
                <a:lnTo>
                  <a:pt x="193020" y="129068"/>
                </a:lnTo>
                <a:lnTo>
                  <a:pt x="193020" y="128962"/>
                </a:lnTo>
                <a:close/>
                <a:moveTo>
                  <a:pt x="189165" y="130705"/>
                </a:moveTo>
                <a:lnTo>
                  <a:pt x="188795" y="130916"/>
                </a:lnTo>
                <a:lnTo>
                  <a:pt x="188742" y="130916"/>
                </a:lnTo>
                <a:lnTo>
                  <a:pt x="188690" y="130969"/>
                </a:lnTo>
                <a:lnTo>
                  <a:pt x="188531" y="130969"/>
                </a:lnTo>
                <a:lnTo>
                  <a:pt x="188531" y="131022"/>
                </a:lnTo>
                <a:lnTo>
                  <a:pt x="188531" y="131127"/>
                </a:lnTo>
                <a:lnTo>
                  <a:pt x="188531" y="131338"/>
                </a:lnTo>
                <a:lnTo>
                  <a:pt x="188637" y="131338"/>
                </a:lnTo>
                <a:lnTo>
                  <a:pt x="189112" y="131022"/>
                </a:lnTo>
                <a:lnTo>
                  <a:pt x="189218" y="130916"/>
                </a:lnTo>
                <a:lnTo>
                  <a:pt x="189218" y="130810"/>
                </a:lnTo>
                <a:lnTo>
                  <a:pt x="189218" y="130705"/>
                </a:lnTo>
                <a:close/>
                <a:moveTo>
                  <a:pt x="198512" y="130969"/>
                </a:moveTo>
                <a:lnTo>
                  <a:pt x="198565" y="131022"/>
                </a:lnTo>
                <a:lnTo>
                  <a:pt x="198671" y="131074"/>
                </a:lnTo>
                <a:lnTo>
                  <a:pt x="198829" y="131127"/>
                </a:lnTo>
                <a:lnTo>
                  <a:pt x="198988" y="131286"/>
                </a:lnTo>
                <a:lnTo>
                  <a:pt x="199040" y="131338"/>
                </a:lnTo>
                <a:lnTo>
                  <a:pt x="199093" y="131338"/>
                </a:lnTo>
                <a:lnTo>
                  <a:pt x="199199" y="131233"/>
                </a:lnTo>
                <a:lnTo>
                  <a:pt x="199040" y="131180"/>
                </a:lnTo>
                <a:lnTo>
                  <a:pt x="198935" y="131127"/>
                </a:lnTo>
                <a:lnTo>
                  <a:pt x="198724" y="131022"/>
                </a:lnTo>
                <a:lnTo>
                  <a:pt x="198618" y="130969"/>
                </a:lnTo>
                <a:close/>
                <a:moveTo>
                  <a:pt x="199410" y="131286"/>
                </a:moveTo>
                <a:lnTo>
                  <a:pt x="199516" y="131338"/>
                </a:lnTo>
                <a:lnTo>
                  <a:pt x="199568" y="131338"/>
                </a:lnTo>
                <a:lnTo>
                  <a:pt x="199621" y="131391"/>
                </a:lnTo>
                <a:lnTo>
                  <a:pt x="199674" y="131444"/>
                </a:lnTo>
                <a:lnTo>
                  <a:pt x="199727" y="131444"/>
                </a:lnTo>
                <a:lnTo>
                  <a:pt x="199727" y="131338"/>
                </a:lnTo>
                <a:lnTo>
                  <a:pt x="199674" y="131338"/>
                </a:lnTo>
                <a:lnTo>
                  <a:pt x="199674" y="131286"/>
                </a:lnTo>
                <a:close/>
                <a:moveTo>
                  <a:pt x="200942" y="131391"/>
                </a:moveTo>
                <a:lnTo>
                  <a:pt x="200994" y="131444"/>
                </a:lnTo>
                <a:lnTo>
                  <a:pt x="201258" y="131497"/>
                </a:lnTo>
                <a:lnTo>
                  <a:pt x="201206" y="131444"/>
                </a:lnTo>
                <a:lnTo>
                  <a:pt x="201153" y="131444"/>
                </a:lnTo>
                <a:lnTo>
                  <a:pt x="201100" y="131391"/>
                </a:lnTo>
                <a:close/>
                <a:moveTo>
                  <a:pt x="200677" y="131391"/>
                </a:moveTo>
                <a:lnTo>
                  <a:pt x="200572" y="131444"/>
                </a:lnTo>
                <a:lnTo>
                  <a:pt x="200097" y="131444"/>
                </a:lnTo>
                <a:lnTo>
                  <a:pt x="200202" y="131497"/>
                </a:lnTo>
                <a:lnTo>
                  <a:pt x="200255" y="131497"/>
                </a:lnTo>
                <a:lnTo>
                  <a:pt x="200519" y="131550"/>
                </a:lnTo>
                <a:lnTo>
                  <a:pt x="200625" y="131550"/>
                </a:lnTo>
                <a:lnTo>
                  <a:pt x="200730" y="131497"/>
                </a:lnTo>
                <a:lnTo>
                  <a:pt x="200730" y="131391"/>
                </a:lnTo>
                <a:close/>
                <a:moveTo>
                  <a:pt x="201364" y="131444"/>
                </a:moveTo>
                <a:lnTo>
                  <a:pt x="201258" y="131497"/>
                </a:lnTo>
                <a:lnTo>
                  <a:pt x="201364" y="131550"/>
                </a:lnTo>
                <a:lnTo>
                  <a:pt x="201470" y="131550"/>
                </a:lnTo>
                <a:lnTo>
                  <a:pt x="201470" y="131444"/>
                </a:lnTo>
                <a:close/>
                <a:moveTo>
                  <a:pt x="187528" y="128909"/>
                </a:moveTo>
                <a:lnTo>
                  <a:pt x="187475" y="129015"/>
                </a:lnTo>
                <a:lnTo>
                  <a:pt x="187475" y="129226"/>
                </a:lnTo>
                <a:lnTo>
                  <a:pt x="187528" y="129437"/>
                </a:lnTo>
                <a:lnTo>
                  <a:pt x="187422" y="129543"/>
                </a:lnTo>
                <a:lnTo>
                  <a:pt x="187158" y="129649"/>
                </a:lnTo>
                <a:lnTo>
                  <a:pt x="187211" y="129543"/>
                </a:lnTo>
                <a:lnTo>
                  <a:pt x="187211" y="129384"/>
                </a:lnTo>
                <a:lnTo>
                  <a:pt x="187211" y="129120"/>
                </a:lnTo>
                <a:lnTo>
                  <a:pt x="187105" y="129226"/>
                </a:lnTo>
                <a:lnTo>
                  <a:pt x="187000" y="129490"/>
                </a:lnTo>
                <a:lnTo>
                  <a:pt x="186906" y="129913"/>
                </a:lnTo>
                <a:lnTo>
                  <a:pt x="186894" y="129913"/>
                </a:lnTo>
                <a:lnTo>
                  <a:pt x="186841" y="129965"/>
                </a:lnTo>
                <a:lnTo>
                  <a:pt x="186894" y="130071"/>
                </a:lnTo>
                <a:lnTo>
                  <a:pt x="187105" y="130282"/>
                </a:lnTo>
                <a:lnTo>
                  <a:pt x="186841" y="130282"/>
                </a:lnTo>
                <a:lnTo>
                  <a:pt x="186789" y="130335"/>
                </a:lnTo>
                <a:lnTo>
                  <a:pt x="186789" y="130388"/>
                </a:lnTo>
                <a:lnTo>
                  <a:pt x="186789" y="130441"/>
                </a:lnTo>
                <a:lnTo>
                  <a:pt x="186947" y="130441"/>
                </a:lnTo>
                <a:lnTo>
                  <a:pt x="187211" y="130335"/>
                </a:lnTo>
                <a:lnTo>
                  <a:pt x="187317" y="130335"/>
                </a:lnTo>
                <a:lnTo>
                  <a:pt x="187211" y="130599"/>
                </a:lnTo>
                <a:lnTo>
                  <a:pt x="187000" y="130758"/>
                </a:lnTo>
                <a:lnTo>
                  <a:pt x="186789" y="130810"/>
                </a:lnTo>
                <a:lnTo>
                  <a:pt x="186630" y="130810"/>
                </a:lnTo>
                <a:lnTo>
                  <a:pt x="186683" y="130863"/>
                </a:lnTo>
                <a:lnTo>
                  <a:pt x="186736" y="130969"/>
                </a:lnTo>
                <a:lnTo>
                  <a:pt x="186789" y="131022"/>
                </a:lnTo>
                <a:lnTo>
                  <a:pt x="186683" y="131127"/>
                </a:lnTo>
                <a:lnTo>
                  <a:pt x="186630" y="131180"/>
                </a:lnTo>
                <a:lnTo>
                  <a:pt x="186630" y="131338"/>
                </a:lnTo>
                <a:lnTo>
                  <a:pt x="186789" y="131391"/>
                </a:lnTo>
                <a:lnTo>
                  <a:pt x="187053" y="131391"/>
                </a:lnTo>
                <a:lnTo>
                  <a:pt x="187158" y="131233"/>
                </a:lnTo>
                <a:lnTo>
                  <a:pt x="187211" y="131338"/>
                </a:lnTo>
                <a:lnTo>
                  <a:pt x="186947" y="131761"/>
                </a:lnTo>
                <a:lnTo>
                  <a:pt x="187000" y="131814"/>
                </a:lnTo>
                <a:lnTo>
                  <a:pt x="187158" y="131814"/>
                </a:lnTo>
                <a:lnTo>
                  <a:pt x="187158" y="131972"/>
                </a:lnTo>
                <a:lnTo>
                  <a:pt x="187317" y="131972"/>
                </a:lnTo>
                <a:lnTo>
                  <a:pt x="187422" y="131814"/>
                </a:lnTo>
                <a:lnTo>
                  <a:pt x="187528" y="131550"/>
                </a:lnTo>
                <a:lnTo>
                  <a:pt x="187581" y="131233"/>
                </a:lnTo>
                <a:lnTo>
                  <a:pt x="187475" y="131233"/>
                </a:lnTo>
                <a:lnTo>
                  <a:pt x="187475" y="131127"/>
                </a:lnTo>
                <a:lnTo>
                  <a:pt x="187686" y="130705"/>
                </a:lnTo>
                <a:lnTo>
                  <a:pt x="187845" y="130282"/>
                </a:lnTo>
                <a:lnTo>
                  <a:pt x="187950" y="130018"/>
                </a:lnTo>
                <a:lnTo>
                  <a:pt x="187950" y="129913"/>
                </a:lnTo>
                <a:lnTo>
                  <a:pt x="187845" y="129860"/>
                </a:lnTo>
                <a:lnTo>
                  <a:pt x="187739" y="129860"/>
                </a:lnTo>
                <a:lnTo>
                  <a:pt x="187633" y="129965"/>
                </a:lnTo>
                <a:lnTo>
                  <a:pt x="187528" y="129965"/>
                </a:lnTo>
                <a:lnTo>
                  <a:pt x="187422" y="129807"/>
                </a:lnTo>
                <a:lnTo>
                  <a:pt x="187581" y="129754"/>
                </a:lnTo>
                <a:lnTo>
                  <a:pt x="187792" y="129596"/>
                </a:lnTo>
                <a:lnTo>
                  <a:pt x="187950" y="129596"/>
                </a:lnTo>
                <a:lnTo>
                  <a:pt x="188003" y="129490"/>
                </a:lnTo>
                <a:lnTo>
                  <a:pt x="187898" y="129384"/>
                </a:lnTo>
                <a:lnTo>
                  <a:pt x="187845" y="129384"/>
                </a:lnTo>
                <a:lnTo>
                  <a:pt x="187845" y="129279"/>
                </a:lnTo>
                <a:lnTo>
                  <a:pt x="187898" y="129279"/>
                </a:lnTo>
                <a:lnTo>
                  <a:pt x="187898" y="129226"/>
                </a:lnTo>
                <a:lnTo>
                  <a:pt x="187898" y="129173"/>
                </a:lnTo>
                <a:lnTo>
                  <a:pt x="187845" y="129120"/>
                </a:lnTo>
                <a:lnTo>
                  <a:pt x="187739" y="129120"/>
                </a:lnTo>
                <a:lnTo>
                  <a:pt x="187633" y="129226"/>
                </a:lnTo>
                <a:lnTo>
                  <a:pt x="187633" y="128909"/>
                </a:lnTo>
                <a:close/>
                <a:moveTo>
                  <a:pt x="164239" y="131814"/>
                </a:moveTo>
                <a:lnTo>
                  <a:pt x="164186" y="131867"/>
                </a:lnTo>
                <a:lnTo>
                  <a:pt x="164186" y="131919"/>
                </a:lnTo>
                <a:lnTo>
                  <a:pt x="164186" y="132025"/>
                </a:lnTo>
                <a:lnTo>
                  <a:pt x="164239" y="132078"/>
                </a:lnTo>
                <a:lnTo>
                  <a:pt x="164292" y="132289"/>
                </a:lnTo>
                <a:lnTo>
                  <a:pt x="164450" y="132500"/>
                </a:lnTo>
                <a:lnTo>
                  <a:pt x="164556" y="132500"/>
                </a:lnTo>
                <a:lnTo>
                  <a:pt x="164556" y="132236"/>
                </a:lnTo>
                <a:lnTo>
                  <a:pt x="164503" y="132078"/>
                </a:lnTo>
                <a:lnTo>
                  <a:pt x="164503" y="132025"/>
                </a:lnTo>
                <a:lnTo>
                  <a:pt x="164397" y="131867"/>
                </a:lnTo>
                <a:lnTo>
                  <a:pt x="164344" y="131814"/>
                </a:lnTo>
                <a:close/>
                <a:moveTo>
                  <a:pt x="186313" y="132131"/>
                </a:moveTo>
                <a:lnTo>
                  <a:pt x="186208" y="132395"/>
                </a:lnTo>
                <a:lnTo>
                  <a:pt x="186208" y="132447"/>
                </a:lnTo>
                <a:lnTo>
                  <a:pt x="186102" y="132500"/>
                </a:lnTo>
                <a:lnTo>
                  <a:pt x="185996" y="132659"/>
                </a:lnTo>
                <a:lnTo>
                  <a:pt x="185838" y="132817"/>
                </a:lnTo>
                <a:lnTo>
                  <a:pt x="185679" y="133028"/>
                </a:lnTo>
                <a:lnTo>
                  <a:pt x="185574" y="133240"/>
                </a:lnTo>
                <a:lnTo>
                  <a:pt x="185521" y="133451"/>
                </a:lnTo>
                <a:lnTo>
                  <a:pt x="185627" y="133504"/>
                </a:lnTo>
                <a:lnTo>
                  <a:pt x="185732" y="133398"/>
                </a:lnTo>
                <a:lnTo>
                  <a:pt x="186049" y="133028"/>
                </a:lnTo>
                <a:lnTo>
                  <a:pt x="185944" y="133028"/>
                </a:lnTo>
                <a:lnTo>
                  <a:pt x="185996" y="132870"/>
                </a:lnTo>
                <a:lnTo>
                  <a:pt x="186366" y="132870"/>
                </a:lnTo>
                <a:lnTo>
                  <a:pt x="186577" y="132711"/>
                </a:lnTo>
                <a:lnTo>
                  <a:pt x="186683" y="132659"/>
                </a:lnTo>
                <a:lnTo>
                  <a:pt x="186789" y="132553"/>
                </a:lnTo>
                <a:lnTo>
                  <a:pt x="186683" y="132395"/>
                </a:lnTo>
                <a:lnTo>
                  <a:pt x="186630" y="132342"/>
                </a:lnTo>
                <a:lnTo>
                  <a:pt x="186419" y="132395"/>
                </a:lnTo>
                <a:lnTo>
                  <a:pt x="186419" y="132342"/>
                </a:lnTo>
                <a:lnTo>
                  <a:pt x="186313" y="132183"/>
                </a:lnTo>
                <a:lnTo>
                  <a:pt x="186313" y="132131"/>
                </a:lnTo>
                <a:close/>
                <a:moveTo>
                  <a:pt x="203318" y="133134"/>
                </a:moveTo>
                <a:lnTo>
                  <a:pt x="203318" y="133187"/>
                </a:lnTo>
                <a:lnTo>
                  <a:pt x="203318" y="133345"/>
                </a:lnTo>
                <a:lnTo>
                  <a:pt x="203318" y="133451"/>
                </a:lnTo>
                <a:lnTo>
                  <a:pt x="203318" y="133504"/>
                </a:lnTo>
                <a:lnTo>
                  <a:pt x="203318" y="133556"/>
                </a:lnTo>
                <a:lnTo>
                  <a:pt x="203318" y="133609"/>
                </a:lnTo>
                <a:lnTo>
                  <a:pt x="203371" y="133609"/>
                </a:lnTo>
                <a:lnTo>
                  <a:pt x="203371" y="133556"/>
                </a:lnTo>
                <a:lnTo>
                  <a:pt x="203371" y="133504"/>
                </a:lnTo>
                <a:lnTo>
                  <a:pt x="203371" y="133451"/>
                </a:lnTo>
                <a:lnTo>
                  <a:pt x="203371" y="133398"/>
                </a:lnTo>
                <a:lnTo>
                  <a:pt x="203318" y="133134"/>
                </a:lnTo>
                <a:close/>
                <a:moveTo>
                  <a:pt x="186841" y="132764"/>
                </a:moveTo>
                <a:lnTo>
                  <a:pt x="186736" y="132817"/>
                </a:lnTo>
                <a:lnTo>
                  <a:pt x="186683" y="132870"/>
                </a:lnTo>
                <a:lnTo>
                  <a:pt x="186419" y="133240"/>
                </a:lnTo>
                <a:lnTo>
                  <a:pt x="186102" y="133556"/>
                </a:lnTo>
                <a:lnTo>
                  <a:pt x="185996" y="133768"/>
                </a:lnTo>
                <a:lnTo>
                  <a:pt x="185944" y="133926"/>
                </a:lnTo>
                <a:lnTo>
                  <a:pt x="185996" y="133979"/>
                </a:lnTo>
                <a:lnTo>
                  <a:pt x="186260" y="133873"/>
                </a:lnTo>
                <a:lnTo>
                  <a:pt x="186472" y="133768"/>
                </a:lnTo>
                <a:lnTo>
                  <a:pt x="186683" y="133609"/>
                </a:lnTo>
                <a:lnTo>
                  <a:pt x="186789" y="133451"/>
                </a:lnTo>
                <a:lnTo>
                  <a:pt x="186894" y="133240"/>
                </a:lnTo>
                <a:lnTo>
                  <a:pt x="186947" y="133028"/>
                </a:lnTo>
                <a:lnTo>
                  <a:pt x="187000" y="132870"/>
                </a:lnTo>
                <a:lnTo>
                  <a:pt x="186947" y="132764"/>
                </a:lnTo>
                <a:close/>
                <a:moveTo>
                  <a:pt x="186102" y="133081"/>
                </a:moveTo>
                <a:lnTo>
                  <a:pt x="186102" y="133134"/>
                </a:lnTo>
                <a:lnTo>
                  <a:pt x="186102" y="133240"/>
                </a:lnTo>
                <a:lnTo>
                  <a:pt x="186102" y="133292"/>
                </a:lnTo>
                <a:lnTo>
                  <a:pt x="185891" y="133504"/>
                </a:lnTo>
                <a:lnTo>
                  <a:pt x="185732" y="133609"/>
                </a:lnTo>
                <a:lnTo>
                  <a:pt x="185574" y="133768"/>
                </a:lnTo>
                <a:lnTo>
                  <a:pt x="185468" y="133768"/>
                </a:lnTo>
                <a:lnTo>
                  <a:pt x="185415" y="133662"/>
                </a:lnTo>
                <a:lnTo>
                  <a:pt x="185363" y="133609"/>
                </a:lnTo>
                <a:lnTo>
                  <a:pt x="185204" y="133609"/>
                </a:lnTo>
                <a:lnTo>
                  <a:pt x="185204" y="133715"/>
                </a:lnTo>
                <a:lnTo>
                  <a:pt x="185363" y="133715"/>
                </a:lnTo>
                <a:lnTo>
                  <a:pt x="185363" y="133768"/>
                </a:lnTo>
                <a:lnTo>
                  <a:pt x="185310" y="133768"/>
                </a:lnTo>
                <a:lnTo>
                  <a:pt x="185310" y="133820"/>
                </a:lnTo>
                <a:lnTo>
                  <a:pt x="185415" y="133820"/>
                </a:lnTo>
                <a:lnTo>
                  <a:pt x="185363" y="133926"/>
                </a:lnTo>
                <a:lnTo>
                  <a:pt x="185204" y="133979"/>
                </a:lnTo>
                <a:lnTo>
                  <a:pt x="185151" y="134032"/>
                </a:lnTo>
                <a:lnTo>
                  <a:pt x="185627" y="134032"/>
                </a:lnTo>
                <a:lnTo>
                  <a:pt x="185785" y="133926"/>
                </a:lnTo>
                <a:lnTo>
                  <a:pt x="185891" y="133820"/>
                </a:lnTo>
                <a:lnTo>
                  <a:pt x="186313" y="133240"/>
                </a:lnTo>
                <a:lnTo>
                  <a:pt x="186208" y="133134"/>
                </a:lnTo>
                <a:lnTo>
                  <a:pt x="186208" y="133081"/>
                </a:lnTo>
                <a:close/>
                <a:moveTo>
                  <a:pt x="204005" y="133504"/>
                </a:moveTo>
                <a:lnTo>
                  <a:pt x="203846" y="133556"/>
                </a:lnTo>
                <a:lnTo>
                  <a:pt x="203635" y="133662"/>
                </a:lnTo>
                <a:lnTo>
                  <a:pt x="203476" y="133715"/>
                </a:lnTo>
                <a:lnTo>
                  <a:pt x="203212" y="133979"/>
                </a:lnTo>
                <a:lnTo>
                  <a:pt x="202948" y="134137"/>
                </a:lnTo>
                <a:lnTo>
                  <a:pt x="202684" y="134665"/>
                </a:lnTo>
                <a:lnTo>
                  <a:pt x="202526" y="134718"/>
                </a:lnTo>
                <a:lnTo>
                  <a:pt x="202473" y="134824"/>
                </a:lnTo>
                <a:lnTo>
                  <a:pt x="202209" y="135405"/>
                </a:lnTo>
                <a:lnTo>
                  <a:pt x="202315" y="135352"/>
                </a:lnTo>
                <a:lnTo>
                  <a:pt x="202420" y="135246"/>
                </a:lnTo>
                <a:lnTo>
                  <a:pt x="203054" y="134560"/>
                </a:lnTo>
                <a:lnTo>
                  <a:pt x="203107" y="134454"/>
                </a:lnTo>
                <a:lnTo>
                  <a:pt x="203107" y="134349"/>
                </a:lnTo>
                <a:lnTo>
                  <a:pt x="203160" y="134296"/>
                </a:lnTo>
                <a:lnTo>
                  <a:pt x="203265" y="134243"/>
                </a:lnTo>
                <a:lnTo>
                  <a:pt x="203899" y="133715"/>
                </a:lnTo>
                <a:lnTo>
                  <a:pt x="204005" y="133715"/>
                </a:lnTo>
                <a:lnTo>
                  <a:pt x="204005" y="133662"/>
                </a:lnTo>
                <a:lnTo>
                  <a:pt x="204005" y="133609"/>
                </a:lnTo>
                <a:lnTo>
                  <a:pt x="204005" y="133504"/>
                </a:lnTo>
                <a:close/>
                <a:moveTo>
                  <a:pt x="190327" y="129965"/>
                </a:moveTo>
                <a:lnTo>
                  <a:pt x="190168" y="130018"/>
                </a:lnTo>
                <a:lnTo>
                  <a:pt x="190010" y="130124"/>
                </a:lnTo>
                <a:lnTo>
                  <a:pt x="189904" y="130335"/>
                </a:lnTo>
                <a:lnTo>
                  <a:pt x="190010" y="130441"/>
                </a:lnTo>
                <a:lnTo>
                  <a:pt x="190010" y="130546"/>
                </a:lnTo>
                <a:lnTo>
                  <a:pt x="189957" y="130599"/>
                </a:lnTo>
                <a:lnTo>
                  <a:pt x="189957" y="130652"/>
                </a:lnTo>
                <a:lnTo>
                  <a:pt x="189957" y="130705"/>
                </a:lnTo>
                <a:lnTo>
                  <a:pt x="189957" y="130810"/>
                </a:lnTo>
                <a:lnTo>
                  <a:pt x="189957" y="130863"/>
                </a:lnTo>
                <a:lnTo>
                  <a:pt x="189957" y="130916"/>
                </a:lnTo>
                <a:lnTo>
                  <a:pt x="189957" y="130969"/>
                </a:lnTo>
                <a:lnTo>
                  <a:pt x="189957" y="131127"/>
                </a:lnTo>
                <a:lnTo>
                  <a:pt x="189957" y="131233"/>
                </a:lnTo>
                <a:lnTo>
                  <a:pt x="189851" y="131286"/>
                </a:lnTo>
                <a:lnTo>
                  <a:pt x="189746" y="131391"/>
                </a:lnTo>
                <a:lnTo>
                  <a:pt x="189693" y="131391"/>
                </a:lnTo>
                <a:lnTo>
                  <a:pt x="189587" y="131338"/>
                </a:lnTo>
                <a:lnTo>
                  <a:pt x="189535" y="131338"/>
                </a:lnTo>
                <a:lnTo>
                  <a:pt x="189482" y="131391"/>
                </a:lnTo>
                <a:lnTo>
                  <a:pt x="189376" y="131761"/>
                </a:lnTo>
                <a:lnTo>
                  <a:pt x="189323" y="131814"/>
                </a:lnTo>
                <a:lnTo>
                  <a:pt x="189165" y="131919"/>
                </a:lnTo>
                <a:lnTo>
                  <a:pt x="189112" y="131972"/>
                </a:lnTo>
                <a:lnTo>
                  <a:pt x="189112" y="132236"/>
                </a:lnTo>
                <a:lnTo>
                  <a:pt x="188901" y="132500"/>
                </a:lnTo>
                <a:lnTo>
                  <a:pt x="188478" y="132870"/>
                </a:lnTo>
                <a:lnTo>
                  <a:pt x="188426" y="132976"/>
                </a:lnTo>
                <a:lnTo>
                  <a:pt x="187686" y="133451"/>
                </a:lnTo>
                <a:lnTo>
                  <a:pt x="187581" y="133556"/>
                </a:lnTo>
                <a:lnTo>
                  <a:pt x="187686" y="133662"/>
                </a:lnTo>
                <a:lnTo>
                  <a:pt x="187739" y="133715"/>
                </a:lnTo>
                <a:lnTo>
                  <a:pt x="187739" y="133820"/>
                </a:lnTo>
                <a:lnTo>
                  <a:pt x="187633" y="133873"/>
                </a:lnTo>
                <a:lnTo>
                  <a:pt x="187369" y="133979"/>
                </a:lnTo>
                <a:lnTo>
                  <a:pt x="187211" y="134085"/>
                </a:lnTo>
                <a:lnTo>
                  <a:pt x="187105" y="134296"/>
                </a:lnTo>
                <a:lnTo>
                  <a:pt x="187158" y="134349"/>
                </a:lnTo>
                <a:lnTo>
                  <a:pt x="187317" y="134401"/>
                </a:lnTo>
                <a:lnTo>
                  <a:pt x="187422" y="134454"/>
                </a:lnTo>
                <a:lnTo>
                  <a:pt x="187264" y="134560"/>
                </a:lnTo>
                <a:lnTo>
                  <a:pt x="187158" y="134665"/>
                </a:lnTo>
                <a:lnTo>
                  <a:pt x="187000" y="134771"/>
                </a:lnTo>
                <a:lnTo>
                  <a:pt x="186841" y="134771"/>
                </a:lnTo>
                <a:lnTo>
                  <a:pt x="186683" y="134824"/>
                </a:lnTo>
                <a:lnTo>
                  <a:pt x="186683" y="135088"/>
                </a:lnTo>
                <a:lnTo>
                  <a:pt x="186683" y="135299"/>
                </a:lnTo>
                <a:lnTo>
                  <a:pt x="186577" y="135405"/>
                </a:lnTo>
                <a:lnTo>
                  <a:pt x="186577" y="135458"/>
                </a:lnTo>
                <a:lnTo>
                  <a:pt x="186789" y="135563"/>
                </a:lnTo>
                <a:lnTo>
                  <a:pt x="186841" y="135563"/>
                </a:lnTo>
                <a:lnTo>
                  <a:pt x="186894" y="135510"/>
                </a:lnTo>
                <a:lnTo>
                  <a:pt x="187105" y="135352"/>
                </a:lnTo>
                <a:lnTo>
                  <a:pt x="187528" y="135194"/>
                </a:lnTo>
                <a:lnTo>
                  <a:pt x="187739" y="135194"/>
                </a:lnTo>
                <a:lnTo>
                  <a:pt x="187845" y="134771"/>
                </a:lnTo>
                <a:lnTo>
                  <a:pt x="188056" y="134771"/>
                </a:lnTo>
                <a:lnTo>
                  <a:pt x="188426" y="134877"/>
                </a:lnTo>
                <a:lnTo>
                  <a:pt x="188584" y="134771"/>
                </a:lnTo>
                <a:lnTo>
                  <a:pt x="188690" y="134665"/>
                </a:lnTo>
                <a:lnTo>
                  <a:pt x="188742" y="134454"/>
                </a:lnTo>
                <a:lnTo>
                  <a:pt x="188742" y="134296"/>
                </a:lnTo>
                <a:lnTo>
                  <a:pt x="188637" y="134137"/>
                </a:lnTo>
                <a:lnTo>
                  <a:pt x="188584" y="134085"/>
                </a:lnTo>
                <a:lnTo>
                  <a:pt x="188584" y="134032"/>
                </a:lnTo>
                <a:lnTo>
                  <a:pt x="188742" y="133820"/>
                </a:lnTo>
                <a:lnTo>
                  <a:pt x="188848" y="133768"/>
                </a:lnTo>
                <a:lnTo>
                  <a:pt x="189165" y="133768"/>
                </a:lnTo>
                <a:lnTo>
                  <a:pt x="189218" y="133609"/>
                </a:lnTo>
                <a:lnTo>
                  <a:pt x="189218" y="133504"/>
                </a:lnTo>
                <a:lnTo>
                  <a:pt x="189165" y="133451"/>
                </a:lnTo>
                <a:lnTo>
                  <a:pt x="189165" y="133398"/>
                </a:lnTo>
                <a:lnTo>
                  <a:pt x="189165" y="133240"/>
                </a:lnTo>
                <a:lnTo>
                  <a:pt x="189323" y="132870"/>
                </a:lnTo>
                <a:lnTo>
                  <a:pt x="189799" y="132289"/>
                </a:lnTo>
                <a:lnTo>
                  <a:pt x="190855" y="131286"/>
                </a:lnTo>
                <a:lnTo>
                  <a:pt x="191066" y="131074"/>
                </a:lnTo>
                <a:lnTo>
                  <a:pt x="191172" y="130758"/>
                </a:lnTo>
                <a:lnTo>
                  <a:pt x="191172" y="130705"/>
                </a:lnTo>
                <a:lnTo>
                  <a:pt x="191172" y="130652"/>
                </a:lnTo>
                <a:lnTo>
                  <a:pt x="191225" y="130652"/>
                </a:lnTo>
                <a:lnTo>
                  <a:pt x="191225" y="130546"/>
                </a:lnTo>
                <a:lnTo>
                  <a:pt x="190432" y="130863"/>
                </a:lnTo>
                <a:lnTo>
                  <a:pt x="190380" y="130863"/>
                </a:lnTo>
                <a:lnTo>
                  <a:pt x="190802" y="130441"/>
                </a:lnTo>
                <a:lnTo>
                  <a:pt x="190855" y="130282"/>
                </a:lnTo>
                <a:lnTo>
                  <a:pt x="190327" y="130282"/>
                </a:lnTo>
                <a:lnTo>
                  <a:pt x="190327" y="130177"/>
                </a:lnTo>
                <a:lnTo>
                  <a:pt x="190380" y="130124"/>
                </a:lnTo>
                <a:lnTo>
                  <a:pt x="190485" y="130018"/>
                </a:lnTo>
                <a:lnTo>
                  <a:pt x="190327" y="129965"/>
                </a:lnTo>
                <a:close/>
                <a:moveTo>
                  <a:pt x="100022" y="129490"/>
                </a:moveTo>
                <a:lnTo>
                  <a:pt x="100075" y="129701"/>
                </a:lnTo>
                <a:lnTo>
                  <a:pt x="100075" y="129807"/>
                </a:lnTo>
                <a:lnTo>
                  <a:pt x="100075" y="129965"/>
                </a:lnTo>
                <a:lnTo>
                  <a:pt x="100022" y="130018"/>
                </a:lnTo>
                <a:lnTo>
                  <a:pt x="99916" y="130018"/>
                </a:lnTo>
                <a:lnTo>
                  <a:pt x="99863" y="129965"/>
                </a:lnTo>
                <a:lnTo>
                  <a:pt x="99863" y="129807"/>
                </a:lnTo>
                <a:lnTo>
                  <a:pt x="99230" y="130018"/>
                </a:lnTo>
                <a:lnTo>
                  <a:pt x="98913" y="130335"/>
                </a:lnTo>
                <a:lnTo>
                  <a:pt x="98807" y="130335"/>
                </a:lnTo>
                <a:lnTo>
                  <a:pt x="98807" y="130282"/>
                </a:lnTo>
                <a:lnTo>
                  <a:pt x="98807" y="130229"/>
                </a:lnTo>
                <a:lnTo>
                  <a:pt x="98649" y="130018"/>
                </a:lnTo>
                <a:lnTo>
                  <a:pt x="98490" y="130018"/>
                </a:lnTo>
                <a:lnTo>
                  <a:pt x="98015" y="130282"/>
                </a:lnTo>
                <a:lnTo>
                  <a:pt x="97962" y="130335"/>
                </a:lnTo>
                <a:lnTo>
                  <a:pt x="97962" y="130546"/>
                </a:lnTo>
                <a:lnTo>
                  <a:pt x="97909" y="130652"/>
                </a:lnTo>
                <a:lnTo>
                  <a:pt x="97804" y="130652"/>
                </a:lnTo>
                <a:lnTo>
                  <a:pt x="97645" y="130546"/>
                </a:lnTo>
                <a:lnTo>
                  <a:pt x="97487" y="130546"/>
                </a:lnTo>
                <a:lnTo>
                  <a:pt x="97276" y="130705"/>
                </a:lnTo>
                <a:lnTo>
                  <a:pt x="97065" y="130810"/>
                </a:lnTo>
                <a:lnTo>
                  <a:pt x="96906" y="130916"/>
                </a:lnTo>
                <a:lnTo>
                  <a:pt x="96853" y="130969"/>
                </a:lnTo>
                <a:lnTo>
                  <a:pt x="96853" y="131074"/>
                </a:lnTo>
                <a:lnTo>
                  <a:pt x="96853" y="131127"/>
                </a:lnTo>
                <a:lnTo>
                  <a:pt x="96853" y="131233"/>
                </a:lnTo>
                <a:lnTo>
                  <a:pt x="96753" y="131582"/>
                </a:lnTo>
                <a:lnTo>
                  <a:pt x="96753" y="131582"/>
                </a:lnTo>
                <a:lnTo>
                  <a:pt x="95533" y="131338"/>
                </a:lnTo>
                <a:lnTo>
                  <a:pt x="95111" y="131391"/>
                </a:lnTo>
                <a:lnTo>
                  <a:pt x="95058" y="131391"/>
                </a:lnTo>
                <a:lnTo>
                  <a:pt x="95005" y="131338"/>
                </a:lnTo>
                <a:lnTo>
                  <a:pt x="94741" y="131338"/>
                </a:lnTo>
                <a:lnTo>
                  <a:pt x="94688" y="131444"/>
                </a:lnTo>
                <a:lnTo>
                  <a:pt x="94635" y="131444"/>
                </a:lnTo>
                <a:lnTo>
                  <a:pt x="94266" y="131602"/>
                </a:lnTo>
                <a:lnTo>
                  <a:pt x="94213" y="131602"/>
                </a:lnTo>
                <a:lnTo>
                  <a:pt x="94107" y="131550"/>
                </a:lnTo>
                <a:lnTo>
                  <a:pt x="94213" y="131761"/>
                </a:lnTo>
                <a:lnTo>
                  <a:pt x="94635" y="132236"/>
                </a:lnTo>
                <a:lnTo>
                  <a:pt x="94741" y="132395"/>
                </a:lnTo>
                <a:lnTo>
                  <a:pt x="94741" y="132447"/>
                </a:lnTo>
                <a:lnTo>
                  <a:pt x="94741" y="132817"/>
                </a:lnTo>
                <a:lnTo>
                  <a:pt x="94794" y="132923"/>
                </a:lnTo>
                <a:lnTo>
                  <a:pt x="94899" y="132976"/>
                </a:lnTo>
                <a:lnTo>
                  <a:pt x="95005" y="132923"/>
                </a:lnTo>
                <a:lnTo>
                  <a:pt x="95005" y="132764"/>
                </a:lnTo>
                <a:lnTo>
                  <a:pt x="95058" y="132923"/>
                </a:lnTo>
                <a:lnTo>
                  <a:pt x="95163" y="133134"/>
                </a:lnTo>
                <a:lnTo>
                  <a:pt x="95322" y="133345"/>
                </a:lnTo>
                <a:lnTo>
                  <a:pt x="95427" y="133398"/>
                </a:lnTo>
                <a:lnTo>
                  <a:pt x="95480" y="133398"/>
                </a:lnTo>
                <a:lnTo>
                  <a:pt x="95639" y="133556"/>
                </a:lnTo>
                <a:lnTo>
                  <a:pt x="95797" y="133556"/>
                </a:lnTo>
                <a:lnTo>
                  <a:pt x="95850" y="133504"/>
                </a:lnTo>
                <a:lnTo>
                  <a:pt x="95850" y="133451"/>
                </a:lnTo>
                <a:lnTo>
                  <a:pt x="95903" y="133345"/>
                </a:lnTo>
                <a:lnTo>
                  <a:pt x="95903" y="133504"/>
                </a:lnTo>
                <a:lnTo>
                  <a:pt x="95903" y="133556"/>
                </a:lnTo>
                <a:lnTo>
                  <a:pt x="96008" y="133556"/>
                </a:lnTo>
                <a:lnTo>
                  <a:pt x="96061" y="133504"/>
                </a:lnTo>
                <a:lnTo>
                  <a:pt x="96167" y="133504"/>
                </a:lnTo>
                <a:lnTo>
                  <a:pt x="96220" y="133556"/>
                </a:lnTo>
                <a:lnTo>
                  <a:pt x="96167" y="133556"/>
                </a:lnTo>
                <a:lnTo>
                  <a:pt x="96114" y="133662"/>
                </a:lnTo>
                <a:lnTo>
                  <a:pt x="97223" y="134349"/>
                </a:lnTo>
                <a:lnTo>
                  <a:pt x="97381" y="134560"/>
                </a:lnTo>
                <a:lnTo>
                  <a:pt x="97487" y="134613"/>
                </a:lnTo>
                <a:lnTo>
                  <a:pt x="97698" y="134613"/>
                </a:lnTo>
                <a:lnTo>
                  <a:pt x="97751" y="134665"/>
                </a:lnTo>
                <a:lnTo>
                  <a:pt x="97962" y="134877"/>
                </a:lnTo>
                <a:lnTo>
                  <a:pt x="98015" y="134930"/>
                </a:lnTo>
                <a:lnTo>
                  <a:pt x="98279" y="134930"/>
                </a:lnTo>
                <a:lnTo>
                  <a:pt x="98438" y="134824"/>
                </a:lnTo>
                <a:lnTo>
                  <a:pt x="98543" y="134824"/>
                </a:lnTo>
                <a:lnTo>
                  <a:pt x="98543" y="134982"/>
                </a:lnTo>
                <a:lnTo>
                  <a:pt x="98649" y="134877"/>
                </a:lnTo>
                <a:lnTo>
                  <a:pt x="98807" y="134877"/>
                </a:lnTo>
                <a:lnTo>
                  <a:pt x="98966" y="134930"/>
                </a:lnTo>
                <a:lnTo>
                  <a:pt x="99335" y="135088"/>
                </a:lnTo>
                <a:lnTo>
                  <a:pt x="99441" y="135088"/>
                </a:lnTo>
                <a:lnTo>
                  <a:pt x="99494" y="135141"/>
                </a:lnTo>
                <a:lnTo>
                  <a:pt x="99599" y="135246"/>
                </a:lnTo>
                <a:lnTo>
                  <a:pt x="99758" y="135352"/>
                </a:lnTo>
                <a:lnTo>
                  <a:pt x="99863" y="135458"/>
                </a:lnTo>
                <a:lnTo>
                  <a:pt x="99916" y="135616"/>
                </a:lnTo>
                <a:lnTo>
                  <a:pt x="99969" y="135774"/>
                </a:lnTo>
                <a:lnTo>
                  <a:pt x="100022" y="135827"/>
                </a:lnTo>
                <a:lnTo>
                  <a:pt x="100233" y="135827"/>
                </a:lnTo>
                <a:lnTo>
                  <a:pt x="100392" y="135774"/>
                </a:lnTo>
                <a:lnTo>
                  <a:pt x="100497" y="135616"/>
                </a:lnTo>
                <a:lnTo>
                  <a:pt x="100444" y="135458"/>
                </a:lnTo>
                <a:lnTo>
                  <a:pt x="100392" y="135352"/>
                </a:lnTo>
                <a:lnTo>
                  <a:pt x="100286" y="135246"/>
                </a:lnTo>
                <a:lnTo>
                  <a:pt x="100180" y="135194"/>
                </a:lnTo>
                <a:lnTo>
                  <a:pt x="99863" y="135246"/>
                </a:lnTo>
                <a:lnTo>
                  <a:pt x="99652" y="135141"/>
                </a:lnTo>
                <a:lnTo>
                  <a:pt x="99758" y="134930"/>
                </a:lnTo>
                <a:lnTo>
                  <a:pt x="100022" y="134877"/>
                </a:lnTo>
                <a:lnTo>
                  <a:pt x="100286" y="134877"/>
                </a:lnTo>
                <a:lnTo>
                  <a:pt x="100339" y="135035"/>
                </a:lnTo>
                <a:lnTo>
                  <a:pt x="100708" y="134877"/>
                </a:lnTo>
                <a:lnTo>
                  <a:pt x="100761" y="134824"/>
                </a:lnTo>
                <a:lnTo>
                  <a:pt x="100867" y="134824"/>
                </a:lnTo>
                <a:lnTo>
                  <a:pt x="101025" y="134718"/>
                </a:lnTo>
                <a:lnTo>
                  <a:pt x="101078" y="134613"/>
                </a:lnTo>
                <a:lnTo>
                  <a:pt x="100920" y="134507"/>
                </a:lnTo>
                <a:lnTo>
                  <a:pt x="101025" y="134454"/>
                </a:lnTo>
                <a:lnTo>
                  <a:pt x="101078" y="134507"/>
                </a:lnTo>
                <a:lnTo>
                  <a:pt x="101184" y="134613"/>
                </a:lnTo>
                <a:lnTo>
                  <a:pt x="101237" y="134665"/>
                </a:lnTo>
                <a:lnTo>
                  <a:pt x="101553" y="134665"/>
                </a:lnTo>
                <a:lnTo>
                  <a:pt x="101976" y="134454"/>
                </a:lnTo>
                <a:lnTo>
                  <a:pt x="102029" y="134401"/>
                </a:lnTo>
                <a:lnTo>
                  <a:pt x="102029" y="134243"/>
                </a:lnTo>
                <a:lnTo>
                  <a:pt x="102081" y="134243"/>
                </a:lnTo>
                <a:lnTo>
                  <a:pt x="102187" y="134349"/>
                </a:lnTo>
                <a:lnTo>
                  <a:pt x="102240" y="134401"/>
                </a:lnTo>
                <a:lnTo>
                  <a:pt x="102346" y="134454"/>
                </a:lnTo>
                <a:lnTo>
                  <a:pt x="102768" y="134401"/>
                </a:lnTo>
                <a:lnTo>
                  <a:pt x="102926" y="134296"/>
                </a:lnTo>
                <a:lnTo>
                  <a:pt x="102926" y="134243"/>
                </a:lnTo>
                <a:lnTo>
                  <a:pt x="102926" y="134190"/>
                </a:lnTo>
                <a:lnTo>
                  <a:pt x="102926" y="134085"/>
                </a:lnTo>
                <a:lnTo>
                  <a:pt x="102926" y="134032"/>
                </a:lnTo>
                <a:lnTo>
                  <a:pt x="102821" y="134032"/>
                </a:lnTo>
                <a:lnTo>
                  <a:pt x="102821" y="133926"/>
                </a:lnTo>
                <a:lnTo>
                  <a:pt x="102874" y="133873"/>
                </a:lnTo>
                <a:lnTo>
                  <a:pt x="102926" y="133820"/>
                </a:lnTo>
                <a:lnTo>
                  <a:pt x="103032" y="133715"/>
                </a:lnTo>
                <a:lnTo>
                  <a:pt x="102926" y="133715"/>
                </a:lnTo>
                <a:lnTo>
                  <a:pt x="102768" y="133820"/>
                </a:lnTo>
                <a:lnTo>
                  <a:pt x="102715" y="133820"/>
                </a:lnTo>
                <a:lnTo>
                  <a:pt x="102662" y="133768"/>
                </a:lnTo>
                <a:lnTo>
                  <a:pt x="102610" y="133609"/>
                </a:lnTo>
                <a:lnTo>
                  <a:pt x="102504" y="133556"/>
                </a:lnTo>
                <a:lnTo>
                  <a:pt x="102504" y="133504"/>
                </a:lnTo>
                <a:lnTo>
                  <a:pt x="102557" y="133451"/>
                </a:lnTo>
                <a:lnTo>
                  <a:pt x="102557" y="133398"/>
                </a:lnTo>
                <a:lnTo>
                  <a:pt x="102610" y="133292"/>
                </a:lnTo>
                <a:lnTo>
                  <a:pt x="102451" y="133240"/>
                </a:lnTo>
                <a:lnTo>
                  <a:pt x="102398" y="133187"/>
                </a:lnTo>
                <a:lnTo>
                  <a:pt x="102346" y="132976"/>
                </a:lnTo>
                <a:lnTo>
                  <a:pt x="102293" y="132923"/>
                </a:lnTo>
                <a:lnTo>
                  <a:pt x="102134" y="132923"/>
                </a:lnTo>
                <a:lnTo>
                  <a:pt x="102240" y="132659"/>
                </a:lnTo>
                <a:lnTo>
                  <a:pt x="102346" y="132500"/>
                </a:lnTo>
                <a:lnTo>
                  <a:pt x="102346" y="132395"/>
                </a:lnTo>
                <a:lnTo>
                  <a:pt x="102346" y="132342"/>
                </a:lnTo>
                <a:lnTo>
                  <a:pt x="102346" y="132289"/>
                </a:lnTo>
                <a:lnTo>
                  <a:pt x="102346" y="132236"/>
                </a:lnTo>
                <a:lnTo>
                  <a:pt x="102346" y="132183"/>
                </a:lnTo>
                <a:lnTo>
                  <a:pt x="102346" y="132131"/>
                </a:lnTo>
                <a:lnTo>
                  <a:pt x="102187" y="132131"/>
                </a:lnTo>
                <a:lnTo>
                  <a:pt x="102081" y="132078"/>
                </a:lnTo>
                <a:lnTo>
                  <a:pt x="102081" y="131919"/>
                </a:lnTo>
                <a:lnTo>
                  <a:pt x="102134" y="131867"/>
                </a:lnTo>
                <a:lnTo>
                  <a:pt x="102346" y="131602"/>
                </a:lnTo>
                <a:lnTo>
                  <a:pt x="102346" y="131391"/>
                </a:lnTo>
                <a:lnTo>
                  <a:pt x="102240" y="131233"/>
                </a:lnTo>
                <a:lnTo>
                  <a:pt x="102240" y="131180"/>
                </a:lnTo>
                <a:lnTo>
                  <a:pt x="102346" y="131127"/>
                </a:lnTo>
                <a:lnTo>
                  <a:pt x="102398" y="131022"/>
                </a:lnTo>
                <a:lnTo>
                  <a:pt x="102398" y="130916"/>
                </a:lnTo>
                <a:lnTo>
                  <a:pt x="102346" y="130863"/>
                </a:lnTo>
                <a:lnTo>
                  <a:pt x="102346" y="130810"/>
                </a:lnTo>
                <a:lnTo>
                  <a:pt x="102346" y="130758"/>
                </a:lnTo>
                <a:lnTo>
                  <a:pt x="102134" y="130705"/>
                </a:lnTo>
                <a:lnTo>
                  <a:pt x="102240" y="130599"/>
                </a:lnTo>
                <a:lnTo>
                  <a:pt x="102187" y="130546"/>
                </a:lnTo>
                <a:lnTo>
                  <a:pt x="101976" y="130546"/>
                </a:lnTo>
                <a:lnTo>
                  <a:pt x="101923" y="130388"/>
                </a:lnTo>
                <a:lnTo>
                  <a:pt x="101870" y="130388"/>
                </a:lnTo>
                <a:lnTo>
                  <a:pt x="101765" y="130335"/>
                </a:lnTo>
                <a:lnTo>
                  <a:pt x="101342" y="130335"/>
                </a:lnTo>
                <a:lnTo>
                  <a:pt x="101237" y="130493"/>
                </a:lnTo>
                <a:lnTo>
                  <a:pt x="100920" y="130546"/>
                </a:lnTo>
                <a:lnTo>
                  <a:pt x="100603" y="130493"/>
                </a:lnTo>
                <a:lnTo>
                  <a:pt x="100497" y="130441"/>
                </a:lnTo>
                <a:lnTo>
                  <a:pt x="100497" y="130388"/>
                </a:lnTo>
                <a:lnTo>
                  <a:pt x="100497" y="130335"/>
                </a:lnTo>
                <a:lnTo>
                  <a:pt x="100392" y="130229"/>
                </a:lnTo>
                <a:lnTo>
                  <a:pt x="100339" y="130071"/>
                </a:lnTo>
                <a:lnTo>
                  <a:pt x="100286" y="129913"/>
                </a:lnTo>
                <a:lnTo>
                  <a:pt x="100233" y="129754"/>
                </a:lnTo>
                <a:lnTo>
                  <a:pt x="100233" y="129701"/>
                </a:lnTo>
                <a:lnTo>
                  <a:pt x="100180" y="129596"/>
                </a:lnTo>
                <a:lnTo>
                  <a:pt x="100128" y="129543"/>
                </a:lnTo>
                <a:lnTo>
                  <a:pt x="100022" y="129490"/>
                </a:lnTo>
                <a:close/>
                <a:moveTo>
                  <a:pt x="175170" y="138626"/>
                </a:moveTo>
                <a:lnTo>
                  <a:pt x="175170" y="138653"/>
                </a:lnTo>
                <a:lnTo>
                  <a:pt x="175170" y="138653"/>
                </a:lnTo>
                <a:lnTo>
                  <a:pt x="175223" y="138626"/>
                </a:lnTo>
                <a:close/>
                <a:moveTo>
                  <a:pt x="194129" y="138679"/>
                </a:moveTo>
                <a:lnTo>
                  <a:pt x="194076" y="138732"/>
                </a:lnTo>
                <a:lnTo>
                  <a:pt x="193918" y="138996"/>
                </a:lnTo>
                <a:lnTo>
                  <a:pt x="193918" y="139101"/>
                </a:lnTo>
                <a:lnTo>
                  <a:pt x="194023" y="139101"/>
                </a:lnTo>
                <a:lnTo>
                  <a:pt x="194076" y="138996"/>
                </a:lnTo>
                <a:lnTo>
                  <a:pt x="194129" y="138785"/>
                </a:lnTo>
                <a:lnTo>
                  <a:pt x="194129" y="138679"/>
                </a:lnTo>
                <a:close/>
                <a:moveTo>
                  <a:pt x="175170" y="138653"/>
                </a:moveTo>
                <a:lnTo>
                  <a:pt x="175118" y="138679"/>
                </a:lnTo>
                <a:lnTo>
                  <a:pt x="174748" y="138785"/>
                </a:lnTo>
                <a:lnTo>
                  <a:pt x="174695" y="138890"/>
                </a:lnTo>
                <a:lnTo>
                  <a:pt x="174589" y="139207"/>
                </a:lnTo>
                <a:lnTo>
                  <a:pt x="174695" y="139207"/>
                </a:lnTo>
                <a:lnTo>
                  <a:pt x="174748" y="139154"/>
                </a:lnTo>
                <a:lnTo>
                  <a:pt x="174801" y="138996"/>
                </a:lnTo>
                <a:lnTo>
                  <a:pt x="174853" y="138943"/>
                </a:lnTo>
                <a:lnTo>
                  <a:pt x="175012" y="138943"/>
                </a:lnTo>
                <a:lnTo>
                  <a:pt x="175065" y="138890"/>
                </a:lnTo>
                <a:lnTo>
                  <a:pt x="175065" y="138943"/>
                </a:lnTo>
                <a:lnTo>
                  <a:pt x="175065" y="138996"/>
                </a:lnTo>
                <a:lnTo>
                  <a:pt x="175118" y="138943"/>
                </a:lnTo>
                <a:lnTo>
                  <a:pt x="175118" y="138732"/>
                </a:lnTo>
                <a:lnTo>
                  <a:pt x="175170" y="138679"/>
                </a:lnTo>
                <a:lnTo>
                  <a:pt x="175170" y="138653"/>
                </a:lnTo>
                <a:close/>
                <a:moveTo>
                  <a:pt x="160595" y="138996"/>
                </a:moveTo>
                <a:lnTo>
                  <a:pt x="160278" y="139049"/>
                </a:lnTo>
                <a:lnTo>
                  <a:pt x="160225" y="139049"/>
                </a:lnTo>
                <a:lnTo>
                  <a:pt x="160067" y="139207"/>
                </a:lnTo>
                <a:lnTo>
                  <a:pt x="159961" y="139207"/>
                </a:lnTo>
                <a:lnTo>
                  <a:pt x="159908" y="139313"/>
                </a:lnTo>
                <a:lnTo>
                  <a:pt x="159855" y="139418"/>
                </a:lnTo>
                <a:lnTo>
                  <a:pt x="159855" y="139471"/>
                </a:lnTo>
                <a:lnTo>
                  <a:pt x="159855" y="139630"/>
                </a:lnTo>
                <a:lnTo>
                  <a:pt x="159961" y="139630"/>
                </a:lnTo>
                <a:lnTo>
                  <a:pt x="160014" y="139735"/>
                </a:lnTo>
                <a:lnTo>
                  <a:pt x="160120" y="139788"/>
                </a:lnTo>
                <a:lnTo>
                  <a:pt x="160542" y="139630"/>
                </a:lnTo>
                <a:lnTo>
                  <a:pt x="160700" y="139577"/>
                </a:lnTo>
                <a:lnTo>
                  <a:pt x="160806" y="139418"/>
                </a:lnTo>
                <a:lnTo>
                  <a:pt x="160806" y="139260"/>
                </a:lnTo>
                <a:lnTo>
                  <a:pt x="160595" y="138996"/>
                </a:lnTo>
                <a:close/>
                <a:moveTo>
                  <a:pt x="173480" y="139154"/>
                </a:moveTo>
                <a:lnTo>
                  <a:pt x="173375" y="139207"/>
                </a:lnTo>
                <a:lnTo>
                  <a:pt x="173322" y="139418"/>
                </a:lnTo>
                <a:lnTo>
                  <a:pt x="173269" y="139524"/>
                </a:lnTo>
                <a:lnTo>
                  <a:pt x="173164" y="139577"/>
                </a:lnTo>
                <a:lnTo>
                  <a:pt x="173005" y="139788"/>
                </a:lnTo>
                <a:lnTo>
                  <a:pt x="173111" y="139946"/>
                </a:lnTo>
                <a:lnTo>
                  <a:pt x="173269" y="139999"/>
                </a:lnTo>
                <a:lnTo>
                  <a:pt x="173375" y="139999"/>
                </a:lnTo>
                <a:lnTo>
                  <a:pt x="173480" y="139946"/>
                </a:lnTo>
                <a:lnTo>
                  <a:pt x="173586" y="139841"/>
                </a:lnTo>
                <a:lnTo>
                  <a:pt x="173850" y="139366"/>
                </a:lnTo>
                <a:lnTo>
                  <a:pt x="173744" y="139207"/>
                </a:lnTo>
                <a:lnTo>
                  <a:pt x="173639" y="139154"/>
                </a:lnTo>
                <a:close/>
                <a:moveTo>
                  <a:pt x="136249" y="141320"/>
                </a:moveTo>
                <a:lnTo>
                  <a:pt x="136302" y="141372"/>
                </a:lnTo>
                <a:lnTo>
                  <a:pt x="136302" y="141425"/>
                </a:lnTo>
                <a:lnTo>
                  <a:pt x="136302" y="141478"/>
                </a:lnTo>
                <a:lnTo>
                  <a:pt x="136302" y="141584"/>
                </a:lnTo>
                <a:lnTo>
                  <a:pt x="136408" y="141584"/>
                </a:lnTo>
                <a:lnTo>
                  <a:pt x="136408" y="141689"/>
                </a:lnTo>
                <a:lnTo>
                  <a:pt x="136302" y="141689"/>
                </a:lnTo>
                <a:lnTo>
                  <a:pt x="136249" y="141584"/>
                </a:lnTo>
                <a:lnTo>
                  <a:pt x="136249" y="141478"/>
                </a:lnTo>
                <a:lnTo>
                  <a:pt x="136249" y="141320"/>
                </a:lnTo>
                <a:close/>
                <a:moveTo>
                  <a:pt x="165717" y="143115"/>
                </a:moveTo>
                <a:lnTo>
                  <a:pt x="165717" y="143326"/>
                </a:lnTo>
                <a:lnTo>
                  <a:pt x="165717" y="143485"/>
                </a:lnTo>
                <a:lnTo>
                  <a:pt x="165506" y="143485"/>
                </a:lnTo>
                <a:lnTo>
                  <a:pt x="165506" y="143590"/>
                </a:lnTo>
                <a:lnTo>
                  <a:pt x="165612" y="143590"/>
                </a:lnTo>
                <a:lnTo>
                  <a:pt x="166034" y="143538"/>
                </a:lnTo>
                <a:lnTo>
                  <a:pt x="166087" y="143538"/>
                </a:lnTo>
                <a:lnTo>
                  <a:pt x="166140" y="143379"/>
                </a:lnTo>
                <a:lnTo>
                  <a:pt x="166193" y="143326"/>
                </a:lnTo>
                <a:lnTo>
                  <a:pt x="166245" y="143326"/>
                </a:lnTo>
                <a:lnTo>
                  <a:pt x="166351" y="143379"/>
                </a:lnTo>
                <a:lnTo>
                  <a:pt x="166404" y="143326"/>
                </a:lnTo>
                <a:lnTo>
                  <a:pt x="166404" y="143273"/>
                </a:lnTo>
                <a:lnTo>
                  <a:pt x="166404" y="143221"/>
                </a:lnTo>
                <a:lnTo>
                  <a:pt x="165876" y="143221"/>
                </a:lnTo>
                <a:lnTo>
                  <a:pt x="165717" y="143115"/>
                </a:lnTo>
                <a:close/>
                <a:moveTo>
                  <a:pt x="167090" y="143326"/>
                </a:moveTo>
                <a:lnTo>
                  <a:pt x="167090" y="143379"/>
                </a:lnTo>
                <a:lnTo>
                  <a:pt x="167038" y="143379"/>
                </a:lnTo>
                <a:lnTo>
                  <a:pt x="167038" y="143485"/>
                </a:lnTo>
                <a:lnTo>
                  <a:pt x="166932" y="143590"/>
                </a:lnTo>
                <a:lnTo>
                  <a:pt x="166932" y="143643"/>
                </a:lnTo>
                <a:lnTo>
                  <a:pt x="166932" y="143696"/>
                </a:lnTo>
                <a:lnTo>
                  <a:pt x="166985" y="143696"/>
                </a:lnTo>
                <a:lnTo>
                  <a:pt x="166985" y="143590"/>
                </a:lnTo>
                <a:lnTo>
                  <a:pt x="167038" y="143538"/>
                </a:lnTo>
                <a:lnTo>
                  <a:pt x="167196" y="143432"/>
                </a:lnTo>
                <a:lnTo>
                  <a:pt x="167196" y="143379"/>
                </a:lnTo>
                <a:lnTo>
                  <a:pt x="167090" y="143326"/>
                </a:lnTo>
                <a:close/>
                <a:moveTo>
                  <a:pt x="138732" y="143696"/>
                </a:moveTo>
                <a:lnTo>
                  <a:pt x="138732" y="143749"/>
                </a:lnTo>
                <a:lnTo>
                  <a:pt x="138679" y="143749"/>
                </a:lnTo>
                <a:lnTo>
                  <a:pt x="138679" y="143802"/>
                </a:lnTo>
                <a:lnTo>
                  <a:pt x="138679" y="143907"/>
                </a:lnTo>
                <a:lnTo>
                  <a:pt x="138679" y="144013"/>
                </a:lnTo>
                <a:lnTo>
                  <a:pt x="138626" y="143960"/>
                </a:lnTo>
                <a:lnTo>
                  <a:pt x="138626" y="143907"/>
                </a:lnTo>
                <a:lnTo>
                  <a:pt x="138573" y="143802"/>
                </a:lnTo>
                <a:lnTo>
                  <a:pt x="138573" y="143749"/>
                </a:lnTo>
                <a:lnTo>
                  <a:pt x="138573" y="143696"/>
                </a:lnTo>
                <a:close/>
                <a:moveTo>
                  <a:pt x="128275" y="144277"/>
                </a:moveTo>
                <a:lnTo>
                  <a:pt x="128275" y="144330"/>
                </a:lnTo>
                <a:lnTo>
                  <a:pt x="128328" y="144382"/>
                </a:lnTo>
                <a:lnTo>
                  <a:pt x="128381" y="144382"/>
                </a:lnTo>
                <a:lnTo>
                  <a:pt x="128381" y="144277"/>
                </a:lnTo>
                <a:close/>
                <a:moveTo>
                  <a:pt x="128381" y="144382"/>
                </a:moveTo>
                <a:lnTo>
                  <a:pt x="128381" y="144435"/>
                </a:lnTo>
                <a:lnTo>
                  <a:pt x="128486" y="144541"/>
                </a:lnTo>
                <a:lnTo>
                  <a:pt x="128486" y="144488"/>
                </a:lnTo>
                <a:lnTo>
                  <a:pt x="128486" y="144382"/>
                </a:lnTo>
                <a:close/>
                <a:moveTo>
                  <a:pt x="127430" y="145280"/>
                </a:moveTo>
                <a:lnTo>
                  <a:pt x="127377" y="145386"/>
                </a:lnTo>
                <a:lnTo>
                  <a:pt x="127325" y="145703"/>
                </a:lnTo>
                <a:lnTo>
                  <a:pt x="127325" y="145756"/>
                </a:lnTo>
                <a:lnTo>
                  <a:pt x="127325" y="145808"/>
                </a:lnTo>
                <a:lnTo>
                  <a:pt x="127430" y="145808"/>
                </a:lnTo>
                <a:lnTo>
                  <a:pt x="127483" y="145756"/>
                </a:lnTo>
                <a:lnTo>
                  <a:pt x="127536" y="145650"/>
                </a:lnTo>
                <a:lnTo>
                  <a:pt x="127589" y="145544"/>
                </a:lnTo>
                <a:lnTo>
                  <a:pt x="127589" y="145439"/>
                </a:lnTo>
                <a:lnTo>
                  <a:pt x="127589" y="145333"/>
                </a:lnTo>
                <a:lnTo>
                  <a:pt x="127536" y="145280"/>
                </a:lnTo>
                <a:close/>
                <a:moveTo>
                  <a:pt x="128011" y="145439"/>
                </a:moveTo>
                <a:lnTo>
                  <a:pt x="128011" y="145650"/>
                </a:lnTo>
                <a:lnTo>
                  <a:pt x="128011" y="145703"/>
                </a:lnTo>
                <a:lnTo>
                  <a:pt x="128011" y="145756"/>
                </a:lnTo>
                <a:lnTo>
                  <a:pt x="128011" y="145861"/>
                </a:lnTo>
                <a:lnTo>
                  <a:pt x="128117" y="145914"/>
                </a:lnTo>
                <a:lnTo>
                  <a:pt x="128064" y="146020"/>
                </a:lnTo>
                <a:lnTo>
                  <a:pt x="128117" y="146178"/>
                </a:lnTo>
                <a:lnTo>
                  <a:pt x="128170" y="146178"/>
                </a:lnTo>
                <a:lnTo>
                  <a:pt x="128222" y="146072"/>
                </a:lnTo>
                <a:lnTo>
                  <a:pt x="128222" y="146020"/>
                </a:lnTo>
                <a:lnTo>
                  <a:pt x="128222" y="145914"/>
                </a:lnTo>
                <a:lnTo>
                  <a:pt x="128170" y="145861"/>
                </a:lnTo>
                <a:lnTo>
                  <a:pt x="128117" y="145861"/>
                </a:lnTo>
                <a:lnTo>
                  <a:pt x="128117" y="145808"/>
                </a:lnTo>
                <a:lnTo>
                  <a:pt x="128117" y="145650"/>
                </a:lnTo>
                <a:lnTo>
                  <a:pt x="128117" y="145544"/>
                </a:lnTo>
                <a:lnTo>
                  <a:pt x="128064" y="145439"/>
                </a:lnTo>
                <a:close/>
                <a:moveTo>
                  <a:pt x="129384" y="146495"/>
                </a:moveTo>
                <a:lnTo>
                  <a:pt x="129384" y="146548"/>
                </a:lnTo>
                <a:lnTo>
                  <a:pt x="129437" y="146706"/>
                </a:lnTo>
                <a:lnTo>
                  <a:pt x="129543" y="146548"/>
                </a:lnTo>
                <a:lnTo>
                  <a:pt x="129437" y="146495"/>
                </a:lnTo>
                <a:close/>
                <a:moveTo>
                  <a:pt x="126004" y="144594"/>
                </a:moveTo>
                <a:lnTo>
                  <a:pt x="125001" y="145227"/>
                </a:lnTo>
                <a:lnTo>
                  <a:pt x="124631" y="145333"/>
                </a:lnTo>
                <a:lnTo>
                  <a:pt x="124578" y="145333"/>
                </a:lnTo>
                <a:lnTo>
                  <a:pt x="124314" y="145492"/>
                </a:lnTo>
                <a:lnTo>
                  <a:pt x="124262" y="145597"/>
                </a:lnTo>
                <a:lnTo>
                  <a:pt x="124262" y="145650"/>
                </a:lnTo>
                <a:lnTo>
                  <a:pt x="124156" y="146020"/>
                </a:lnTo>
                <a:lnTo>
                  <a:pt x="124156" y="146072"/>
                </a:lnTo>
                <a:lnTo>
                  <a:pt x="124103" y="146072"/>
                </a:lnTo>
                <a:lnTo>
                  <a:pt x="123945" y="145914"/>
                </a:lnTo>
                <a:lnTo>
                  <a:pt x="123945" y="145914"/>
                </a:lnTo>
                <a:lnTo>
                  <a:pt x="124050" y="146125"/>
                </a:lnTo>
                <a:lnTo>
                  <a:pt x="124156" y="146336"/>
                </a:lnTo>
                <a:lnTo>
                  <a:pt x="124156" y="146495"/>
                </a:lnTo>
                <a:lnTo>
                  <a:pt x="124103" y="146548"/>
                </a:lnTo>
                <a:lnTo>
                  <a:pt x="124103" y="146653"/>
                </a:lnTo>
                <a:lnTo>
                  <a:pt x="124103" y="146706"/>
                </a:lnTo>
                <a:lnTo>
                  <a:pt x="124103" y="146812"/>
                </a:lnTo>
                <a:lnTo>
                  <a:pt x="124103" y="146865"/>
                </a:lnTo>
                <a:lnTo>
                  <a:pt x="124262" y="146970"/>
                </a:lnTo>
                <a:lnTo>
                  <a:pt x="124737" y="146970"/>
                </a:lnTo>
                <a:lnTo>
                  <a:pt x="124843" y="146917"/>
                </a:lnTo>
                <a:lnTo>
                  <a:pt x="125001" y="146812"/>
                </a:lnTo>
                <a:lnTo>
                  <a:pt x="125054" y="146653"/>
                </a:lnTo>
                <a:lnTo>
                  <a:pt x="125212" y="146284"/>
                </a:lnTo>
                <a:lnTo>
                  <a:pt x="125371" y="146020"/>
                </a:lnTo>
                <a:lnTo>
                  <a:pt x="125423" y="145967"/>
                </a:lnTo>
                <a:lnTo>
                  <a:pt x="125423" y="145914"/>
                </a:lnTo>
                <a:lnTo>
                  <a:pt x="125529" y="145544"/>
                </a:lnTo>
                <a:lnTo>
                  <a:pt x="125899" y="144911"/>
                </a:lnTo>
                <a:lnTo>
                  <a:pt x="126004" y="144699"/>
                </a:lnTo>
                <a:lnTo>
                  <a:pt x="126004" y="144647"/>
                </a:lnTo>
                <a:lnTo>
                  <a:pt x="126004" y="144594"/>
                </a:lnTo>
                <a:close/>
                <a:moveTo>
                  <a:pt x="165401" y="146125"/>
                </a:moveTo>
                <a:lnTo>
                  <a:pt x="165295" y="146178"/>
                </a:lnTo>
                <a:lnTo>
                  <a:pt x="165084" y="146178"/>
                </a:lnTo>
                <a:lnTo>
                  <a:pt x="164978" y="146231"/>
                </a:lnTo>
                <a:lnTo>
                  <a:pt x="164872" y="146389"/>
                </a:lnTo>
                <a:lnTo>
                  <a:pt x="164820" y="146442"/>
                </a:lnTo>
                <a:lnTo>
                  <a:pt x="164608" y="146495"/>
                </a:lnTo>
                <a:lnTo>
                  <a:pt x="164503" y="146601"/>
                </a:lnTo>
                <a:lnTo>
                  <a:pt x="164503" y="146759"/>
                </a:lnTo>
                <a:lnTo>
                  <a:pt x="164397" y="146917"/>
                </a:lnTo>
                <a:lnTo>
                  <a:pt x="164080" y="147023"/>
                </a:lnTo>
                <a:lnTo>
                  <a:pt x="164133" y="147023"/>
                </a:lnTo>
                <a:lnTo>
                  <a:pt x="164186" y="147076"/>
                </a:lnTo>
                <a:lnTo>
                  <a:pt x="164186" y="147129"/>
                </a:lnTo>
                <a:lnTo>
                  <a:pt x="164186" y="147234"/>
                </a:lnTo>
                <a:lnTo>
                  <a:pt x="164239" y="147340"/>
                </a:lnTo>
                <a:lnTo>
                  <a:pt x="164714" y="147604"/>
                </a:lnTo>
                <a:lnTo>
                  <a:pt x="164820" y="147604"/>
                </a:lnTo>
                <a:lnTo>
                  <a:pt x="164925" y="147551"/>
                </a:lnTo>
                <a:lnTo>
                  <a:pt x="165084" y="147340"/>
                </a:lnTo>
                <a:lnTo>
                  <a:pt x="165506" y="146917"/>
                </a:lnTo>
                <a:lnTo>
                  <a:pt x="165453" y="146812"/>
                </a:lnTo>
                <a:lnTo>
                  <a:pt x="165453" y="146706"/>
                </a:lnTo>
                <a:lnTo>
                  <a:pt x="165559" y="146442"/>
                </a:lnTo>
                <a:lnTo>
                  <a:pt x="165559" y="146389"/>
                </a:lnTo>
                <a:lnTo>
                  <a:pt x="165559" y="146231"/>
                </a:lnTo>
                <a:lnTo>
                  <a:pt x="165506" y="146125"/>
                </a:lnTo>
                <a:close/>
                <a:moveTo>
                  <a:pt x="163130" y="148977"/>
                </a:moveTo>
                <a:lnTo>
                  <a:pt x="163130" y="149083"/>
                </a:lnTo>
                <a:lnTo>
                  <a:pt x="163182" y="149188"/>
                </a:lnTo>
                <a:lnTo>
                  <a:pt x="163235" y="149241"/>
                </a:lnTo>
                <a:lnTo>
                  <a:pt x="163499" y="149294"/>
                </a:lnTo>
                <a:lnTo>
                  <a:pt x="163605" y="149364"/>
                </a:lnTo>
                <a:lnTo>
                  <a:pt x="163605" y="149364"/>
                </a:lnTo>
                <a:lnTo>
                  <a:pt x="163605" y="149294"/>
                </a:lnTo>
                <a:lnTo>
                  <a:pt x="163605" y="149188"/>
                </a:lnTo>
                <a:lnTo>
                  <a:pt x="163605" y="149135"/>
                </a:lnTo>
                <a:lnTo>
                  <a:pt x="163552" y="149135"/>
                </a:lnTo>
                <a:lnTo>
                  <a:pt x="163552" y="149083"/>
                </a:lnTo>
                <a:lnTo>
                  <a:pt x="163552" y="149030"/>
                </a:lnTo>
                <a:lnTo>
                  <a:pt x="163394" y="149030"/>
                </a:lnTo>
                <a:lnTo>
                  <a:pt x="163288" y="148977"/>
                </a:lnTo>
                <a:close/>
                <a:moveTo>
                  <a:pt x="163605" y="149364"/>
                </a:moveTo>
                <a:lnTo>
                  <a:pt x="163605" y="149399"/>
                </a:lnTo>
                <a:lnTo>
                  <a:pt x="163658" y="149399"/>
                </a:lnTo>
                <a:lnTo>
                  <a:pt x="163605" y="149364"/>
                </a:lnTo>
                <a:close/>
                <a:moveTo>
                  <a:pt x="168041" y="149505"/>
                </a:moveTo>
                <a:lnTo>
                  <a:pt x="167830" y="149558"/>
                </a:lnTo>
                <a:lnTo>
                  <a:pt x="167724" y="150033"/>
                </a:lnTo>
                <a:lnTo>
                  <a:pt x="167724" y="150139"/>
                </a:lnTo>
                <a:lnTo>
                  <a:pt x="167777" y="150244"/>
                </a:lnTo>
                <a:lnTo>
                  <a:pt x="167830" y="150297"/>
                </a:lnTo>
                <a:lnTo>
                  <a:pt x="167935" y="150297"/>
                </a:lnTo>
                <a:lnTo>
                  <a:pt x="168041" y="150244"/>
                </a:lnTo>
                <a:lnTo>
                  <a:pt x="168094" y="150139"/>
                </a:lnTo>
                <a:lnTo>
                  <a:pt x="168147" y="149980"/>
                </a:lnTo>
                <a:lnTo>
                  <a:pt x="168199" y="149716"/>
                </a:lnTo>
                <a:lnTo>
                  <a:pt x="168147" y="149505"/>
                </a:lnTo>
                <a:close/>
                <a:moveTo>
                  <a:pt x="249051" y="150244"/>
                </a:moveTo>
                <a:lnTo>
                  <a:pt x="249051" y="150297"/>
                </a:lnTo>
                <a:lnTo>
                  <a:pt x="249051" y="150403"/>
                </a:lnTo>
                <a:lnTo>
                  <a:pt x="248999" y="150403"/>
                </a:lnTo>
                <a:lnTo>
                  <a:pt x="248893" y="150508"/>
                </a:lnTo>
                <a:lnTo>
                  <a:pt x="248893" y="150456"/>
                </a:lnTo>
                <a:lnTo>
                  <a:pt x="248893" y="150350"/>
                </a:lnTo>
                <a:lnTo>
                  <a:pt x="248999" y="150244"/>
                </a:lnTo>
                <a:close/>
                <a:moveTo>
                  <a:pt x="161070" y="150508"/>
                </a:moveTo>
                <a:lnTo>
                  <a:pt x="160964" y="150561"/>
                </a:lnTo>
                <a:lnTo>
                  <a:pt x="160912" y="150614"/>
                </a:lnTo>
                <a:lnTo>
                  <a:pt x="160964" y="150720"/>
                </a:lnTo>
                <a:lnTo>
                  <a:pt x="160489" y="151248"/>
                </a:lnTo>
                <a:lnTo>
                  <a:pt x="160700" y="151406"/>
                </a:lnTo>
                <a:lnTo>
                  <a:pt x="160859" y="151406"/>
                </a:lnTo>
                <a:lnTo>
                  <a:pt x="161281" y="151353"/>
                </a:lnTo>
                <a:lnTo>
                  <a:pt x="161229" y="151301"/>
                </a:lnTo>
                <a:lnTo>
                  <a:pt x="161123" y="151089"/>
                </a:lnTo>
                <a:lnTo>
                  <a:pt x="161229" y="151089"/>
                </a:lnTo>
                <a:lnTo>
                  <a:pt x="161334" y="151195"/>
                </a:lnTo>
                <a:lnTo>
                  <a:pt x="161440" y="151512"/>
                </a:lnTo>
                <a:lnTo>
                  <a:pt x="161493" y="151565"/>
                </a:lnTo>
                <a:lnTo>
                  <a:pt x="161651" y="151565"/>
                </a:lnTo>
                <a:lnTo>
                  <a:pt x="161915" y="151723"/>
                </a:lnTo>
                <a:lnTo>
                  <a:pt x="162073" y="151776"/>
                </a:lnTo>
                <a:lnTo>
                  <a:pt x="162338" y="151934"/>
                </a:lnTo>
                <a:lnTo>
                  <a:pt x="162443" y="151987"/>
                </a:lnTo>
                <a:lnTo>
                  <a:pt x="162549" y="151987"/>
                </a:lnTo>
                <a:lnTo>
                  <a:pt x="162707" y="151882"/>
                </a:lnTo>
                <a:lnTo>
                  <a:pt x="162813" y="151882"/>
                </a:lnTo>
                <a:lnTo>
                  <a:pt x="162866" y="151934"/>
                </a:lnTo>
                <a:lnTo>
                  <a:pt x="162918" y="151934"/>
                </a:lnTo>
                <a:lnTo>
                  <a:pt x="162971" y="151882"/>
                </a:lnTo>
                <a:lnTo>
                  <a:pt x="162443" y="151565"/>
                </a:lnTo>
                <a:lnTo>
                  <a:pt x="162232" y="151512"/>
                </a:lnTo>
                <a:lnTo>
                  <a:pt x="162179" y="151459"/>
                </a:lnTo>
                <a:lnTo>
                  <a:pt x="162126" y="151248"/>
                </a:lnTo>
                <a:lnTo>
                  <a:pt x="162126" y="151195"/>
                </a:lnTo>
                <a:lnTo>
                  <a:pt x="162073" y="151142"/>
                </a:lnTo>
                <a:lnTo>
                  <a:pt x="161968" y="150984"/>
                </a:lnTo>
                <a:lnTo>
                  <a:pt x="161915" y="150931"/>
                </a:lnTo>
                <a:lnTo>
                  <a:pt x="161862" y="150931"/>
                </a:lnTo>
                <a:lnTo>
                  <a:pt x="161651" y="150984"/>
                </a:lnTo>
                <a:lnTo>
                  <a:pt x="161545" y="150931"/>
                </a:lnTo>
                <a:lnTo>
                  <a:pt x="161440" y="150825"/>
                </a:lnTo>
                <a:lnTo>
                  <a:pt x="161281" y="150561"/>
                </a:lnTo>
                <a:lnTo>
                  <a:pt x="161176" y="150508"/>
                </a:lnTo>
                <a:close/>
                <a:moveTo>
                  <a:pt x="164186" y="147604"/>
                </a:moveTo>
                <a:lnTo>
                  <a:pt x="164080" y="147710"/>
                </a:lnTo>
                <a:lnTo>
                  <a:pt x="164080" y="147815"/>
                </a:lnTo>
                <a:lnTo>
                  <a:pt x="164080" y="147921"/>
                </a:lnTo>
                <a:lnTo>
                  <a:pt x="164080" y="148026"/>
                </a:lnTo>
                <a:lnTo>
                  <a:pt x="164027" y="148079"/>
                </a:lnTo>
                <a:lnTo>
                  <a:pt x="164027" y="148026"/>
                </a:lnTo>
                <a:lnTo>
                  <a:pt x="164027" y="147921"/>
                </a:lnTo>
                <a:lnTo>
                  <a:pt x="163816" y="147921"/>
                </a:lnTo>
                <a:lnTo>
                  <a:pt x="163816" y="148026"/>
                </a:lnTo>
                <a:lnTo>
                  <a:pt x="163763" y="148238"/>
                </a:lnTo>
                <a:lnTo>
                  <a:pt x="163552" y="148290"/>
                </a:lnTo>
                <a:lnTo>
                  <a:pt x="163341" y="148290"/>
                </a:lnTo>
                <a:lnTo>
                  <a:pt x="163235" y="148343"/>
                </a:lnTo>
                <a:lnTo>
                  <a:pt x="163288" y="148449"/>
                </a:lnTo>
                <a:lnTo>
                  <a:pt x="163711" y="148660"/>
                </a:lnTo>
                <a:lnTo>
                  <a:pt x="163816" y="148766"/>
                </a:lnTo>
                <a:lnTo>
                  <a:pt x="163763" y="148819"/>
                </a:lnTo>
                <a:lnTo>
                  <a:pt x="163605" y="148819"/>
                </a:lnTo>
                <a:lnTo>
                  <a:pt x="163711" y="148924"/>
                </a:lnTo>
                <a:lnTo>
                  <a:pt x="163711" y="148977"/>
                </a:lnTo>
                <a:lnTo>
                  <a:pt x="163711" y="149135"/>
                </a:lnTo>
                <a:lnTo>
                  <a:pt x="163711" y="149294"/>
                </a:lnTo>
                <a:lnTo>
                  <a:pt x="163763" y="149399"/>
                </a:lnTo>
                <a:lnTo>
                  <a:pt x="163763" y="149558"/>
                </a:lnTo>
                <a:lnTo>
                  <a:pt x="163711" y="149663"/>
                </a:lnTo>
                <a:lnTo>
                  <a:pt x="163552" y="149399"/>
                </a:lnTo>
                <a:lnTo>
                  <a:pt x="163499" y="149399"/>
                </a:lnTo>
                <a:lnTo>
                  <a:pt x="163235" y="149505"/>
                </a:lnTo>
                <a:lnTo>
                  <a:pt x="163077" y="149399"/>
                </a:lnTo>
                <a:lnTo>
                  <a:pt x="162971" y="149347"/>
                </a:lnTo>
                <a:lnTo>
                  <a:pt x="162813" y="149241"/>
                </a:lnTo>
                <a:lnTo>
                  <a:pt x="162602" y="149241"/>
                </a:lnTo>
                <a:lnTo>
                  <a:pt x="162496" y="149347"/>
                </a:lnTo>
                <a:lnTo>
                  <a:pt x="162285" y="149558"/>
                </a:lnTo>
                <a:lnTo>
                  <a:pt x="162390" y="149769"/>
                </a:lnTo>
                <a:lnTo>
                  <a:pt x="162443" y="149875"/>
                </a:lnTo>
                <a:lnTo>
                  <a:pt x="162602" y="149875"/>
                </a:lnTo>
                <a:lnTo>
                  <a:pt x="162654" y="149928"/>
                </a:lnTo>
                <a:lnTo>
                  <a:pt x="162707" y="150033"/>
                </a:lnTo>
                <a:lnTo>
                  <a:pt x="162707" y="150086"/>
                </a:lnTo>
                <a:lnTo>
                  <a:pt x="163182" y="150403"/>
                </a:lnTo>
                <a:lnTo>
                  <a:pt x="163182" y="150508"/>
                </a:lnTo>
                <a:lnTo>
                  <a:pt x="163077" y="150508"/>
                </a:lnTo>
                <a:lnTo>
                  <a:pt x="162866" y="150350"/>
                </a:lnTo>
                <a:lnTo>
                  <a:pt x="162760" y="150297"/>
                </a:lnTo>
                <a:lnTo>
                  <a:pt x="162760" y="150403"/>
                </a:lnTo>
                <a:lnTo>
                  <a:pt x="162707" y="150297"/>
                </a:lnTo>
                <a:lnTo>
                  <a:pt x="162707" y="150244"/>
                </a:lnTo>
                <a:lnTo>
                  <a:pt x="162073" y="150033"/>
                </a:lnTo>
                <a:lnTo>
                  <a:pt x="161968" y="150033"/>
                </a:lnTo>
                <a:lnTo>
                  <a:pt x="161757" y="150403"/>
                </a:lnTo>
                <a:lnTo>
                  <a:pt x="161757" y="150508"/>
                </a:lnTo>
                <a:lnTo>
                  <a:pt x="161968" y="150825"/>
                </a:lnTo>
                <a:lnTo>
                  <a:pt x="162073" y="151037"/>
                </a:lnTo>
                <a:lnTo>
                  <a:pt x="162602" y="151037"/>
                </a:lnTo>
                <a:lnTo>
                  <a:pt x="162549" y="151142"/>
                </a:lnTo>
                <a:lnTo>
                  <a:pt x="162549" y="151301"/>
                </a:lnTo>
                <a:lnTo>
                  <a:pt x="162654" y="151512"/>
                </a:lnTo>
                <a:lnTo>
                  <a:pt x="162760" y="151617"/>
                </a:lnTo>
                <a:lnTo>
                  <a:pt x="163182" y="151882"/>
                </a:lnTo>
                <a:lnTo>
                  <a:pt x="163763" y="152093"/>
                </a:lnTo>
                <a:lnTo>
                  <a:pt x="163869" y="151987"/>
                </a:lnTo>
                <a:lnTo>
                  <a:pt x="163975" y="151829"/>
                </a:lnTo>
                <a:lnTo>
                  <a:pt x="163922" y="151459"/>
                </a:lnTo>
                <a:lnTo>
                  <a:pt x="163922" y="151301"/>
                </a:lnTo>
                <a:lnTo>
                  <a:pt x="163975" y="151459"/>
                </a:lnTo>
                <a:lnTo>
                  <a:pt x="164080" y="151512"/>
                </a:lnTo>
                <a:lnTo>
                  <a:pt x="164239" y="151512"/>
                </a:lnTo>
                <a:lnTo>
                  <a:pt x="164344" y="151406"/>
                </a:lnTo>
                <a:lnTo>
                  <a:pt x="164503" y="151406"/>
                </a:lnTo>
                <a:lnTo>
                  <a:pt x="164556" y="151353"/>
                </a:lnTo>
                <a:lnTo>
                  <a:pt x="164556" y="151195"/>
                </a:lnTo>
                <a:lnTo>
                  <a:pt x="164556" y="151142"/>
                </a:lnTo>
                <a:lnTo>
                  <a:pt x="164661" y="150984"/>
                </a:lnTo>
                <a:lnTo>
                  <a:pt x="164661" y="150878"/>
                </a:lnTo>
                <a:lnTo>
                  <a:pt x="164661" y="150773"/>
                </a:lnTo>
                <a:lnTo>
                  <a:pt x="164661" y="150403"/>
                </a:lnTo>
                <a:lnTo>
                  <a:pt x="164661" y="150297"/>
                </a:lnTo>
                <a:lnTo>
                  <a:pt x="164714" y="150192"/>
                </a:lnTo>
                <a:lnTo>
                  <a:pt x="164820" y="150192"/>
                </a:lnTo>
                <a:lnTo>
                  <a:pt x="164820" y="150297"/>
                </a:lnTo>
                <a:lnTo>
                  <a:pt x="164820" y="151089"/>
                </a:lnTo>
                <a:lnTo>
                  <a:pt x="164820" y="151195"/>
                </a:lnTo>
                <a:lnTo>
                  <a:pt x="164872" y="151301"/>
                </a:lnTo>
                <a:lnTo>
                  <a:pt x="164978" y="151089"/>
                </a:lnTo>
                <a:lnTo>
                  <a:pt x="165136" y="150931"/>
                </a:lnTo>
                <a:lnTo>
                  <a:pt x="165295" y="150825"/>
                </a:lnTo>
                <a:lnTo>
                  <a:pt x="165453" y="150878"/>
                </a:lnTo>
                <a:lnTo>
                  <a:pt x="165506" y="150931"/>
                </a:lnTo>
                <a:lnTo>
                  <a:pt x="165717" y="150931"/>
                </a:lnTo>
                <a:lnTo>
                  <a:pt x="165770" y="151089"/>
                </a:lnTo>
                <a:lnTo>
                  <a:pt x="165823" y="151089"/>
                </a:lnTo>
                <a:lnTo>
                  <a:pt x="165823" y="151037"/>
                </a:lnTo>
                <a:lnTo>
                  <a:pt x="165929" y="150878"/>
                </a:lnTo>
                <a:lnTo>
                  <a:pt x="165981" y="150825"/>
                </a:lnTo>
                <a:lnTo>
                  <a:pt x="166087" y="150878"/>
                </a:lnTo>
                <a:lnTo>
                  <a:pt x="166140" y="150825"/>
                </a:lnTo>
                <a:lnTo>
                  <a:pt x="166087" y="150773"/>
                </a:lnTo>
                <a:lnTo>
                  <a:pt x="165981" y="150667"/>
                </a:lnTo>
                <a:lnTo>
                  <a:pt x="165876" y="150561"/>
                </a:lnTo>
                <a:lnTo>
                  <a:pt x="165876" y="150508"/>
                </a:lnTo>
                <a:lnTo>
                  <a:pt x="165876" y="150350"/>
                </a:lnTo>
                <a:lnTo>
                  <a:pt x="165770" y="150350"/>
                </a:lnTo>
                <a:lnTo>
                  <a:pt x="165717" y="150297"/>
                </a:lnTo>
                <a:lnTo>
                  <a:pt x="165665" y="150192"/>
                </a:lnTo>
                <a:lnTo>
                  <a:pt x="165770" y="150192"/>
                </a:lnTo>
                <a:lnTo>
                  <a:pt x="165929" y="150350"/>
                </a:lnTo>
                <a:lnTo>
                  <a:pt x="165981" y="150350"/>
                </a:lnTo>
                <a:lnTo>
                  <a:pt x="166034" y="150297"/>
                </a:lnTo>
                <a:lnTo>
                  <a:pt x="166034" y="150192"/>
                </a:lnTo>
                <a:lnTo>
                  <a:pt x="165981" y="150139"/>
                </a:lnTo>
                <a:lnTo>
                  <a:pt x="165876" y="150139"/>
                </a:lnTo>
                <a:lnTo>
                  <a:pt x="165876" y="149980"/>
                </a:lnTo>
                <a:lnTo>
                  <a:pt x="165929" y="149822"/>
                </a:lnTo>
                <a:lnTo>
                  <a:pt x="165981" y="149769"/>
                </a:lnTo>
                <a:lnTo>
                  <a:pt x="166087" y="149822"/>
                </a:lnTo>
                <a:lnTo>
                  <a:pt x="166087" y="149716"/>
                </a:lnTo>
                <a:lnTo>
                  <a:pt x="166140" y="149769"/>
                </a:lnTo>
                <a:lnTo>
                  <a:pt x="166193" y="149663"/>
                </a:lnTo>
                <a:lnTo>
                  <a:pt x="166298" y="149822"/>
                </a:lnTo>
                <a:lnTo>
                  <a:pt x="166351" y="150244"/>
                </a:lnTo>
                <a:lnTo>
                  <a:pt x="166457" y="150403"/>
                </a:lnTo>
                <a:lnTo>
                  <a:pt x="166774" y="150561"/>
                </a:lnTo>
                <a:lnTo>
                  <a:pt x="166826" y="150720"/>
                </a:lnTo>
                <a:lnTo>
                  <a:pt x="167090" y="150508"/>
                </a:lnTo>
                <a:lnTo>
                  <a:pt x="167090" y="150456"/>
                </a:lnTo>
                <a:lnTo>
                  <a:pt x="167090" y="150350"/>
                </a:lnTo>
                <a:lnTo>
                  <a:pt x="167090" y="150297"/>
                </a:lnTo>
                <a:lnTo>
                  <a:pt x="167196" y="150192"/>
                </a:lnTo>
                <a:lnTo>
                  <a:pt x="167354" y="150033"/>
                </a:lnTo>
                <a:lnTo>
                  <a:pt x="167460" y="149928"/>
                </a:lnTo>
                <a:lnTo>
                  <a:pt x="167407" y="149822"/>
                </a:lnTo>
                <a:lnTo>
                  <a:pt x="167460" y="149505"/>
                </a:lnTo>
                <a:lnTo>
                  <a:pt x="167407" y="149452"/>
                </a:lnTo>
                <a:lnTo>
                  <a:pt x="167460" y="149294"/>
                </a:lnTo>
                <a:lnTo>
                  <a:pt x="167354" y="149083"/>
                </a:lnTo>
                <a:lnTo>
                  <a:pt x="167354" y="148977"/>
                </a:lnTo>
                <a:lnTo>
                  <a:pt x="167302" y="148871"/>
                </a:lnTo>
                <a:lnTo>
                  <a:pt x="167249" y="148819"/>
                </a:lnTo>
                <a:lnTo>
                  <a:pt x="167196" y="148819"/>
                </a:lnTo>
                <a:lnTo>
                  <a:pt x="167143" y="148871"/>
                </a:lnTo>
                <a:lnTo>
                  <a:pt x="167143" y="149030"/>
                </a:lnTo>
                <a:lnTo>
                  <a:pt x="167090" y="149241"/>
                </a:lnTo>
                <a:lnTo>
                  <a:pt x="166985" y="149399"/>
                </a:lnTo>
                <a:lnTo>
                  <a:pt x="166879" y="149452"/>
                </a:lnTo>
                <a:lnTo>
                  <a:pt x="166879" y="149241"/>
                </a:lnTo>
                <a:lnTo>
                  <a:pt x="166826" y="149135"/>
                </a:lnTo>
                <a:lnTo>
                  <a:pt x="166721" y="149188"/>
                </a:lnTo>
                <a:lnTo>
                  <a:pt x="166721" y="149347"/>
                </a:lnTo>
                <a:lnTo>
                  <a:pt x="166721" y="149505"/>
                </a:lnTo>
                <a:lnTo>
                  <a:pt x="166668" y="149663"/>
                </a:lnTo>
                <a:lnTo>
                  <a:pt x="166615" y="149822"/>
                </a:lnTo>
                <a:lnTo>
                  <a:pt x="166562" y="149875"/>
                </a:lnTo>
                <a:lnTo>
                  <a:pt x="166510" y="149611"/>
                </a:lnTo>
                <a:lnTo>
                  <a:pt x="166562" y="149241"/>
                </a:lnTo>
                <a:lnTo>
                  <a:pt x="166774" y="148660"/>
                </a:lnTo>
                <a:lnTo>
                  <a:pt x="166826" y="148607"/>
                </a:lnTo>
                <a:lnTo>
                  <a:pt x="166774" y="148554"/>
                </a:lnTo>
                <a:lnTo>
                  <a:pt x="166721" y="148449"/>
                </a:lnTo>
                <a:lnTo>
                  <a:pt x="166668" y="148343"/>
                </a:lnTo>
                <a:lnTo>
                  <a:pt x="166562" y="148449"/>
                </a:lnTo>
                <a:lnTo>
                  <a:pt x="166510" y="148502"/>
                </a:lnTo>
                <a:lnTo>
                  <a:pt x="166298" y="148819"/>
                </a:lnTo>
                <a:lnTo>
                  <a:pt x="166245" y="148819"/>
                </a:lnTo>
                <a:lnTo>
                  <a:pt x="166087" y="148713"/>
                </a:lnTo>
                <a:lnTo>
                  <a:pt x="166034" y="148607"/>
                </a:lnTo>
                <a:lnTo>
                  <a:pt x="165981" y="148502"/>
                </a:lnTo>
                <a:lnTo>
                  <a:pt x="166034" y="148449"/>
                </a:lnTo>
                <a:lnTo>
                  <a:pt x="165929" y="148343"/>
                </a:lnTo>
                <a:lnTo>
                  <a:pt x="165929" y="148290"/>
                </a:lnTo>
                <a:lnTo>
                  <a:pt x="165929" y="148238"/>
                </a:lnTo>
                <a:lnTo>
                  <a:pt x="165823" y="148132"/>
                </a:lnTo>
                <a:lnTo>
                  <a:pt x="165770" y="148132"/>
                </a:lnTo>
                <a:lnTo>
                  <a:pt x="165665" y="148238"/>
                </a:lnTo>
                <a:lnTo>
                  <a:pt x="165612" y="148238"/>
                </a:lnTo>
                <a:lnTo>
                  <a:pt x="165506" y="148185"/>
                </a:lnTo>
                <a:lnTo>
                  <a:pt x="165453" y="148238"/>
                </a:lnTo>
                <a:lnTo>
                  <a:pt x="165453" y="148396"/>
                </a:lnTo>
                <a:lnTo>
                  <a:pt x="165453" y="148554"/>
                </a:lnTo>
                <a:lnTo>
                  <a:pt x="165401" y="148713"/>
                </a:lnTo>
                <a:lnTo>
                  <a:pt x="165401" y="148819"/>
                </a:lnTo>
                <a:lnTo>
                  <a:pt x="165401" y="148871"/>
                </a:lnTo>
                <a:lnTo>
                  <a:pt x="165295" y="149030"/>
                </a:lnTo>
                <a:lnTo>
                  <a:pt x="165189" y="149083"/>
                </a:lnTo>
                <a:lnTo>
                  <a:pt x="165295" y="148819"/>
                </a:lnTo>
                <a:lnTo>
                  <a:pt x="165295" y="148713"/>
                </a:lnTo>
                <a:lnTo>
                  <a:pt x="165242" y="148660"/>
                </a:lnTo>
                <a:lnTo>
                  <a:pt x="165136" y="148660"/>
                </a:lnTo>
                <a:lnTo>
                  <a:pt x="165136" y="148713"/>
                </a:lnTo>
                <a:lnTo>
                  <a:pt x="165084" y="148766"/>
                </a:lnTo>
                <a:lnTo>
                  <a:pt x="164978" y="148766"/>
                </a:lnTo>
                <a:lnTo>
                  <a:pt x="164925" y="148660"/>
                </a:lnTo>
                <a:lnTo>
                  <a:pt x="164925" y="148502"/>
                </a:lnTo>
                <a:lnTo>
                  <a:pt x="165031" y="148396"/>
                </a:lnTo>
                <a:lnTo>
                  <a:pt x="164978" y="148343"/>
                </a:lnTo>
                <a:lnTo>
                  <a:pt x="164872" y="148290"/>
                </a:lnTo>
                <a:lnTo>
                  <a:pt x="164714" y="148290"/>
                </a:lnTo>
                <a:lnTo>
                  <a:pt x="164714" y="148185"/>
                </a:lnTo>
                <a:lnTo>
                  <a:pt x="164820" y="147974"/>
                </a:lnTo>
                <a:lnTo>
                  <a:pt x="164820" y="147868"/>
                </a:lnTo>
                <a:lnTo>
                  <a:pt x="164556" y="147815"/>
                </a:lnTo>
                <a:lnTo>
                  <a:pt x="164397" y="147815"/>
                </a:lnTo>
                <a:lnTo>
                  <a:pt x="164397" y="147762"/>
                </a:lnTo>
                <a:lnTo>
                  <a:pt x="164344" y="147657"/>
                </a:lnTo>
                <a:lnTo>
                  <a:pt x="164239" y="147604"/>
                </a:lnTo>
                <a:close/>
                <a:moveTo>
                  <a:pt x="163711" y="152146"/>
                </a:moveTo>
                <a:lnTo>
                  <a:pt x="163341" y="152198"/>
                </a:lnTo>
                <a:lnTo>
                  <a:pt x="163235" y="152251"/>
                </a:lnTo>
                <a:lnTo>
                  <a:pt x="163182" y="152357"/>
                </a:lnTo>
                <a:lnTo>
                  <a:pt x="163235" y="152462"/>
                </a:lnTo>
                <a:lnTo>
                  <a:pt x="163341" y="152515"/>
                </a:lnTo>
                <a:lnTo>
                  <a:pt x="163447" y="152568"/>
                </a:lnTo>
                <a:lnTo>
                  <a:pt x="163658" y="152568"/>
                </a:lnTo>
                <a:lnTo>
                  <a:pt x="163711" y="152515"/>
                </a:lnTo>
                <a:lnTo>
                  <a:pt x="163763" y="152357"/>
                </a:lnTo>
                <a:lnTo>
                  <a:pt x="163763" y="152304"/>
                </a:lnTo>
                <a:lnTo>
                  <a:pt x="163763" y="152251"/>
                </a:lnTo>
                <a:lnTo>
                  <a:pt x="163816" y="152198"/>
                </a:lnTo>
                <a:lnTo>
                  <a:pt x="163816" y="152146"/>
                </a:lnTo>
                <a:close/>
                <a:moveTo>
                  <a:pt x="165189" y="152251"/>
                </a:moveTo>
                <a:lnTo>
                  <a:pt x="165031" y="152304"/>
                </a:lnTo>
                <a:lnTo>
                  <a:pt x="164872" y="152304"/>
                </a:lnTo>
                <a:lnTo>
                  <a:pt x="164872" y="152357"/>
                </a:lnTo>
                <a:lnTo>
                  <a:pt x="164872" y="152410"/>
                </a:lnTo>
                <a:lnTo>
                  <a:pt x="164872" y="152515"/>
                </a:lnTo>
                <a:lnTo>
                  <a:pt x="164872" y="152621"/>
                </a:lnTo>
                <a:lnTo>
                  <a:pt x="164925" y="152674"/>
                </a:lnTo>
                <a:lnTo>
                  <a:pt x="165348" y="152885"/>
                </a:lnTo>
                <a:lnTo>
                  <a:pt x="165453" y="152938"/>
                </a:lnTo>
                <a:lnTo>
                  <a:pt x="165559" y="152938"/>
                </a:lnTo>
                <a:lnTo>
                  <a:pt x="165559" y="152885"/>
                </a:lnTo>
                <a:lnTo>
                  <a:pt x="165665" y="152779"/>
                </a:lnTo>
                <a:lnTo>
                  <a:pt x="165665" y="152674"/>
                </a:lnTo>
                <a:lnTo>
                  <a:pt x="165612" y="152621"/>
                </a:lnTo>
                <a:lnTo>
                  <a:pt x="165348" y="152621"/>
                </a:lnTo>
                <a:lnTo>
                  <a:pt x="165242" y="152568"/>
                </a:lnTo>
                <a:lnTo>
                  <a:pt x="165242" y="152515"/>
                </a:lnTo>
                <a:lnTo>
                  <a:pt x="165242" y="152462"/>
                </a:lnTo>
                <a:lnTo>
                  <a:pt x="165242" y="152410"/>
                </a:lnTo>
                <a:lnTo>
                  <a:pt x="165242" y="152304"/>
                </a:lnTo>
                <a:lnTo>
                  <a:pt x="165189" y="152251"/>
                </a:lnTo>
                <a:close/>
                <a:moveTo>
                  <a:pt x="240655" y="151089"/>
                </a:moveTo>
                <a:lnTo>
                  <a:pt x="240549" y="151142"/>
                </a:lnTo>
                <a:lnTo>
                  <a:pt x="240443" y="151353"/>
                </a:lnTo>
                <a:lnTo>
                  <a:pt x="240443" y="151406"/>
                </a:lnTo>
                <a:lnTo>
                  <a:pt x="240443" y="151565"/>
                </a:lnTo>
                <a:lnTo>
                  <a:pt x="240443" y="151670"/>
                </a:lnTo>
                <a:lnTo>
                  <a:pt x="240443" y="151723"/>
                </a:lnTo>
                <a:lnTo>
                  <a:pt x="240443" y="151776"/>
                </a:lnTo>
                <a:lnTo>
                  <a:pt x="240496" y="151829"/>
                </a:lnTo>
                <a:lnTo>
                  <a:pt x="240602" y="151829"/>
                </a:lnTo>
                <a:lnTo>
                  <a:pt x="240655" y="151934"/>
                </a:lnTo>
                <a:lnTo>
                  <a:pt x="240602" y="151987"/>
                </a:lnTo>
                <a:lnTo>
                  <a:pt x="240549" y="152146"/>
                </a:lnTo>
                <a:lnTo>
                  <a:pt x="240549" y="152304"/>
                </a:lnTo>
                <a:lnTo>
                  <a:pt x="240602" y="152410"/>
                </a:lnTo>
                <a:lnTo>
                  <a:pt x="240549" y="152462"/>
                </a:lnTo>
                <a:lnTo>
                  <a:pt x="240496" y="152515"/>
                </a:lnTo>
                <a:lnTo>
                  <a:pt x="240496" y="152621"/>
                </a:lnTo>
                <a:lnTo>
                  <a:pt x="240655" y="152621"/>
                </a:lnTo>
                <a:lnTo>
                  <a:pt x="240707" y="152515"/>
                </a:lnTo>
                <a:lnTo>
                  <a:pt x="240866" y="152515"/>
                </a:lnTo>
                <a:lnTo>
                  <a:pt x="240866" y="152568"/>
                </a:lnTo>
                <a:lnTo>
                  <a:pt x="240813" y="152621"/>
                </a:lnTo>
                <a:lnTo>
                  <a:pt x="240760" y="152674"/>
                </a:lnTo>
                <a:lnTo>
                  <a:pt x="240760" y="152726"/>
                </a:lnTo>
                <a:lnTo>
                  <a:pt x="240760" y="152779"/>
                </a:lnTo>
                <a:lnTo>
                  <a:pt x="240866" y="152779"/>
                </a:lnTo>
                <a:lnTo>
                  <a:pt x="240919" y="152832"/>
                </a:lnTo>
                <a:lnTo>
                  <a:pt x="240971" y="152832"/>
                </a:lnTo>
                <a:lnTo>
                  <a:pt x="240919" y="152991"/>
                </a:lnTo>
                <a:lnTo>
                  <a:pt x="240971" y="153043"/>
                </a:lnTo>
                <a:lnTo>
                  <a:pt x="240995" y="153090"/>
                </a:lnTo>
                <a:lnTo>
                  <a:pt x="241077" y="152885"/>
                </a:lnTo>
                <a:lnTo>
                  <a:pt x="241183" y="152568"/>
                </a:lnTo>
                <a:lnTo>
                  <a:pt x="241130" y="152304"/>
                </a:lnTo>
                <a:lnTo>
                  <a:pt x="241235" y="152040"/>
                </a:lnTo>
                <a:lnTo>
                  <a:pt x="241235" y="151987"/>
                </a:lnTo>
                <a:lnTo>
                  <a:pt x="241394" y="151934"/>
                </a:lnTo>
                <a:lnTo>
                  <a:pt x="241394" y="151829"/>
                </a:lnTo>
                <a:lnTo>
                  <a:pt x="241288" y="151670"/>
                </a:lnTo>
                <a:lnTo>
                  <a:pt x="240919" y="151301"/>
                </a:lnTo>
                <a:lnTo>
                  <a:pt x="240813" y="151142"/>
                </a:lnTo>
                <a:lnTo>
                  <a:pt x="240760" y="151089"/>
                </a:lnTo>
                <a:close/>
                <a:moveTo>
                  <a:pt x="240995" y="153090"/>
                </a:moveTo>
                <a:lnTo>
                  <a:pt x="240971" y="153149"/>
                </a:lnTo>
                <a:lnTo>
                  <a:pt x="241024" y="153307"/>
                </a:lnTo>
                <a:lnTo>
                  <a:pt x="241024" y="153149"/>
                </a:lnTo>
                <a:lnTo>
                  <a:pt x="240995" y="153090"/>
                </a:lnTo>
                <a:close/>
                <a:moveTo>
                  <a:pt x="160489" y="152093"/>
                </a:moveTo>
                <a:lnTo>
                  <a:pt x="160331" y="152198"/>
                </a:lnTo>
                <a:lnTo>
                  <a:pt x="160225" y="152146"/>
                </a:lnTo>
                <a:lnTo>
                  <a:pt x="160067" y="152198"/>
                </a:lnTo>
                <a:lnTo>
                  <a:pt x="159961" y="152357"/>
                </a:lnTo>
                <a:lnTo>
                  <a:pt x="159908" y="152515"/>
                </a:lnTo>
                <a:lnTo>
                  <a:pt x="160014" y="152674"/>
                </a:lnTo>
                <a:lnTo>
                  <a:pt x="160595" y="153149"/>
                </a:lnTo>
                <a:lnTo>
                  <a:pt x="160964" y="153149"/>
                </a:lnTo>
                <a:lnTo>
                  <a:pt x="160964" y="153255"/>
                </a:lnTo>
                <a:lnTo>
                  <a:pt x="161176" y="153255"/>
                </a:lnTo>
                <a:lnTo>
                  <a:pt x="161229" y="153307"/>
                </a:lnTo>
                <a:lnTo>
                  <a:pt x="161229" y="153360"/>
                </a:lnTo>
                <a:lnTo>
                  <a:pt x="161493" y="153413"/>
                </a:lnTo>
                <a:lnTo>
                  <a:pt x="161545" y="153413"/>
                </a:lnTo>
                <a:lnTo>
                  <a:pt x="161545" y="153255"/>
                </a:lnTo>
                <a:lnTo>
                  <a:pt x="161493" y="153043"/>
                </a:lnTo>
                <a:lnTo>
                  <a:pt x="161334" y="152726"/>
                </a:lnTo>
                <a:lnTo>
                  <a:pt x="161229" y="152621"/>
                </a:lnTo>
                <a:lnTo>
                  <a:pt x="161017" y="152410"/>
                </a:lnTo>
                <a:lnTo>
                  <a:pt x="160489" y="152093"/>
                </a:lnTo>
                <a:close/>
                <a:moveTo>
                  <a:pt x="140527" y="155156"/>
                </a:moveTo>
                <a:lnTo>
                  <a:pt x="140527" y="155209"/>
                </a:lnTo>
                <a:lnTo>
                  <a:pt x="140633" y="155367"/>
                </a:lnTo>
                <a:lnTo>
                  <a:pt x="140685" y="155367"/>
                </a:lnTo>
                <a:lnTo>
                  <a:pt x="140685" y="155314"/>
                </a:lnTo>
                <a:lnTo>
                  <a:pt x="140580" y="155261"/>
                </a:lnTo>
                <a:lnTo>
                  <a:pt x="140527" y="155156"/>
                </a:lnTo>
                <a:close/>
                <a:moveTo>
                  <a:pt x="243876" y="149611"/>
                </a:moveTo>
                <a:lnTo>
                  <a:pt x="243348" y="149980"/>
                </a:lnTo>
                <a:lnTo>
                  <a:pt x="243295" y="150139"/>
                </a:lnTo>
                <a:lnTo>
                  <a:pt x="243189" y="150244"/>
                </a:lnTo>
                <a:lnTo>
                  <a:pt x="243189" y="150297"/>
                </a:lnTo>
                <a:lnTo>
                  <a:pt x="243189" y="150508"/>
                </a:lnTo>
                <a:lnTo>
                  <a:pt x="243189" y="150614"/>
                </a:lnTo>
                <a:lnTo>
                  <a:pt x="243084" y="150561"/>
                </a:lnTo>
                <a:lnTo>
                  <a:pt x="242661" y="150192"/>
                </a:lnTo>
                <a:lnTo>
                  <a:pt x="242503" y="150086"/>
                </a:lnTo>
                <a:lnTo>
                  <a:pt x="242344" y="150086"/>
                </a:lnTo>
                <a:lnTo>
                  <a:pt x="242344" y="150139"/>
                </a:lnTo>
                <a:lnTo>
                  <a:pt x="242344" y="150244"/>
                </a:lnTo>
                <a:lnTo>
                  <a:pt x="242292" y="150297"/>
                </a:lnTo>
                <a:lnTo>
                  <a:pt x="242239" y="150350"/>
                </a:lnTo>
                <a:lnTo>
                  <a:pt x="242133" y="150403"/>
                </a:lnTo>
                <a:lnTo>
                  <a:pt x="242133" y="150508"/>
                </a:lnTo>
                <a:lnTo>
                  <a:pt x="242133" y="150667"/>
                </a:lnTo>
                <a:lnTo>
                  <a:pt x="242186" y="150773"/>
                </a:lnTo>
                <a:lnTo>
                  <a:pt x="242239" y="150825"/>
                </a:lnTo>
                <a:lnTo>
                  <a:pt x="242239" y="150878"/>
                </a:lnTo>
                <a:lnTo>
                  <a:pt x="242239" y="151195"/>
                </a:lnTo>
                <a:lnTo>
                  <a:pt x="242239" y="151301"/>
                </a:lnTo>
                <a:lnTo>
                  <a:pt x="242292" y="151353"/>
                </a:lnTo>
                <a:lnTo>
                  <a:pt x="242503" y="151565"/>
                </a:lnTo>
                <a:lnTo>
                  <a:pt x="242186" y="151512"/>
                </a:lnTo>
                <a:lnTo>
                  <a:pt x="242080" y="151353"/>
                </a:lnTo>
                <a:lnTo>
                  <a:pt x="242080" y="151301"/>
                </a:lnTo>
                <a:lnTo>
                  <a:pt x="242133" y="151037"/>
                </a:lnTo>
                <a:lnTo>
                  <a:pt x="242080" y="150931"/>
                </a:lnTo>
                <a:lnTo>
                  <a:pt x="241922" y="150773"/>
                </a:lnTo>
                <a:lnTo>
                  <a:pt x="241922" y="150720"/>
                </a:lnTo>
                <a:lnTo>
                  <a:pt x="241922" y="150561"/>
                </a:lnTo>
                <a:lnTo>
                  <a:pt x="241816" y="150403"/>
                </a:lnTo>
                <a:lnTo>
                  <a:pt x="241816" y="150350"/>
                </a:lnTo>
                <a:lnTo>
                  <a:pt x="241816" y="150192"/>
                </a:lnTo>
                <a:lnTo>
                  <a:pt x="241764" y="150139"/>
                </a:lnTo>
                <a:lnTo>
                  <a:pt x="241658" y="150192"/>
                </a:lnTo>
                <a:lnTo>
                  <a:pt x="241394" y="150192"/>
                </a:lnTo>
                <a:lnTo>
                  <a:pt x="241394" y="150403"/>
                </a:lnTo>
                <a:lnTo>
                  <a:pt x="241500" y="150561"/>
                </a:lnTo>
                <a:lnTo>
                  <a:pt x="241658" y="150825"/>
                </a:lnTo>
                <a:lnTo>
                  <a:pt x="241658" y="150931"/>
                </a:lnTo>
                <a:lnTo>
                  <a:pt x="241658" y="151037"/>
                </a:lnTo>
                <a:lnTo>
                  <a:pt x="241711" y="151089"/>
                </a:lnTo>
                <a:lnTo>
                  <a:pt x="241764" y="151195"/>
                </a:lnTo>
                <a:lnTo>
                  <a:pt x="241658" y="151089"/>
                </a:lnTo>
                <a:lnTo>
                  <a:pt x="241500" y="150931"/>
                </a:lnTo>
                <a:lnTo>
                  <a:pt x="241394" y="150878"/>
                </a:lnTo>
                <a:lnTo>
                  <a:pt x="241288" y="150878"/>
                </a:lnTo>
                <a:lnTo>
                  <a:pt x="241130" y="150931"/>
                </a:lnTo>
                <a:lnTo>
                  <a:pt x="241077" y="151037"/>
                </a:lnTo>
                <a:lnTo>
                  <a:pt x="241077" y="151195"/>
                </a:lnTo>
                <a:lnTo>
                  <a:pt x="241130" y="151406"/>
                </a:lnTo>
                <a:lnTo>
                  <a:pt x="241552" y="151776"/>
                </a:lnTo>
                <a:lnTo>
                  <a:pt x="241711" y="152040"/>
                </a:lnTo>
                <a:lnTo>
                  <a:pt x="241922" y="152304"/>
                </a:lnTo>
                <a:lnTo>
                  <a:pt x="241975" y="152357"/>
                </a:lnTo>
                <a:lnTo>
                  <a:pt x="242028" y="152410"/>
                </a:lnTo>
                <a:lnTo>
                  <a:pt x="242397" y="152991"/>
                </a:lnTo>
                <a:lnTo>
                  <a:pt x="242820" y="153307"/>
                </a:lnTo>
                <a:lnTo>
                  <a:pt x="242925" y="153519"/>
                </a:lnTo>
                <a:lnTo>
                  <a:pt x="242820" y="153519"/>
                </a:lnTo>
                <a:lnTo>
                  <a:pt x="242344" y="153043"/>
                </a:lnTo>
                <a:lnTo>
                  <a:pt x="241764" y="152357"/>
                </a:lnTo>
                <a:lnTo>
                  <a:pt x="241605" y="152198"/>
                </a:lnTo>
                <a:lnTo>
                  <a:pt x="241500" y="152198"/>
                </a:lnTo>
                <a:lnTo>
                  <a:pt x="241500" y="152251"/>
                </a:lnTo>
                <a:lnTo>
                  <a:pt x="241394" y="152304"/>
                </a:lnTo>
                <a:lnTo>
                  <a:pt x="241341" y="152357"/>
                </a:lnTo>
                <a:lnTo>
                  <a:pt x="241341" y="152515"/>
                </a:lnTo>
                <a:lnTo>
                  <a:pt x="241341" y="152568"/>
                </a:lnTo>
                <a:lnTo>
                  <a:pt x="241447" y="152726"/>
                </a:lnTo>
                <a:lnTo>
                  <a:pt x="241447" y="152779"/>
                </a:lnTo>
                <a:lnTo>
                  <a:pt x="241394" y="152938"/>
                </a:lnTo>
                <a:lnTo>
                  <a:pt x="241235" y="153202"/>
                </a:lnTo>
                <a:lnTo>
                  <a:pt x="241183" y="153466"/>
                </a:lnTo>
                <a:lnTo>
                  <a:pt x="241130" y="153624"/>
                </a:lnTo>
                <a:lnTo>
                  <a:pt x="241130" y="153730"/>
                </a:lnTo>
                <a:lnTo>
                  <a:pt x="241183" y="153783"/>
                </a:lnTo>
                <a:lnTo>
                  <a:pt x="241183" y="153730"/>
                </a:lnTo>
                <a:lnTo>
                  <a:pt x="241235" y="153571"/>
                </a:lnTo>
                <a:lnTo>
                  <a:pt x="241341" y="153571"/>
                </a:lnTo>
                <a:lnTo>
                  <a:pt x="241394" y="153624"/>
                </a:lnTo>
                <a:lnTo>
                  <a:pt x="241394" y="153730"/>
                </a:lnTo>
                <a:lnTo>
                  <a:pt x="241394" y="153783"/>
                </a:lnTo>
                <a:lnTo>
                  <a:pt x="241500" y="153888"/>
                </a:lnTo>
                <a:lnTo>
                  <a:pt x="241552" y="153941"/>
                </a:lnTo>
                <a:lnTo>
                  <a:pt x="241658" y="154047"/>
                </a:lnTo>
                <a:lnTo>
                  <a:pt x="241711" y="154152"/>
                </a:lnTo>
                <a:lnTo>
                  <a:pt x="241816" y="154152"/>
                </a:lnTo>
                <a:lnTo>
                  <a:pt x="241922" y="153994"/>
                </a:lnTo>
                <a:lnTo>
                  <a:pt x="241975" y="154100"/>
                </a:lnTo>
                <a:lnTo>
                  <a:pt x="241975" y="154258"/>
                </a:lnTo>
                <a:lnTo>
                  <a:pt x="242080" y="154416"/>
                </a:lnTo>
                <a:lnTo>
                  <a:pt x="242609" y="154944"/>
                </a:lnTo>
                <a:lnTo>
                  <a:pt x="242609" y="154997"/>
                </a:lnTo>
                <a:lnTo>
                  <a:pt x="242556" y="154997"/>
                </a:lnTo>
                <a:lnTo>
                  <a:pt x="242450" y="155103"/>
                </a:lnTo>
                <a:lnTo>
                  <a:pt x="242397" y="155209"/>
                </a:lnTo>
                <a:lnTo>
                  <a:pt x="242344" y="155314"/>
                </a:lnTo>
                <a:lnTo>
                  <a:pt x="242397" y="155420"/>
                </a:lnTo>
                <a:lnTo>
                  <a:pt x="242503" y="155525"/>
                </a:lnTo>
                <a:lnTo>
                  <a:pt x="242556" y="155525"/>
                </a:lnTo>
                <a:lnTo>
                  <a:pt x="242609" y="155367"/>
                </a:lnTo>
                <a:lnTo>
                  <a:pt x="242609" y="155261"/>
                </a:lnTo>
                <a:lnTo>
                  <a:pt x="242661" y="155261"/>
                </a:lnTo>
                <a:lnTo>
                  <a:pt x="242714" y="155367"/>
                </a:lnTo>
                <a:lnTo>
                  <a:pt x="242767" y="155420"/>
                </a:lnTo>
                <a:lnTo>
                  <a:pt x="242925" y="155367"/>
                </a:lnTo>
                <a:lnTo>
                  <a:pt x="242978" y="155367"/>
                </a:lnTo>
                <a:lnTo>
                  <a:pt x="243137" y="155473"/>
                </a:lnTo>
                <a:lnTo>
                  <a:pt x="243242" y="155473"/>
                </a:lnTo>
                <a:lnTo>
                  <a:pt x="243242" y="155525"/>
                </a:lnTo>
                <a:lnTo>
                  <a:pt x="243084" y="155525"/>
                </a:lnTo>
                <a:lnTo>
                  <a:pt x="243031" y="155578"/>
                </a:lnTo>
                <a:lnTo>
                  <a:pt x="243031" y="155684"/>
                </a:lnTo>
                <a:lnTo>
                  <a:pt x="242873" y="155684"/>
                </a:lnTo>
                <a:lnTo>
                  <a:pt x="242873" y="155631"/>
                </a:lnTo>
                <a:lnTo>
                  <a:pt x="242873" y="155525"/>
                </a:lnTo>
                <a:lnTo>
                  <a:pt x="242661" y="155525"/>
                </a:lnTo>
                <a:lnTo>
                  <a:pt x="242609" y="155578"/>
                </a:lnTo>
                <a:lnTo>
                  <a:pt x="242767" y="155842"/>
                </a:lnTo>
                <a:lnTo>
                  <a:pt x="243718" y="156634"/>
                </a:lnTo>
                <a:lnTo>
                  <a:pt x="243929" y="156793"/>
                </a:lnTo>
                <a:lnTo>
                  <a:pt x="243982" y="157057"/>
                </a:lnTo>
                <a:lnTo>
                  <a:pt x="243876" y="157057"/>
                </a:lnTo>
                <a:lnTo>
                  <a:pt x="243718" y="156898"/>
                </a:lnTo>
                <a:lnTo>
                  <a:pt x="243506" y="156582"/>
                </a:lnTo>
                <a:lnTo>
                  <a:pt x="243242" y="156370"/>
                </a:lnTo>
                <a:lnTo>
                  <a:pt x="243031" y="156318"/>
                </a:lnTo>
                <a:lnTo>
                  <a:pt x="242925" y="156370"/>
                </a:lnTo>
                <a:lnTo>
                  <a:pt x="243084" y="156529"/>
                </a:lnTo>
                <a:lnTo>
                  <a:pt x="243137" y="156634"/>
                </a:lnTo>
                <a:lnTo>
                  <a:pt x="243189" y="156793"/>
                </a:lnTo>
                <a:lnTo>
                  <a:pt x="243189" y="156846"/>
                </a:lnTo>
                <a:lnTo>
                  <a:pt x="243295" y="156951"/>
                </a:lnTo>
                <a:lnTo>
                  <a:pt x="243453" y="157057"/>
                </a:lnTo>
                <a:lnTo>
                  <a:pt x="243665" y="157163"/>
                </a:lnTo>
                <a:lnTo>
                  <a:pt x="243718" y="157110"/>
                </a:lnTo>
                <a:lnTo>
                  <a:pt x="243665" y="157268"/>
                </a:lnTo>
                <a:lnTo>
                  <a:pt x="243770" y="157374"/>
                </a:lnTo>
                <a:lnTo>
                  <a:pt x="244351" y="157532"/>
                </a:lnTo>
                <a:lnTo>
                  <a:pt x="244404" y="157532"/>
                </a:lnTo>
                <a:lnTo>
                  <a:pt x="244457" y="157374"/>
                </a:lnTo>
                <a:lnTo>
                  <a:pt x="244615" y="157374"/>
                </a:lnTo>
                <a:lnTo>
                  <a:pt x="244615" y="157321"/>
                </a:lnTo>
                <a:lnTo>
                  <a:pt x="244615" y="157268"/>
                </a:lnTo>
                <a:lnTo>
                  <a:pt x="244615" y="157110"/>
                </a:lnTo>
                <a:lnTo>
                  <a:pt x="244615" y="157057"/>
                </a:lnTo>
                <a:lnTo>
                  <a:pt x="244879" y="157057"/>
                </a:lnTo>
                <a:lnTo>
                  <a:pt x="244879" y="157004"/>
                </a:lnTo>
                <a:lnTo>
                  <a:pt x="244774" y="156793"/>
                </a:lnTo>
                <a:lnTo>
                  <a:pt x="245038" y="156793"/>
                </a:lnTo>
                <a:lnTo>
                  <a:pt x="245091" y="156687"/>
                </a:lnTo>
                <a:lnTo>
                  <a:pt x="245091" y="156529"/>
                </a:lnTo>
                <a:lnTo>
                  <a:pt x="245091" y="156370"/>
                </a:lnTo>
                <a:lnTo>
                  <a:pt x="245038" y="156318"/>
                </a:lnTo>
                <a:lnTo>
                  <a:pt x="244985" y="156318"/>
                </a:lnTo>
                <a:lnTo>
                  <a:pt x="244985" y="156212"/>
                </a:lnTo>
                <a:lnTo>
                  <a:pt x="245091" y="156212"/>
                </a:lnTo>
                <a:lnTo>
                  <a:pt x="245091" y="156106"/>
                </a:lnTo>
                <a:lnTo>
                  <a:pt x="245038" y="156001"/>
                </a:lnTo>
                <a:lnTo>
                  <a:pt x="244985" y="155895"/>
                </a:lnTo>
                <a:lnTo>
                  <a:pt x="244879" y="155842"/>
                </a:lnTo>
                <a:lnTo>
                  <a:pt x="244827" y="155842"/>
                </a:lnTo>
                <a:lnTo>
                  <a:pt x="244615" y="155948"/>
                </a:lnTo>
                <a:lnTo>
                  <a:pt x="244668" y="155737"/>
                </a:lnTo>
                <a:lnTo>
                  <a:pt x="245038" y="155737"/>
                </a:lnTo>
                <a:lnTo>
                  <a:pt x="245038" y="155684"/>
                </a:lnTo>
                <a:lnTo>
                  <a:pt x="244932" y="155525"/>
                </a:lnTo>
                <a:lnTo>
                  <a:pt x="244879" y="155420"/>
                </a:lnTo>
                <a:lnTo>
                  <a:pt x="244774" y="155367"/>
                </a:lnTo>
                <a:lnTo>
                  <a:pt x="244668" y="155367"/>
                </a:lnTo>
                <a:lnTo>
                  <a:pt x="244351" y="155103"/>
                </a:lnTo>
                <a:lnTo>
                  <a:pt x="244246" y="155103"/>
                </a:lnTo>
                <a:lnTo>
                  <a:pt x="243876" y="155156"/>
                </a:lnTo>
                <a:lnTo>
                  <a:pt x="243876" y="155156"/>
                </a:lnTo>
                <a:lnTo>
                  <a:pt x="243982" y="154997"/>
                </a:lnTo>
                <a:lnTo>
                  <a:pt x="244087" y="154892"/>
                </a:lnTo>
                <a:lnTo>
                  <a:pt x="244404" y="154892"/>
                </a:lnTo>
                <a:lnTo>
                  <a:pt x="244351" y="154786"/>
                </a:lnTo>
                <a:lnTo>
                  <a:pt x="244298" y="154680"/>
                </a:lnTo>
                <a:lnTo>
                  <a:pt x="244298" y="154628"/>
                </a:lnTo>
                <a:lnTo>
                  <a:pt x="244351" y="154575"/>
                </a:lnTo>
                <a:lnTo>
                  <a:pt x="244298" y="154416"/>
                </a:lnTo>
                <a:lnTo>
                  <a:pt x="244246" y="154364"/>
                </a:lnTo>
                <a:lnTo>
                  <a:pt x="244034" y="154364"/>
                </a:lnTo>
                <a:lnTo>
                  <a:pt x="243982" y="154258"/>
                </a:lnTo>
                <a:lnTo>
                  <a:pt x="243929" y="154152"/>
                </a:lnTo>
                <a:lnTo>
                  <a:pt x="243876" y="154100"/>
                </a:lnTo>
                <a:lnTo>
                  <a:pt x="244087" y="154100"/>
                </a:lnTo>
                <a:lnTo>
                  <a:pt x="244774" y="154575"/>
                </a:lnTo>
                <a:lnTo>
                  <a:pt x="244985" y="154839"/>
                </a:lnTo>
                <a:lnTo>
                  <a:pt x="245091" y="154892"/>
                </a:lnTo>
                <a:lnTo>
                  <a:pt x="245302" y="155103"/>
                </a:lnTo>
                <a:lnTo>
                  <a:pt x="245566" y="155209"/>
                </a:lnTo>
                <a:lnTo>
                  <a:pt x="246252" y="155631"/>
                </a:lnTo>
                <a:lnTo>
                  <a:pt x="246886" y="156212"/>
                </a:lnTo>
                <a:lnTo>
                  <a:pt x="247467" y="156687"/>
                </a:lnTo>
                <a:lnTo>
                  <a:pt x="247625" y="156740"/>
                </a:lnTo>
                <a:lnTo>
                  <a:pt x="248365" y="156740"/>
                </a:lnTo>
                <a:lnTo>
                  <a:pt x="248470" y="156634"/>
                </a:lnTo>
                <a:lnTo>
                  <a:pt x="248365" y="156476"/>
                </a:lnTo>
                <a:lnTo>
                  <a:pt x="248418" y="156423"/>
                </a:lnTo>
                <a:lnTo>
                  <a:pt x="248629" y="156529"/>
                </a:lnTo>
                <a:lnTo>
                  <a:pt x="248629" y="156423"/>
                </a:lnTo>
                <a:lnTo>
                  <a:pt x="248523" y="156265"/>
                </a:lnTo>
                <a:lnTo>
                  <a:pt x="248470" y="156212"/>
                </a:lnTo>
                <a:lnTo>
                  <a:pt x="248470" y="156106"/>
                </a:lnTo>
                <a:lnTo>
                  <a:pt x="248470" y="155948"/>
                </a:lnTo>
                <a:lnTo>
                  <a:pt x="248470" y="155789"/>
                </a:lnTo>
                <a:lnTo>
                  <a:pt x="248470" y="155631"/>
                </a:lnTo>
                <a:lnTo>
                  <a:pt x="248470" y="155473"/>
                </a:lnTo>
                <a:lnTo>
                  <a:pt x="248312" y="155050"/>
                </a:lnTo>
                <a:lnTo>
                  <a:pt x="248259" y="154892"/>
                </a:lnTo>
                <a:lnTo>
                  <a:pt x="248259" y="154733"/>
                </a:lnTo>
                <a:lnTo>
                  <a:pt x="248206" y="154575"/>
                </a:lnTo>
                <a:lnTo>
                  <a:pt x="248206" y="154311"/>
                </a:lnTo>
                <a:lnTo>
                  <a:pt x="248154" y="154152"/>
                </a:lnTo>
                <a:lnTo>
                  <a:pt x="248048" y="154100"/>
                </a:lnTo>
                <a:lnTo>
                  <a:pt x="247837" y="154100"/>
                </a:lnTo>
                <a:lnTo>
                  <a:pt x="247731" y="154205"/>
                </a:lnTo>
                <a:lnTo>
                  <a:pt x="247625" y="154205"/>
                </a:lnTo>
                <a:lnTo>
                  <a:pt x="247573" y="154152"/>
                </a:lnTo>
                <a:lnTo>
                  <a:pt x="247361" y="154152"/>
                </a:lnTo>
                <a:lnTo>
                  <a:pt x="247309" y="154258"/>
                </a:lnTo>
                <a:lnTo>
                  <a:pt x="247203" y="154258"/>
                </a:lnTo>
                <a:lnTo>
                  <a:pt x="246992" y="154311"/>
                </a:lnTo>
                <a:lnTo>
                  <a:pt x="246939" y="154364"/>
                </a:lnTo>
                <a:lnTo>
                  <a:pt x="246833" y="154469"/>
                </a:lnTo>
                <a:lnTo>
                  <a:pt x="246728" y="154469"/>
                </a:lnTo>
                <a:lnTo>
                  <a:pt x="246622" y="154364"/>
                </a:lnTo>
                <a:lnTo>
                  <a:pt x="246516" y="154311"/>
                </a:lnTo>
                <a:lnTo>
                  <a:pt x="246252" y="154311"/>
                </a:lnTo>
                <a:lnTo>
                  <a:pt x="246094" y="154364"/>
                </a:lnTo>
                <a:lnTo>
                  <a:pt x="246094" y="154258"/>
                </a:lnTo>
                <a:lnTo>
                  <a:pt x="246147" y="154205"/>
                </a:lnTo>
                <a:lnTo>
                  <a:pt x="246252" y="154152"/>
                </a:lnTo>
                <a:lnTo>
                  <a:pt x="246252" y="154100"/>
                </a:lnTo>
                <a:lnTo>
                  <a:pt x="246200" y="153994"/>
                </a:lnTo>
                <a:lnTo>
                  <a:pt x="245988" y="153677"/>
                </a:lnTo>
                <a:lnTo>
                  <a:pt x="245936" y="153624"/>
                </a:lnTo>
                <a:lnTo>
                  <a:pt x="245830" y="153624"/>
                </a:lnTo>
                <a:lnTo>
                  <a:pt x="245407" y="153413"/>
                </a:lnTo>
                <a:lnTo>
                  <a:pt x="245355" y="153360"/>
                </a:lnTo>
                <a:lnTo>
                  <a:pt x="245355" y="153307"/>
                </a:lnTo>
                <a:lnTo>
                  <a:pt x="245355" y="153202"/>
                </a:lnTo>
                <a:lnTo>
                  <a:pt x="245196" y="153096"/>
                </a:lnTo>
                <a:lnTo>
                  <a:pt x="245091" y="153043"/>
                </a:lnTo>
                <a:lnTo>
                  <a:pt x="245038" y="152991"/>
                </a:lnTo>
                <a:lnTo>
                  <a:pt x="244879" y="152885"/>
                </a:lnTo>
                <a:lnTo>
                  <a:pt x="244034" y="152568"/>
                </a:lnTo>
                <a:lnTo>
                  <a:pt x="243982" y="152462"/>
                </a:lnTo>
                <a:lnTo>
                  <a:pt x="243929" y="152304"/>
                </a:lnTo>
                <a:lnTo>
                  <a:pt x="243823" y="152198"/>
                </a:lnTo>
                <a:lnTo>
                  <a:pt x="243612" y="152093"/>
                </a:lnTo>
                <a:lnTo>
                  <a:pt x="243612" y="151987"/>
                </a:lnTo>
                <a:lnTo>
                  <a:pt x="243718" y="151987"/>
                </a:lnTo>
                <a:lnTo>
                  <a:pt x="243770" y="152040"/>
                </a:lnTo>
                <a:lnTo>
                  <a:pt x="244510" y="152568"/>
                </a:lnTo>
                <a:lnTo>
                  <a:pt x="245407" y="152938"/>
                </a:lnTo>
                <a:lnTo>
                  <a:pt x="245460" y="153043"/>
                </a:lnTo>
                <a:lnTo>
                  <a:pt x="245672" y="153043"/>
                </a:lnTo>
                <a:lnTo>
                  <a:pt x="245830" y="153149"/>
                </a:lnTo>
                <a:lnTo>
                  <a:pt x="246569" y="153730"/>
                </a:lnTo>
                <a:lnTo>
                  <a:pt x="246833" y="153835"/>
                </a:lnTo>
                <a:lnTo>
                  <a:pt x="247784" y="153835"/>
                </a:lnTo>
                <a:lnTo>
                  <a:pt x="247890" y="153730"/>
                </a:lnTo>
                <a:lnTo>
                  <a:pt x="248048" y="153730"/>
                </a:lnTo>
                <a:lnTo>
                  <a:pt x="248154" y="153677"/>
                </a:lnTo>
                <a:lnTo>
                  <a:pt x="247942" y="153571"/>
                </a:lnTo>
                <a:lnTo>
                  <a:pt x="247890" y="153519"/>
                </a:lnTo>
                <a:lnTo>
                  <a:pt x="247890" y="153360"/>
                </a:lnTo>
                <a:lnTo>
                  <a:pt x="247784" y="153413"/>
                </a:lnTo>
                <a:lnTo>
                  <a:pt x="247731" y="153360"/>
                </a:lnTo>
                <a:lnTo>
                  <a:pt x="247625" y="153149"/>
                </a:lnTo>
                <a:lnTo>
                  <a:pt x="247520" y="153096"/>
                </a:lnTo>
                <a:lnTo>
                  <a:pt x="247309" y="153043"/>
                </a:lnTo>
                <a:lnTo>
                  <a:pt x="247150" y="152938"/>
                </a:lnTo>
                <a:lnTo>
                  <a:pt x="247045" y="152832"/>
                </a:lnTo>
                <a:lnTo>
                  <a:pt x="246939" y="152674"/>
                </a:lnTo>
                <a:lnTo>
                  <a:pt x="246833" y="152462"/>
                </a:lnTo>
                <a:lnTo>
                  <a:pt x="246833" y="152410"/>
                </a:lnTo>
                <a:lnTo>
                  <a:pt x="247097" y="152674"/>
                </a:lnTo>
                <a:lnTo>
                  <a:pt x="247256" y="152674"/>
                </a:lnTo>
                <a:lnTo>
                  <a:pt x="247573" y="152779"/>
                </a:lnTo>
                <a:lnTo>
                  <a:pt x="248048" y="153255"/>
                </a:lnTo>
                <a:lnTo>
                  <a:pt x="248154" y="153307"/>
                </a:lnTo>
                <a:lnTo>
                  <a:pt x="248048" y="153202"/>
                </a:lnTo>
                <a:lnTo>
                  <a:pt x="247942" y="153096"/>
                </a:lnTo>
                <a:lnTo>
                  <a:pt x="247942" y="152938"/>
                </a:lnTo>
                <a:lnTo>
                  <a:pt x="248048" y="152779"/>
                </a:lnTo>
                <a:lnTo>
                  <a:pt x="248154" y="152674"/>
                </a:lnTo>
                <a:lnTo>
                  <a:pt x="248206" y="152621"/>
                </a:lnTo>
                <a:lnTo>
                  <a:pt x="248206" y="152515"/>
                </a:lnTo>
                <a:lnTo>
                  <a:pt x="248206" y="152462"/>
                </a:lnTo>
                <a:lnTo>
                  <a:pt x="248154" y="152357"/>
                </a:lnTo>
                <a:lnTo>
                  <a:pt x="248154" y="152304"/>
                </a:lnTo>
                <a:lnTo>
                  <a:pt x="248154" y="152251"/>
                </a:lnTo>
                <a:lnTo>
                  <a:pt x="248206" y="152251"/>
                </a:lnTo>
                <a:lnTo>
                  <a:pt x="248101" y="151723"/>
                </a:lnTo>
                <a:lnTo>
                  <a:pt x="247837" y="151512"/>
                </a:lnTo>
                <a:lnTo>
                  <a:pt x="247203" y="151353"/>
                </a:lnTo>
                <a:lnTo>
                  <a:pt x="247203" y="151301"/>
                </a:lnTo>
                <a:lnTo>
                  <a:pt x="247309" y="151301"/>
                </a:lnTo>
                <a:lnTo>
                  <a:pt x="247309" y="151195"/>
                </a:lnTo>
                <a:lnTo>
                  <a:pt x="247256" y="151089"/>
                </a:lnTo>
                <a:lnTo>
                  <a:pt x="247150" y="151089"/>
                </a:lnTo>
                <a:lnTo>
                  <a:pt x="246833" y="151142"/>
                </a:lnTo>
                <a:lnTo>
                  <a:pt x="246728" y="151142"/>
                </a:lnTo>
                <a:lnTo>
                  <a:pt x="246569" y="151037"/>
                </a:lnTo>
                <a:lnTo>
                  <a:pt x="246464" y="151037"/>
                </a:lnTo>
                <a:lnTo>
                  <a:pt x="246305" y="151089"/>
                </a:lnTo>
                <a:lnTo>
                  <a:pt x="246252" y="151089"/>
                </a:lnTo>
                <a:lnTo>
                  <a:pt x="246147" y="151037"/>
                </a:lnTo>
                <a:lnTo>
                  <a:pt x="246252" y="150931"/>
                </a:lnTo>
                <a:lnTo>
                  <a:pt x="246094" y="150825"/>
                </a:lnTo>
                <a:lnTo>
                  <a:pt x="245988" y="150773"/>
                </a:lnTo>
                <a:lnTo>
                  <a:pt x="245777" y="150773"/>
                </a:lnTo>
                <a:lnTo>
                  <a:pt x="245619" y="150878"/>
                </a:lnTo>
                <a:lnTo>
                  <a:pt x="245566" y="150878"/>
                </a:lnTo>
                <a:lnTo>
                  <a:pt x="245619" y="150984"/>
                </a:lnTo>
                <a:lnTo>
                  <a:pt x="245672" y="151037"/>
                </a:lnTo>
                <a:lnTo>
                  <a:pt x="245724" y="151142"/>
                </a:lnTo>
                <a:lnTo>
                  <a:pt x="245672" y="151301"/>
                </a:lnTo>
                <a:lnTo>
                  <a:pt x="245302" y="151459"/>
                </a:lnTo>
                <a:lnTo>
                  <a:pt x="245091" y="151934"/>
                </a:lnTo>
                <a:lnTo>
                  <a:pt x="245038" y="152040"/>
                </a:lnTo>
                <a:lnTo>
                  <a:pt x="244932" y="152093"/>
                </a:lnTo>
                <a:lnTo>
                  <a:pt x="244721" y="152093"/>
                </a:lnTo>
                <a:lnTo>
                  <a:pt x="244721" y="152146"/>
                </a:lnTo>
                <a:lnTo>
                  <a:pt x="244774" y="152251"/>
                </a:lnTo>
                <a:lnTo>
                  <a:pt x="244774" y="152304"/>
                </a:lnTo>
                <a:lnTo>
                  <a:pt x="244721" y="152357"/>
                </a:lnTo>
                <a:lnTo>
                  <a:pt x="244615" y="152357"/>
                </a:lnTo>
                <a:lnTo>
                  <a:pt x="244615" y="152198"/>
                </a:lnTo>
                <a:lnTo>
                  <a:pt x="244404" y="152093"/>
                </a:lnTo>
                <a:lnTo>
                  <a:pt x="244034" y="152093"/>
                </a:lnTo>
                <a:lnTo>
                  <a:pt x="244140" y="151934"/>
                </a:lnTo>
                <a:lnTo>
                  <a:pt x="244246" y="151882"/>
                </a:lnTo>
                <a:lnTo>
                  <a:pt x="244668" y="151987"/>
                </a:lnTo>
                <a:lnTo>
                  <a:pt x="244774" y="151987"/>
                </a:lnTo>
                <a:lnTo>
                  <a:pt x="244827" y="151882"/>
                </a:lnTo>
                <a:lnTo>
                  <a:pt x="244827" y="151829"/>
                </a:lnTo>
                <a:lnTo>
                  <a:pt x="244774" y="151776"/>
                </a:lnTo>
                <a:lnTo>
                  <a:pt x="244668" y="151776"/>
                </a:lnTo>
                <a:lnTo>
                  <a:pt x="244615" y="151723"/>
                </a:lnTo>
                <a:lnTo>
                  <a:pt x="244668" y="151670"/>
                </a:lnTo>
                <a:lnTo>
                  <a:pt x="244510" y="151617"/>
                </a:lnTo>
                <a:lnTo>
                  <a:pt x="244246" y="151723"/>
                </a:lnTo>
                <a:lnTo>
                  <a:pt x="244087" y="151617"/>
                </a:lnTo>
                <a:lnTo>
                  <a:pt x="244140" y="151565"/>
                </a:lnTo>
                <a:lnTo>
                  <a:pt x="244510" y="151512"/>
                </a:lnTo>
                <a:lnTo>
                  <a:pt x="244827" y="151617"/>
                </a:lnTo>
                <a:lnTo>
                  <a:pt x="244932" y="151459"/>
                </a:lnTo>
                <a:lnTo>
                  <a:pt x="245038" y="151301"/>
                </a:lnTo>
                <a:lnTo>
                  <a:pt x="245143" y="151142"/>
                </a:lnTo>
                <a:lnTo>
                  <a:pt x="245196" y="151089"/>
                </a:lnTo>
                <a:lnTo>
                  <a:pt x="245302" y="151089"/>
                </a:lnTo>
                <a:lnTo>
                  <a:pt x="245355" y="150984"/>
                </a:lnTo>
                <a:lnTo>
                  <a:pt x="245355" y="150878"/>
                </a:lnTo>
                <a:lnTo>
                  <a:pt x="245355" y="150773"/>
                </a:lnTo>
                <a:lnTo>
                  <a:pt x="245407" y="150667"/>
                </a:lnTo>
                <a:lnTo>
                  <a:pt x="245460" y="150561"/>
                </a:lnTo>
                <a:lnTo>
                  <a:pt x="245355" y="150456"/>
                </a:lnTo>
                <a:lnTo>
                  <a:pt x="245196" y="150403"/>
                </a:lnTo>
                <a:lnTo>
                  <a:pt x="245091" y="150297"/>
                </a:lnTo>
                <a:lnTo>
                  <a:pt x="245143" y="150244"/>
                </a:lnTo>
                <a:lnTo>
                  <a:pt x="245091" y="150244"/>
                </a:lnTo>
                <a:lnTo>
                  <a:pt x="244932" y="150192"/>
                </a:lnTo>
                <a:lnTo>
                  <a:pt x="244879" y="150192"/>
                </a:lnTo>
                <a:lnTo>
                  <a:pt x="244774" y="150033"/>
                </a:lnTo>
                <a:lnTo>
                  <a:pt x="244721" y="149980"/>
                </a:lnTo>
                <a:lnTo>
                  <a:pt x="244615" y="149980"/>
                </a:lnTo>
                <a:lnTo>
                  <a:pt x="244457" y="150033"/>
                </a:lnTo>
                <a:lnTo>
                  <a:pt x="244351" y="150033"/>
                </a:lnTo>
                <a:lnTo>
                  <a:pt x="244140" y="149663"/>
                </a:lnTo>
                <a:lnTo>
                  <a:pt x="244034" y="149611"/>
                </a:lnTo>
                <a:close/>
                <a:moveTo>
                  <a:pt x="146864" y="157479"/>
                </a:moveTo>
                <a:lnTo>
                  <a:pt x="146864" y="157585"/>
                </a:lnTo>
                <a:lnTo>
                  <a:pt x="146864" y="157638"/>
                </a:lnTo>
                <a:lnTo>
                  <a:pt x="146970" y="157638"/>
                </a:lnTo>
                <a:lnTo>
                  <a:pt x="146970" y="157585"/>
                </a:lnTo>
                <a:lnTo>
                  <a:pt x="146917" y="157479"/>
                </a:lnTo>
                <a:close/>
                <a:moveTo>
                  <a:pt x="161440" y="159093"/>
                </a:moveTo>
                <a:lnTo>
                  <a:pt x="161545" y="159116"/>
                </a:lnTo>
                <a:lnTo>
                  <a:pt x="161440" y="159116"/>
                </a:lnTo>
                <a:lnTo>
                  <a:pt x="161440" y="159093"/>
                </a:lnTo>
                <a:close/>
                <a:moveTo>
                  <a:pt x="159697" y="159328"/>
                </a:moveTo>
                <a:lnTo>
                  <a:pt x="159539" y="159381"/>
                </a:lnTo>
                <a:lnTo>
                  <a:pt x="159539" y="159328"/>
                </a:lnTo>
                <a:close/>
                <a:moveTo>
                  <a:pt x="81274" y="158536"/>
                </a:moveTo>
                <a:lnTo>
                  <a:pt x="81222" y="158588"/>
                </a:lnTo>
                <a:lnTo>
                  <a:pt x="81169" y="158694"/>
                </a:lnTo>
                <a:lnTo>
                  <a:pt x="80746" y="158852"/>
                </a:lnTo>
                <a:lnTo>
                  <a:pt x="80324" y="158852"/>
                </a:lnTo>
                <a:lnTo>
                  <a:pt x="80218" y="158958"/>
                </a:lnTo>
                <a:lnTo>
                  <a:pt x="79954" y="158958"/>
                </a:lnTo>
                <a:lnTo>
                  <a:pt x="79954" y="159064"/>
                </a:lnTo>
                <a:lnTo>
                  <a:pt x="79954" y="159222"/>
                </a:lnTo>
                <a:lnTo>
                  <a:pt x="79954" y="159275"/>
                </a:lnTo>
                <a:lnTo>
                  <a:pt x="80007" y="159328"/>
                </a:lnTo>
                <a:lnTo>
                  <a:pt x="80113" y="159381"/>
                </a:lnTo>
                <a:lnTo>
                  <a:pt x="80165" y="159381"/>
                </a:lnTo>
                <a:lnTo>
                  <a:pt x="80324" y="159328"/>
                </a:lnTo>
                <a:lnTo>
                  <a:pt x="80482" y="159381"/>
                </a:lnTo>
                <a:lnTo>
                  <a:pt x="80482" y="159486"/>
                </a:lnTo>
                <a:lnTo>
                  <a:pt x="80482" y="159592"/>
                </a:lnTo>
                <a:lnTo>
                  <a:pt x="80429" y="159750"/>
                </a:lnTo>
                <a:lnTo>
                  <a:pt x="80429" y="159750"/>
                </a:lnTo>
                <a:lnTo>
                  <a:pt x="80482" y="159697"/>
                </a:lnTo>
                <a:lnTo>
                  <a:pt x="80535" y="159645"/>
                </a:lnTo>
                <a:lnTo>
                  <a:pt x="80588" y="159539"/>
                </a:lnTo>
                <a:lnTo>
                  <a:pt x="80588" y="159486"/>
                </a:lnTo>
                <a:lnTo>
                  <a:pt x="80852" y="159328"/>
                </a:lnTo>
                <a:lnTo>
                  <a:pt x="81222" y="159275"/>
                </a:lnTo>
                <a:lnTo>
                  <a:pt x="81222" y="159222"/>
                </a:lnTo>
                <a:lnTo>
                  <a:pt x="81222" y="159064"/>
                </a:lnTo>
                <a:lnTo>
                  <a:pt x="81222" y="159011"/>
                </a:lnTo>
                <a:lnTo>
                  <a:pt x="81222" y="158958"/>
                </a:lnTo>
                <a:lnTo>
                  <a:pt x="81222" y="158905"/>
                </a:lnTo>
                <a:lnTo>
                  <a:pt x="81222" y="158800"/>
                </a:lnTo>
                <a:lnTo>
                  <a:pt x="81327" y="158641"/>
                </a:lnTo>
                <a:lnTo>
                  <a:pt x="81380" y="158536"/>
                </a:lnTo>
                <a:close/>
                <a:moveTo>
                  <a:pt x="247995" y="148290"/>
                </a:moveTo>
                <a:lnTo>
                  <a:pt x="247942" y="148502"/>
                </a:lnTo>
                <a:lnTo>
                  <a:pt x="247942" y="148713"/>
                </a:lnTo>
                <a:lnTo>
                  <a:pt x="248048" y="149294"/>
                </a:lnTo>
                <a:lnTo>
                  <a:pt x="248048" y="149452"/>
                </a:lnTo>
                <a:lnTo>
                  <a:pt x="248101" y="149611"/>
                </a:lnTo>
                <a:lnTo>
                  <a:pt x="248206" y="149663"/>
                </a:lnTo>
                <a:lnTo>
                  <a:pt x="248365" y="149663"/>
                </a:lnTo>
                <a:lnTo>
                  <a:pt x="248365" y="149716"/>
                </a:lnTo>
                <a:lnTo>
                  <a:pt x="248259" y="149875"/>
                </a:lnTo>
                <a:lnTo>
                  <a:pt x="248206" y="150033"/>
                </a:lnTo>
                <a:lnTo>
                  <a:pt x="248259" y="150139"/>
                </a:lnTo>
                <a:lnTo>
                  <a:pt x="248365" y="150192"/>
                </a:lnTo>
                <a:lnTo>
                  <a:pt x="248418" y="150244"/>
                </a:lnTo>
                <a:lnTo>
                  <a:pt x="248523" y="150297"/>
                </a:lnTo>
                <a:lnTo>
                  <a:pt x="248523" y="150403"/>
                </a:lnTo>
                <a:lnTo>
                  <a:pt x="248576" y="150561"/>
                </a:lnTo>
                <a:lnTo>
                  <a:pt x="248734" y="150931"/>
                </a:lnTo>
                <a:lnTo>
                  <a:pt x="248840" y="150931"/>
                </a:lnTo>
                <a:lnTo>
                  <a:pt x="248893" y="150720"/>
                </a:lnTo>
                <a:lnTo>
                  <a:pt x="248893" y="150825"/>
                </a:lnTo>
                <a:lnTo>
                  <a:pt x="248893" y="150931"/>
                </a:lnTo>
                <a:lnTo>
                  <a:pt x="248840" y="151089"/>
                </a:lnTo>
                <a:lnTo>
                  <a:pt x="248629" y="151301"/>
                </a:lnTo>
                <a:lnTo>
                  <a:pt x="248576" y="151406"/>
                </a:lnTo>
                <a:lnTo>
                  <a:pt x="248576" y="151617"/>
                </a:lnTo>
                <a:lnTo>
                  <a:pt x="248629" y="151776"/>
                </a:lnTo>
                <a:lnTo>
                  <a:pt x="248734" y="151882"/>
                </a:lnTo>
                <a:lnTo>
                  <a:pt x="248787" y="151987"/>
                </a:lnTo>
                <a:lnTo>
                  <a:pt x="248734" y="152093"/>
                </a:lnTo>
                <a:lnTo>
                  <a:pt x="248734" y="152198"/>
                </a:lnTo>
                <a:lnTo>
                  <a:pt x="248787" y="152304"/>
                </a:lnTo>
                <a:lnTo>
                  <a:pt x="248946" y="152832"/>
                </a:lnTo>
                <a:lnTo>
                  <a:pt x="248999" y="153202"/>
                </a:lnTo>
                <a:lnTo>
                  <a:pt x="249051" y="153571"/>
                </a:lnTo>
                <a:lnTo>
                  <a:pt x="249051" y="153835"/>
                </a:lnTo>
                <a:lnTo>
                  <a:pt x="249051" y="154047"/>
                </a:lnTo>
                <a:lnTo>
                  <a:pt x="249051" y="154152"/>
                </a:lnTo>
                <a:lnTo>
                  <a:pt x="249051" y="154205"/>
                </a:lnTo>
                <a:lnTo>
                  <a:pt x="249104" y="154522"/>
                </a:lnTo>
                <a:lnTo>
                  <a:pt x="249104" y="154575"/>
                </a:lnTo>
                <a:lnTo>
                  <a:pt x="249210" y="154786"/>
                </a:lnTo>
                <a:lnTo>
                  <a:pt x="249210" y="154892"/>
                </a:lnTo>
                <a:lnTo>
                  <a:pt x="249210" y="155156"/>
                </a:lnTo>
                <a:lnTo>
                  <a:pt x="249210" y="155314"/>
                </a:lnTo>
                <a:lnTo>
                  <a:pt x="249263" y="155525"/>
                </a:lnTo>
                <a:lnTo>
                  <a:pt x="249368" y="155684"/>
                </a:lnTo>
                <a:lnTo>
                  <a:pt x="249421" y="155737"/>
                </a:lnTo>
                <a:lnTo>
                  <a:pt x="249527" y="155842"/>
                </a:lnTo>
                <a:lnTo>
                  <a:pt x="249632" y="156212"/>
                </a:lnTo>
                <a:lnTo>
                  <a:pt x="249685" y="156318"/>
                </a:lnTo>
                <a:lnTo>
                  <a:pt x="249791" y="156318"/>
                </a:lnTo>
                <a:lnTo>
                  <a:pt x="250055" y="156106"/>
                </a:lnTo>
                <a:lnTo>
                  <a:pt x="250583" y="155948"/>
                </a:lnTo>
                <a:lnTo>
                  <a:pt x="250688" y="156001"/>
                </a:lnTo>
                <a:lnTo>
                  <a:pt x="250477" y="156159"/>
                </a:lnTo>
                <a:lnTo>
                  <a:pt x="250266" y="156212"/>
                </a:lnTo>
                <a:lnTo>
                  <a:pt x="250108" y="156318"/>
                </a:lnTo>
                <a:lnTo>
                  <a:pt x="250002" y="156370"/>
                </a:lnTo>
                <a:lnTo>
                  <a:pt x="249949" y="156476"/>
                </a:lnTo>
                <a:lnTo>
                  <a:pt x="249843" y="156476"/>
                </a:lnTo>
                <a:lnTo>
                  <a:pt x="249738" y="156423"/>
                </a:lnTo>
                <a:lnTo>
                  <a:pt x="249685" y="156476"/>
                </a:lnTo>
                <a:lnTo>
                  <a:pt x="249685" y="156582"/>
                </a:lnTo>
                <a:lnTo>
                  <a:pt x="249738" y="156687"/>
                </a:lnTo>
                <a:lnTo>
                  <a:pt x="249791" y="156740"/>
                </a:lnTo>
                <a:lnTo>
                  <a:pt x="250002" y="157004"/>
                </a:lnTo>
                <a:lnTo>
                  <a:pt x="250108" y="157268"/>
                </a:lnTo>
                <a:lnTo>
                  <a:pt x="250160" y="157321"/>
                </a:lnTo>
                <a:lnTo>
                  <a:pt x="250319" y="157374"/>
                </a:lnTo>
                <a:lnTo>
                  <a:pt x="250741" y="157321"/>
                </a:lnTo>
                <a:lnTo>
                  <a:pt x="250900" y="157321"/>
                </a:lnTo>
                <a:lnTo>
                  <a:pt x="250847" y="157374"/>
                </a:lnTo>
                <a:lnTo>
                  <a:pt x="250741" y="157427"/>
                </a:lnTo>
                <a:lnTo>
                  <a:pt x="250688" y="157479"/>
                </a:lnTo>
                <a:lnTo>
                  <a:pt x="250583" y="157479"/>
                </a:lnTo>
                <a:lnTo>
                  <a:pt x="250583" y="157532"/>
                </a:lnTo>
                <a:lnTo>
                  <a:pt x="250741" y="157638"/>
                </a:lnTo>
                <a:lnTo>
                  <a:pt x="250794" y="157743"/>
                </a:lnTo>
                <a:lnTo>
                  <a:pt x="250847" y="157849"/>
                </a:lnTo>
                <a:lnTo>
                  <a:pt x="250741" y="157849"/>
                </a:lnTo>
                <a:lnTo>
                  <a:pt x="250424" y="157638"/>
                </a:lnTo>
                <a:lnTo>
                  <a:pt x="249896" y="157427"/>
                </a:lnTo>
                <a:lnTo>
                  <a:pt x="249896" y="157321"/>
                </a:lnTo>
                <a:lnTo>
                  <a:pt x="249843" y="157215"/>
                </a:lnTo>
                <a:lnTo>
                  <a:pt x="249738" y="157215"/>
                </a:lnTo>
                <a:lnTo>
                  <a:pt x="249685" y="157268"/>
                </a:lnTo>
                <a:lnTo>
                  <a:pt x="249685" y="157374"/>
                </a:lnTo>
                <a:lnTo>
                  <a:pt x="249685" y="157585"/>
                </a:lnTo>
                <a:lnTo>
                  <a:pt x="249685" y="157691"/>
                </a:lnTo>
                <a:lnTo>
                  <a:pt x="249738" y="157796"/>
                </a:lnTo>
                <a:lnTo>
                  <a:pt x="250002" y="157796"/>
                </a:lnTo>
                <a:lnTo>
                  <a:pt x="250160" y="157955"/>
                </a:lnTo>
                <a:lnTo>
                  <a:pt x="250160" y="158007"/>
                </a:lnTo>
                <a:lnTo>
                  <a:pt x="249896" y="158007"/>
                </a:lnTo>
                <a:lnTo>
                  <a:pt x="249738" y="158060"/>
                </a:lnTo>
                <a:lnTo>
                  <a:pt x="249632" y="158219"/>
                </a:lnTo>
                <a:lnTo>
                  <a:pt x="249579" y="158377"/>
                </a:lnTo>
                <a:lnTo>
                  <a:pt x="249632" y="158483"/>
                </a:lnTo>
                <a:lnTo>
                  <a:pt x="249685" y="158588"/>
                </a:lnTo>
                <a:lnTo>
                  <a:pt x="249791" y="158641"/>
                </a:lnTo>
                <a:lnTo>
                  <a:pt x="249949" y="158641"/>
                </a:lnTo>
                <a:lnTo>
                  <a:pt x="249843" y="158800"/>
                </a:lnTo>
                <a:lnTo>
                  <a:pt x="249685" y="158800"/>
                </a:lnTo>
                <a:lnTo>
                  <a:pt x="249368" y="158694"/>
                </a:lnTo>
                <a:lnTo>
                  <a:pt x="249315" y="158747"/>
                </a:lnTo>
                <a:lnTo>
                  <a:pt x="249315" y="158852"/>
                </a:lnTo>
                <a:lnTo>
                  <a:pt x="249315" y="158958"/>
                </a:lnTo>
                <a:lnTo>
                  <a:pt x="249368" y="159064"/>
                </a:lnTo>
                <a:lnTo>
                  <a:pt x="249421" y="159169"/>
                </a:lnTo>
                <a:lnTo>
                  <a:pt x="249579" y="159328"/>
                </a:lnTo>
                <a:lnTo>
                  <a:pt x="249474" y="159433"/>
                </a:lnTo>
                <a:lnTo>
                  <a:pt x="249421" y="159592"/>
                </a:lnTo>
                <a:lnTo>
                  <a:pt x="249368" y="159697"/>
                </a:lnTo>
                <a:lnTo>
                  <a:pt x="249474" y="160067"/>
                </a:lnTo>
                <a:lnTo>
                  <a:pt x="249474" y="160225"/>
                </a:lnTo>
                <a:lnTo>
                  <a:pt x="249368" y="160595"/>
                </a:lnTo>
                <a:lnTo>
                  <a:pt x="249368" y="160595"/>
                </a:lnTo>
                <a:lnTo>
                  <a:pt x="249579" y="160437"/>
                </a:lnTo>
                <a:lnTo>
                  <a:pt x="250002" y="160437"/>
                </a:lnTo>
                <a:lnTo>
                  <a:pt x="250108" y="160384"/>
                </a:lnTo>
                <a:lnTo>
                  <a:pt x="250213" y="160173"/>
                </a:lnTo>
                <a:lnTo>
                  <a:pt x="250372" y="160120"/>
                </a:lnTo>
                <a:lnTo>
                  <a:pt x="250741" y="159961"/>
                </a:lnTo>
                <a:lnTo>
                  <a:pt x="250741" y="159909"/>
                </a:lnTo>
                <a:lnTo>
                  <a:pt x="250688" y="159909"/>
                </a:lnTo>
                <a:lnTo>
                  <a:pt x="250636" y="159856"/>
                </a:lnTo>
                <a:lnTo>
                  <a:pt x="250688" y="159803"/>
                </a:lnTo>
                <a:lnTo>
                  <a:pt x="250688" y="159697"/>
                </a:lnTo>
                <a:lnTo>
                  <a:pt x="250688" y="159645"/>
                </a:lnTo>
                <a:lnTo>
                  <a:pt x="250794" y="159697"/>
                </a:lnTo>
                <a:lnTo>
                  <a:pt x="250900" y="159697"/>
                </a:lnTo>
                <a:lnTo>
                  <a:pt x="250900" y="159645"/>
                </a:lnTo>
                <a:lnTo>
                  <a:pt x="250900" y="159592"/>
                </a:lnTo>
                <a:lnTo>
                  <a:pt x="251058" y="159592"/>
                </a:lnTo>
                <a:lnTo>
                  <a:pt x="251164" y="159539"/>
                </a:lnTo>
                <a:lnTo>
                  <a:pt x="251058" y="159381"/>
                </a:lnTo>
                <a:lnTo>
                  <a:pt x="251164" y="159275"/>
                </a:lnTo>
                <a:lnTo>
                  <a:pt x="251217" y="159222"/>
                </a:lnTo>
                <a:lnTo>
                  <a:pt x="251269" y="159169"/>
                </a:lnTo>
                <a:lnTo>
                  <a:pt x="251322" y="159169"/>
                </a:lnTo>
                <a:lnTo>
                  <a:pt x="251375" y="159222"/>
                </a:lnTo>
                <a:lnTo>
                  <a:pt x="251481" y="159222"/>
                </a:lnTo>
                <a:lnTo>
                  <a:pt x="251586" y="159169"/>
                </a:lnTo>
                <a:lnTo>
                  <a:pt x="251639" y="159116"/>
                </a:lnTo>
                <a:lnTo>
                  <a:pt x="251692" y="159011"/>
                </a:lnTo>
                <a:lnTo>
                  <a:pt x="251745" y="158905"/>
                </a:lnTo>
                <a:lnTo>
                  <a:pt x="251797" y="158588"/>
                </a:lnTo>
                <a:lnTo>
                  <a:pt x="251797" y="158483"/>
                </a:lnTo>
                <a:lnTo>
                  <a:pt x="251850" y="158483"/>
                </a:lnTo>
                <a:lnTo>
                  <a:pt x="251956" y="158536"/>
                </a:lnTo>
                <a:lnTo>
                  <a:pt x="252009" y="158536"/>
                </a:lnTo>
                <a:lnTo>
                  <a:pt x="252062" y="158377"/>
                </a:lnTo>
                <a:lnTo>
                  <a:pt x="251956" y="158166"/>
                </a:lnTo>
                <a:lnTo>
                  <a:pt x="251850" y="158113"/>
                </a:lnTo>
                <a:lnTo>
                  <a:pt x="251797" y="158166"/>
                </a:lnTo>
                <a:lnTo>
                  <a:pt x="251745" y="158113"/>
                </a:lnTo>
                <a:lnTo>
                  <a:pt x="251692" y="158060"/>
                </a:lnTo>
                <a:lnTo>
                  <a:pt x="251797" y="157902"/>
                </a:lnTo>
                <a:lnTo>
                  <a:pt x="251745" y="157743"/>
                </a:lnTo>
                <a:lnTo>
                  <a:pt x="251586" y="157374"/>
                </a:lnTo>
                <a:lnTo>
                  <a:pt x="251692" y="157374"/>
                </a:lnTo>
                <a:lnTo>
                  <a:pt x="251797" y="157479"/>
                </a:lnTo>
                <a:lnTo>
                  <a:pt x="251850" y="157585"/>
                </a:lnTo>
                <a:lnTo>
                  <a:pt x="251903" y="157691"/>
                </a:lnTo>
                <a:lnTo>
                  <a:pt x="251903" y="157743"/>
                </a:lnTo>
                <a:lnTo>
                  <a:pt x="251903" y="157849"/>
                </a:lnTo>
                <a:lnTo>
                  <a:pt x="251903" y="157902"/>
                </a:lnTo>
                <a:lnTo>
                  <a:pt x="252009" y="157902"/>
                </a:lnTo>
                <a:lnTo>
                  <a:pt x="252009" y="157849"/>
                </a:lnTo>
                <a:lnTo>
                  <a:pt x="252009" y="157743"/>
                </a:lnTo>
                <a:lnTo>
                  <a:pt x="252009" y="157691"/>
                </a:lnTo>
                <a:lnTo>
                  <a:pt x="252062" y="157638"/>
                </a:lnTo>
                <a:lnTo>
                  <a:pt x="252062" y="157691"/>
                </a:lnTo>
                <a:lnTo>
                  <a:pt x="252062" y="157743"/>
                </a:lnTo>
                <a:lnTo>
                  <a:pt x="252431" y="158007"/>
                </a:lnTo>
                <a:lnTo>
                  <a:pt x="252537" y="158060"/>
                </a:lnTo>
                <a:lnTo>
                  <a:pt x="252642" y="158007"/>
                </a:lnTo>
                <a:lnTo>
                  <a:pt x="252748" y="157796"/>
                </a:lnTo>
                <a:lnTo>
                  <a:pt x="252801" y="157743"/>
                </a:lnTo>
                <a:lnTo>
                  <a:pt x="252906" y="157743"/>
                </a:lnTo>
                <a:lnTo>
                  <a:pt x="252959" y="157638"/>
                </a:lnTo>
                <a:lnTo>
                  <a:pt x="252959" y="157479"/>
                </a:lnTo>
                <a:lnTo>
                  <a:pt x="252959" y="157321"/>
                </a:lnTo>
                <a:lnTo>
                  <a:pt x="252959" y="157268"/>
                </a:lnTo>
                <a:lnTo>
                  <a:pt x="252959" y="157215"/>
                </a:lnTo>
                <a:lnTo>
                  <a:pt x="252906" y="157057"/>
                </a:lnTo>
                <a:lnTo>
                  <a:pt x="252906" y="156951"/>
                </a:lnTo>
                <a:lnTo>
                  <a:pt x="252854" y="156951"/>
                </a:lnTo>
                <a:lnTo>
                  <a:pt x="252801" y="157004"/>
                </a:lnTo>
                <a:lnTo>
                  <a:pt x="252695" y="157057"/>
                </a:lnTo>
                <a:lnTo>
                  <a:pt x="252537" y="157163"/>
                </a:lnTo>
                <a:lnTo>
                  <a:pt x="252431" y="157163"/>
                </a:lnTo>
                <a:lnTo>
                  <a:pt x="252537" y="156846"/>
                </a:lnTo>
                <a:lnTo>
                  <a:pt x="252378" y="156793"/>
                </a:lnTo>
                <a:lnTo>
                  <a:pt x="252114" y="156793"/>
                </a:lnTo>
                <a:lnTo>
                  <a:pt x="251956" y="156634"/>
                </a:lnTo>
                <a:lnTo>
                  <a:pt x="252220" y="156634"/>
                </a:lnTo>
                <a:lnTo>
                  <a:pt x="252220" y="156582"/>
                </a:lnTo>
                <a:lnTo>
                  <a:pt x="252167" y="156582"/>
                </a:lnTo>
                <a:lnTo>
                  <a:pt x="252114" y="156529"/>
                </a:lnTo>
                <a:lnTo>
                  <a:pt x="252009" y="156476"/>
                </a:lnTo>
                <a:lnTo>
                  <a:pt x="252062" y="156370"/>
                </a:lnTo>
                <a:lnTo>
                  <a:pt x="252167" y="156476"/>
                </a:lnTo>
                <a:lnTo>
                  <a:pt x="252220" y="156529"/>
                </a:lnTo>
                <a:lnTo>
                  <a:pt x="252590" y="156634"/>
                </a:lnTo>
                <a:lnTo>
                  <a:pt x="252748" y="156687"/>
                </a:lnTo>
                <a:lnTo>
                  <a:pt x="252801" y="156740"/>
                </a:lnTo>
                <a:lnTo>
                  <a:pt x="252801" y="156687"/>
                </a:lnTo>
                <a:lnTo>
                  <a:pt x="252801" y="156582"/>
                </a:lnTo>
                <a:lnTo>
                  <a:pt x="252801" y="156529"/>
                </a:lnTo>
                <a:lnTo>
                  <a:pt x="252959" y="156529"/>
                </a:lnTo>
                <a:lnTo>
                  <a:pt x="253012" y="156634"/>
                </a:lnTo>
                <a:lnTo>
                  <a:pt x="253012" y="156740"/>
                </a:lnTo>
                <a:lnTo>
                  <a:pt x="253065" y="156846"/>
                </a:lnTo>
                <a:lnTo>
                  <a:pt x="253171" y="156793"/>
                </a:lnTo>
                <a:lnTo>
                  <a:pt x="253118" y="156687"/>
                </a:lnTo>
                <a:lnTo>
                  <a:pt x="252906" y="156423"/>
                </a:lnTo>
                <a:lnTo>
                  <a:pt x="252748" y="156053"/>
                </a:lnTo>
                <a:lnTo>
                  <a:pt x="252748" y="156001"/>
                </a:lnTo>
                <a:lnTo>
                  <a:pt x="252748" y="155631"/>
                </a:lnTo>
                <a:lnTo>
                  <a:pt x="252748" y="155420"/>
                </a:lnTo>
                <a:lnTo>
                  <a:pt x="252642" y="155314"/>
                </a:lnTo>
                <a:lnTo>
                  <a:pt x="252590" y="155314"/>
                </a:lnTo>
                <a:lnTo>
                  <a:pt x="252484" y="155209"/>
                </a:lnTo>
                <a:lnTo>
                  <a:pt x="252378" y="155103"/>
                </a:lnTo>
                <a:lnTo>
                  <a:pt x="252114" y="155103"/>
                </a:lnTo>
                <a:lnTo>
                  <a:pt x="252062" y="154997"/>
                </a:lnTo>
                <a:lnTo>
                  <a:pt x="252167" y="154892"/>
                </a:lnTo>
                <a:lnTo>
                  <a:pt x="252167" y="154839"/>
                </a:lnTo>
                <a:lnTo>
                  <a:pt x="252167" y="154733"/>
                </a:lnTo>
                <a:lnTo>
                  <a:pt x="251428" y="153413"/>
                </a:lnTo>
                <a:lnTo>
                  <a:pt x="251217" y="153307"/>
                </a:lnTo>
                <a:lnTo>
                  <a:pt x="251111" y="153571"/>
                </a:lnTo>
                <a:lnTo>
                  <a:pt x="251058" y="153466"/>
                </a:lnTo>
                <a:lnTo>
                  <a:pt x="251058" y="153307"/>
                </a:lnTo>
                <a:lnTo>
                  <a:pt x="251058" y="153149"/>
                </a:lnTo>
                <a:lnTo>
                  <a:pt x="251111" y="152991"/>
                </a:lnTo>
                <a:lnTo>
                  <a:pt x="251111" y="152832"/>
                </a:lnTo>
                <a:lnTo>
                  <a:pt x="251058" y="152568"/>
                </a:lnTo>
                <a:lnTo>
                  <a:pt x="251058" y="152515"/>
                </a:lnTo>
                <a:lnTo>
                  <a:pt x="250952" y="152198"/>
                </a:lnTo>
                <a:lnTo>
                  <a:pt x="250952" y="152040"/>
                </a:lnTo>
                <a:lnTo>
                  <a:pt x="251058" y="152040"/>
                </a:lnTo>
                <a:lnTo>
                  <a:pt x="251217" y="152198"/>
                </a:lnTo>
                <a:lnTo>
                  <a:pt x="251269" y="152251"/>
                </a:lnTo>
                <a:lnTo>
                  <a:pt x="251375" y="152251"/>
                </a:lnTo>
                <a:lnTo>
                  <a:pt x="251322" y="152040"/>
                </a:lnTo>
                <a:lnTo>
                  <a:pt x="251217" y="151882"/>
                </a:lnTo>
                <a:lnTo>
                  <a:pt x="250952" y="151723"/>
                </a:lnTo>
                <a:lnTo>
                  <a:pt x="250952" y="151617"/>
                </a:lnTo>
                <a:lnTo>
                  <a:pt x="251058" y="151617"/>
                </a:lnTo>
                <a:lnTo>
                  <a:pt x="251217" y="151723"/>
                </a:lnTo>
                <a:lnTo>
                  <a:pt x="251217" y="151617"/>
                </a:lnTo>
                <a:lnTo>
                  <a:pt x="251164" y="151459"/>
                </a:lnTo>
                <a:lnTo>
                  <a:pt x="251111" y="151301"/>
                </a:lnTo>
                <a:lnTo>
                  <a:pt x="251005" y="151248"/>
                </a:lnTo>
                <a:lnTo>
                  <a:pt x="251005" y="151195"/>
                </a:lnTo>
                <a:lnTo>
                  <a:pt x="251005" y="151142"/>
                </a:lnTo>
                <a:lnTo>
                  <a:pt x="251005" y="151089"/>
                </a:lnTo>
                <a:lnTo>
                  <a:pt x="251058" y="151142"/>
                </a:lnTo>
                <a:lnTo>
                  <a:pt x="251111" y="151248"/>
                </a:lnTo>
                <a:lnTo>
                  <a:pt x="251164" y="151301"/>
                </a:lnTo>
                <a:lnTo>
                  <a:pt x="251269" y="151301"/>
                </a:lnTo>
                <a:lnTo>
                  <a:pt x="251375" y="151353"/>
                </a:lnTo>
                <a:lnTo>
                  <a:pt x="251533" y="151565"/>
                </a:lnTo>
                <a:lnTo>
                  <a:pt x="251639" y="151829"/>
                </a:lnTo>
                <a:lnTo>
                  <a:pt x="251745" y="152040"/>
                </a:lnTo>
                <a:lnTo>
                  <a:pt x="251533" y="151829"/>
                </a:lnTo>
                <a:lnTo>
                  <a:pt x="251428" y="151723"/>
                </a:lnTo>
                <a:lnTo>
                  <a:pt x="251322" y="151670"/>
                </a:lnTo>
                <a:lnTo>
                  <a:pt x="251322" y="151723"/>
                </a:lnTo>
                <a:lnTo>
                  <a:pt x="251533" y="151987"/>
                </a:lnTo>
                <a:lnTo>
                  <a:pt x="251639" y="152198"/>
                </a:lnTo>
                <a:lnTo>
                  <a:pt x="251745" y="152357"/>
                </a:lnTo>
                <a:lnTo>
                  <a:pt x="251797" y="152515"/>
                </a:lnTo>
                <a:lnTo>
                  <a:pt x="251850" y="153043"/>
                </a:lnTo>
                <a:lnTo>
                  <a:pt x="251903" y="153202"/>
                </a:lnTo>
                <a:lnTo>
                  <a:pt x="252009" y="153360"/>
                </a:lnTo>
                <a:lnTo>
                  <a:pt x="252062" y="153466"/>
                </a:lnTo>
                <a:lnTo>
                  <a:pt x="252326" y="153571"/>
                </a:lnTo>
                <a:lnTo>
                  <a:pt x="252378" y="153677"/>
                </a:lnTo>
                <a:lnTo>
                  <a:pt x="252431" y="154047"/>
                </a:lnTo>
                <a:lnTo>
                  <a:pt x="252431" y="154152"/>
                </a:lnTo>
                <a:lnTo>
                  <a:pt x="252431" y="154205"/>
                </a:lnTo>
                <a:lnTo>
                  <a:pt x="252431" y="154311"/>
                </a:lnTo>
                <a:lnTo>
                  <a:pt x="252431" y="154416"/>
                </a:lnTo>
                <a:lnTo>
                  <a:pt x="252431" y="154522"/>
                </a:lnTo>
                <a:lnTo>
                  <a:pt x="252484" y="154628"/>
                </a:lnTo>
                <a:lnTo>
                  <a:pt x="252484" y="154680"/>
                </a:lnTo>
                <a:lnTo>
                  <a:pt x="252906" y="155156"/>
                </a:lnTo>
                <a:lnTo>
                  <a:pt x="253012" y="155314"/>
                </a:lnTo>
                <a:lnTo>
                  <a:pt x="253065" y="155525"/>
                </a:lnTo>
                <a:lnTo>
                  <a:pt x="253118" y="155631"/>
                </a:lnTo>
                <a:lnTo>
                  <a:pt x="253276" y="155684"/>
                </a:lnTo>
                <a:lnTo>
                  <a:pt x="253329" y="155631"/>
                </a:lnTo>
                <a:lnTo>
                  <a:pt x="253223" y="155420"/>
                </a:lnTo>
                <a:lnTo>
                  <a:pt x="252959" y="154997"/>
                </a:lnTo>
                <a:lnTo>
                  <a:pt x="252906" y="154892"/>
                </a:lnTo>
                <a:lnTo>
                  <a:pt x="252906" y="154680"/>
                </a:lnTo>
                <a:lnTo>
                  <a:pt x="252906" y="154364"/>
                </a:lnTo>
                <a:lnTo>
                  <a:pt x="252854" y="154205"/>
                </a:lnTo>
                <a:lnTo>
                  <a:pt x="252854" y="154100"/>
                </a:lnTo>
                <a:lnTo>
                  <a:pt x="252854" y="153835"/>
                </a:lnTo>
                <a:lnTo>
                  <a:pt x="252854" y="153730"/>
                </a:lnTo>
                <a:lnTo>
                  <a:pt x="252695" y="153571"/>
                </a:lnTo>
                <a:lnTo>
                  <a:pt x="252537" y="153307"/>
                </a:lnTo>
                <a:lnTo>
                  <a:pt x="252431" y="153043"/>
                </a:lnTo>
                <a:lnTo>
                  <a:pt x="252326" y="152462"/>
                </a:lnTo>
                <a:lnTo>
                  <a:pt x="252167" y="152251"/>
                </a:lnTo>
                <a:lnTo>
                  <a:pt x="251903" y="151934"/>
                </a:lnTo>
                <a:lnTo>
                  <a:pt x="251903" y="151723"/>
                </a:lnTo>
                <a:lnTo>
                  <a:pt x="251533" y="151248"/>
                </a:lnTo>
                <a:lnTo>
                  <a:pt x="251481" y="150984"/>
                </a:lnTo>
                <a:lnTo>
                  <a:pt x="251428" y="150931"/>
                </a:lnTo>
                <a:lnTo>
                  <a:pt x="251375" y="150825"/>
                </a:lnTo>
                <a:lnTo>
                  <a:pt x="251586" y="150825"/>
                </a:lnTo>
                <a:lnTo>
                  <a:pt x="251586" y="150720"/>
                </a:lnTo>
                <a:lnTo>
                  <a:pt x="251586" y="150561"/>
                </a:lnTo>
                <a:lnTo>
                  <a:pt x="251533" y="150456"/>
                </a:lnTo>
                <a:lnTo>
                  <a:pt x="251481" y="150456"/>
                </a:lnTo>
                <a:lnTo>
                  <a:pt x="250794" y="150614"/>
                </a:lnTo>
                <a:lnTo>
                  <a:pt x="250688" y="150614"/>
                </a:lnTo>
                <a:lnTo>
                  <a:pt x="250530" y="150561"/>
                </a:lnTo>
                <a:lnTo>
                  <a:pt x="250266" y="150350"/>
                </a:lnTo>
                <a:lnTo>
                  <a:pt x="250108" y="150297"/>
                </a:lnTo>
                <a:lnTo>
                  <a:pt x="249791" y="150297"/>
                </a:lnTo>
                <a:lnTo>
                  <a:pt x="249579" y="150403"/>
                </a:lnTo>
                <a:lnTo>
                  <a:pt x="249157" y="150403"/>
                </a:lnTo>
                <a:lnTo>
                  <a:pt x="249157" y="150350"/>
                </a:lnTo>
                <a:lnTo>
                  <a:pt x="249104" y="150033"/>
                </a:lnTo>
                <a:lnTo>
                  <a:pt x="249104" y="149875"/>
                </a:lnTo>
                <a:lnTo>
                  <a:pt x="249051" y="149822"/>
                </a:lnTo>
                <a:lnTo>
                  <a:pt x="249051" y="149769"/>
                </a:lnTo>
                <a:lnTo>
                  <a:pt x="248999" y="149716"/>
                </a:lnTo>
                <a:lnTo>
                  <a:pt x="248840" y="149399"/>
                </a:lnTo>
                <a:lnTo>
                  <a:pt x="248787" y="149347"/>
                </a:lnTo>
                <a:lnTo>
                  <a:pt x="248734" y="149294"/>
                </a:lnTo>
                <a:lnTo>
                  <a:pt x="248734" y="149241"/>
                </a:lnTo>
                <a:lnTo>
                  <a:pt x="248734" y="149135"/>
                </a:lnTo>
                <a:lnTo>
                  <a:pt x="248682" y="148924"/>
                </a:lnTo>
                <a:lnTo>
                  <a:pt x="248576" y="148819"/>
                </a:lnTo>
                <a:lnTo>
                  <a:pt x="248418" y="148713"/>
                </a:lnTo>
                <a:lnTo>
                  <a:pt x="248365" y="148607"/>
                </a:lnTo>
                <a:lnTo>
                  <a:pt x="248154" y="148607"/>
                </a:lnTo>
                <a:lnTo>
                  <a:pt x="248154" y="148502"/>
                </a:lnTo>
                <a:lnTo>
                  <a:pt x="248154" y="148396"/>
                </a:lnTo>
                <a:lnTo>
                  <a:pt x="248101" y="148290"/>
                </a:lnTo>
                <a:close/>
                <a:moveTo>
                  <a:pt x="243823" y="157902"/>
                </a:moveTo>
                <a:lnTo>
                  <a:pt x="243718" y="157955"/>
                </a:lnTo>
                <a:lnTo>
                  <a:pt x="243770" y="158113"/>
                </a:lnTo>
                <a:lnTo>
                  <a:pt x="243823" y="158324"/>
                </a:lnTo>
                <a:lnTo>
                  <a:pt x="243718" y="158483"/>
                </a:lnTo>
                <a:lnTo>
                  <a:pt x="243770" y="158588"/>
                </a:lnTo>
                <a:lnTo>
                  <a:pt x="243770" y="158641"/>
                </a:lnTo>
                <a:lnTo>
                  <a:pt x="243665" y="158852"/>
                </a:lnTo>
                <a:lnTo>
                  <a:pt x="243770" y="158852"/>
                </a:lnTo>
                <a:lnTo>
                  <a:pt x="243876" y="158747"/>
                </a:lnTo>
                <a:lnTo>
                  <a:pt x="243929" y="158747"/>
                </a:lnTo>
                <a:lnTo>
                  <a:pt x="243929" y="158800"/>
                </a:lnTo>
                <a:lnTo>
                  <a:pt x="243876" y="159011"/>
                </a:lnTo>
                <a:lnTo>
                  <a:pt x="243876" y="159116"/>
                </a:lnTo>
                <a:lnTo>
                  <a:pt x="243929" y="159275"/>
                </a:lnTo>
                <a:lnTo>
                  <a:pt x="244034" y="159381"/>
                </a:lnTo>
                <a:lnTo>
                  <a:pt x="244404" y="159381"/>
                </a:lnTo>
                <a:lnTo>
                  <a:pt x="244351" y="159486"/>
                </a:lnTo>
                <a:lnTo>
                  <a:pt x="244298" y="159592"/>
                </a:lnTo>
                <a:lnTo>
                  <a:pt x="244140" y="159803"/>
                </a:lnTo>
                <a:lnTo>
                  <a:pt x="243982" y="159909"/>
                </a:lnTo>
                <a:lnTo>
                  <a:pt x="243929" y="159961"/>
                </a:lnTo>
                <a:lnTo>
                  <a:pt x="243876" y="160120"/>
                </a:lnTo>
                <a:lnTo>
                  <a:pt x="243823" y="160384"/>
                </a:lnTo>
                <a:lnTo>
                  <a:pt x="243770" y="160912"/>
                </a:lnTo>
                <a:lnTo>
                  <a:pt x="244404" y="160806"/>
                </a:lnTo>
                <a:lnTo>
                  <a:pt x="244457" y="160806"/>
                </a:lnTo>
                <a:lnTo>
                  <a:pt x="244510" y="160754"/>
                </a:lnTo>
                <a:lnTo>
                  <a:pt x="244774" y="160754"/>
                </a:lnTo>
                <a:lnTo>
                  <a:pt x="244879" y="160542"/>
                </a:lnTo>
                <a:lnTo>
                  <a:pt x="245091" y="159856"/>
                </a:lnTo>
                <a:lnTo>
                  <a:pt x="245143" y="159592"/>
                </a:lnTo>
                <a:lnTo>
                  <a:pt x="245091" y="159592"/>
                </a:lnTo>
                <a:lnTo>
                  <a:pt x="244932" y="159433"/>
                </a:lnTo>
                <a:lnTo>
                  <a:pt x="244879" y="159381"/>
                </a:lnTo>
                <a:lnTo>
                  <a:pt x="244879" y="159222"/>
                </a:lnTo>
                <a:lnTo>
                  <a:pt x="244879" y="159116"/>
                </a:lnTo>
                <a:lnTo>
                  <a:pt x="244879" y="158958"/>
                </a:lnTo>
                <a:lnTo>
                  <a:pt x="244827" y="158800"/>
                </a:lnTo>
                <a:lnTo>
                  <a:pt x="244774" y="158694"/>
                </a:lnTo>
                <a:lnTo>
                  <a:pt x="244932" y="158800"/>
                </a:lnTo>
                <a:lnTo>
                  <a:pt x="245038" y="158800"/>
                </a:lnTo>
                <a:lnTo>
                  <a:pt x="245091" y="158747"/>
                </a:lnTo>
                <a:lnTo>
                  <a:pt x="245038" y="158641"/>
                </a:lnTo>
                <a:lnTo>
                  <a:pt x="244879" y="158377"/>
                </a:lnTo>
                <a:lnTo>
                  <a:pt x="244827" y="158272"/>
                </a:lnTo>
                <a:lnTo>
                  <a:pt x="244298" y="157902"/>
                </a:lnTo>
                <a:close/>
                <a:moveTo>
                  <a:pt x="135457" y="161229"/>
                </a:moveTo>
                <a:lnTo>
                  <a:pt x="135405" y="161334"/>
                </a:lnTo>
                <a:lnTo>
                  <a:pt x="135405" y="161387"/>
                </a:lnTo>
                <a:lnTo>
                  <a:pt x="135457" y="161282"/>
                </a:lnTo>
                <a:lnTo>
                  <a:pt x="135510" y="161229"/>
                </a:lnTo>
                <a:close/>
                <a:moveTo>
                  <a:pt x="156423" y="161757"/>
                </a:moveTo>
                <a:lnTo>
                  <a:pt x="156264" y="161915"/>
                </a:lnTo>
                <a:lnTo>
                  <a:pt x="156317" y="161915"/>
                </a:lnTo>
                <a:lnTo>
                  <a:pt x="156476" y="161757"/>
                </a:lnTo>
                <a:close/>
                <a:moveTo>
                  <a:pt x="156212" y="161915"/>
                </a:moveTo>
                <a:lnTo>
                  <a:pt x="156212" y="161968"/>
                </a:lnTo>
                <a:lnTo>
                  <a:pt x="156264" y="161915"/>
                </a:lnTo>
                <a:close/>
                <a:moveTo>
                  <a:pt x="161123" y="151776"/>
                </a:moveTo>
                <a:lnTo>
                  <a:pt x="161123" y="151829"/>
                </a:lnTo>
                <a:lnTo>
                  <a:pt x="161123" y="151882"/>
                </a:lnTo>
                <a:lnTo>
                  <a:pt x="161123" y="151934"/>
                </a:lnTo>
                <a:lnTo>
                  <a:pt x="161281" y="152146"/>
                </a:lnTo>
                <a:lnTo>
                  <a:pt x="161493" y="152251"/>
                </a:lnTo>
                <a:lnTo>
                  <a:pt x="161598" y="152304"/>
                </a:lnTo>
                <a:lnTo>
                  <a:pt x="161809" y="152674"/>
                </a:lnTo>
                <a:lnTo>
                  <a:pt x="161915" y="152779"/>
                </a:lnTo>
                <a:lnTo>
                  <a:pt x="162021" y="152885"/>
                </a:lnTo>
                <a:lnTo>
                  <a:pt x="162073" y="152991"/>
                </a:lnTo>
                <a:lnTo>
                  <a:pt x="162073" y="153149"/>
                </a:lnTo>
                <a:lnTo>
                  <a:pt x="162126" y="153202"/>
                </a:lnTo>
                <a:lnTo>
                  <a:pt x="162232" y="153307"/>
                </a:lnTo>
                <a:lnTo>
                  <a:pt x="162285" y="153413"/>
                </a:lnTo>
                <a:lnTo>
                  <a:pt x="162232" y="153466"/>
                </a:lnTo>
                <a:lnTo>
                  <a:pt x="162179" y="153360"/>
                </a:lnTo>
                <a:lnTo>
                  <a:pt x="161862" y="153096"/>
                </a:lnTo>
                <a:lnTo>
                  <a:pt x="161651" y="152885"/>
                </a:lnTo>
                <a:lnTo>
                  <a:pt x="161545" y="152779"/>
                </a:lnTo>
                <a:lnTo>
                  <a:pt x="161387" y="152779"/>
                </a:lnTo>
                <a:lnTo>
                  <a:pt x="161440" y="152885"/>
                </a:lnTo>
                <a:lnTo>
                  <a:pt x="161545" y="153096"/>
                </a:lnTo>
                <a:lnTo>
                  <a:pt x="161545" y="153202"/>
                </a:lnTo>
                <a:lnTo>
                  <a:pt x="161598" y="153677"/>
                </a:lnTo>
                <a:lnTo>
                  <a:pt x="161598" y="154152"/>
                </a:lnTo>
                <a:lnTo>
                  <a:pt x="161598" y="154364"/>
                </a:lnTo>
                <a:lnTo>
                  <a:pt x="161651" y="154522"/>
                </a:lnTo>
                <a:lnTo>
                  <a:pt x="161598" y="154522"/>
                </a:lnTo>
                <a:lnTo>
                  <a:pt x="161598" y="154469"/>
                </a:lnTo>
                <a:lnTo>
                  <a:pt x="161545" y="154416"/>
                </a:lnTo>
                <a:lnTo>
                  <a:pt x="161545" y="154311"/>
                </a:lnTo>
                <a:lnTo>
                  <a:pt x="161545" y="154152"/>
                </a:lnTo>
                <a:lnTo>
                  <a:pt x="161545" y="153994"/>
                </a:lnTo>
                <a:lnTo>
                  <a:pt x="161545" y="153835"/>
                </a:lnTo>
                <a:lnTo>
                  <a:pt x="161440" y="153783"/>
                </a:lnTo>
                <a:lnTo>
                  <a:pt x="161176" y="153730"/>
                </a:lnTo>
                <a:lnTo>
                  <a:pt x="160912" y="153571"/>
                </a:lnTo>
                <a:lnTo>
                  <a:pt x="160542" y="153307"/>
                </a:lnTo>
                <a:lnTo>
                  <a:pt x="160436" y="153307"/>
                </a:lnTo>
                <a:lnTo>
                  <a:pt x="160278" y="153360"/>
                </a:lnTo>
                <a:lnTo>
                  <a:pt x="160278" y="153519"/>
                </a:lnTo>
                <a:lnTo>
                  <a:pt x="160384" y="153677"/>
                </a:lnTo>
                <a:lnTo>
                  <a:pt x="160489" y="153783"/>
                </a:lnTo>
                <a:lnTo>
                  <a:pt x="160648" y="153783"/>
                </a:lnTo>
                <a:lnTo>
                  <a:pt x="160648" y="153835"/>
                </a:lnTo>
                <a:lnTo>
                  <a:pt x="160700" y="153888"/>
                </a:lnTo>
                <a:lnTo>
                  <a:pt x="160806" y="154047"/>
                </a:lnTo>
                <a:lnTo>
                  <a:pt x="160859" y="154047"/>
                </a:lnTo>
                <a:lnTo>
                  <a:pt x="160964" y="154100"/>
                </a:lnTo>
                <a:lnTo>
                  <a:pt x="160964" y="154258"/>
                </a:lnTo>
                <a:lnTo>
                  <a:pt x="160912" y="154416"/>
                </a:lnTo>
                <a:lnTo>
                  <a:pt x="160753" y="154469"/>
                </a:lnTo>
                <a:lnTo>
                  <a:pt x="160648" y="154364"/>
                </a:lnTo>
                <a:lnTo>
                  <a:pt x="160595" y="154258"/>
                </a:lnTo>
                <a:lnTo>
                  <a:pt x="160542" y="154100"/>
                </a:lnTo>
                <a:lnTo>
                  <a:pt x="160489" y="153941"/>
                </a:lnTo>
                <a:lnTo>
                  <a:pt x="160384" y="153835"/>
                </a:lnTo>
                <a:lnTo>
                  <a:pt x="160225" y="153888"/>
                </a:lnTo>
                <a:lnTo>
                  <a:pt x="160120" y="153994"/>
                </a:lnTo>
                <a:lnTo>
                  <a:pt x="160067" y="154152"/>
                </a:lnTo>
                <a:lnTo>
                  <a:pt x="160278" y="154311"/>
                </a:lnTo>
                <a:lnTo>
                  <a:pt x="160384" y="154416"/>
                </a:lnTo>
                <a:lnTo>
                  <a:pt x="160384" y="154575"/>
                </a:lnTo>
                <a:lnTo>
                  <a:pt x="160331" y="154575"/>
                </a:lnTo>
                <a:lnTo>
                  <a:pt x="160225" y="154522"/>
                </a:lnTo>
                <a:lnTo>
                  <a:pt x="160014" y="154364"/>
                </a:lnTo>
                <a:lnTo>
                  <a:pt x="160014" y="154575"/>
                </a:lnTo>
                <a:lnTo>
                  <a:pt x="160120" y="155050"/>
                </a:lnTo>
                <a:lnTo>
                  <a:pt x="160067" y="155209"/>
                </a:lnTo>
                <a:lnTo>
                  <a:pt x="159961" y="154892"/>
                </a:lnTo>
                <a:lnTo>
                  <a:pt x="159855" y="154575"/>
                </a:lnTo>
                <a:lnTo>
                  <a:pt x="159803" y="154205"/>
                </a:lnTo>
                <a:lnTo>
                  <a:pt x="159803" y="153835"/>
                </a:lnTo>
                <a:lnTo>
                  <a:pt x="159803" y="153466"/>
                </a:lnTo>
                <a:lnTo>
                  <a:pt x="159750" y="153307"/>
                </a:lnTo>
                <a:lnTo>
                  <a:pt x="159644" y="153255"/>
                </a:lnTo>
                <a:lnTo>
                  <a:pt x="159539" y="153202"/>
                </a:lnTo>
                <a:lnTo>
                  <a:pt x="159486" y="153043"/>
                </a:lnTo>
                <a:lnTo>
                  <a:pt x="159486" y="152938"/>
                </a:lnTo>
                <a:lnTo>
                  <a:pt x="159380" y="152832"/>
                </a:lnTo>
                <a:lnTo>
                  <a:pt x="159222" y="152832"/>
                </a:lnTo>
                <a:lnTo>
                  <a:pt x="159222" y="152779"/>
                </a:lnTo>
                <a:lnTo>
                  <a:pt x="159116" y="152674"/>
                </a:lnTo>
                <a:lnTo>
                  <a:pt x="158905" y="152779"/>
                </a:lnTo>
                <a:lnTo>
                  <a:pt x="158799" y="152885"/>
                </a:lnTo>
                <a:lnTo>
                  <a:pt x="158746" y="152938"/>
                </a:lnTo>
                <a:lnTo>
                  <a:pt x="158641" y="152938"/>
                </a:lnTo>
                <a:lnTo>
                  <a:pt x="158377" y="153255"/>
                </a:lnTo>
                <a:lnTo>
                  <a:pt x="158218" y="153466"/>
                </a:lnTo>
                <a:lnTo>
                  <a:pt x="158166" y="153783"/>
                </a:lnTo>
                <a:lnTo>
                  <a:pt x="158218" y="154205"/>
                </a:lnTo>
                <a:lnTo>
                  <a:pt x="158324" y="154364"/>
                </a:lnTo>
                <a:lnTo>
                  <a:pt x="158482" y="154416"/>
                </a:lnTo>
                <a:lnTo>
                  <a:pt x="159011" y="154522"/>
                </a:lnTo>
                <a:lnTo>
                  <a:pt x="159327" y="154628"/>
                </a:lnTo>
                <a:lnTo>
                  <a:pt x="159644" y="154944"/>
                </a:lnTo>
                <a:lnTo>
                  <a:pt x="159750" y="154997"/>
                </a:lnTo>
                <a:lnTo>
                  <a:pt x="159803" y="155103"/>
                </a:lnTo>
                <a:lnTo>
                  <a:pt x="159855" y="155209"/>
                </a:lnTo>
                <a:lnTo>
                  <a:pt x="159855" y="155261"/>
                </a:lnTo>
                <a:lnTo>
                  <a:pt x="159803" y="155314"/>
                </a:lnTo>
                <a:lnTo>
                  <a:pt x="159697" y="155261"/>
                </a:lnTo>
                <a:lnTo>
                  <a:pt x="159644" y="155314"/>
                </a:lnTo>
                <a:lnTo>
                  <a:pt x="159591" y="155050"/>
                </a:lnTo>
                <a:lnTo>
                  <a:pt x="159433" y="154944"/>
                </a:lnTo>
                <a:lnTo>
                  <a:pt x="158799" y="154839"/>
                </a:lnTo>
                <a:lnTo>
                  <a:pt x="158430" y="154839"/>
                </a:lnTo>
                <a:lnTo>
                  <a:pt x="158271" y="154892"/>
                </a:lnTo>
                <a:lnTo>
                  <a:pt x="158377" y="155103"/>
                </a:lnTo>
                <a:lnTo>
                  <a:pt x="158905" y="155684"/>
                </a:lnTo>
                <a:lnTo>
                  <a:pt x="159116" y="155684"/>
                </a:lnTo>
                <a:lnTo>
                  <a:pt x="159222" y="155737"/>
                </a:lnTo>
                <a:lnTo>
                  <a:pt x="159275" y="155842"/>
                </a:lnTo>
                <a:lnTo>
                  <a:pt x="158905" y="155842"/>
                </a:lnTo>
                <a:lnTo>
                  <a:pt x="158694" y="155737"/>
                </a:lnTo>
                <a:lnTo>
                  <a:pt x="158588" y="155578"/>
                </a:lnTo>
                <a:lnTo>
                  <a:pt x="158535" y="155525"/>
                </a:lnTo>
                <a:lnTo>
                  <a:pt x="158482" y="155473"/>
                </a:lnTo>
                <a:lnTo>
                  <a:pt x="158482" y="155525"/>
                </a:lnTo>
                <a:lnTo>
                  <a:pt x="158482" y="155684"/>
                </a:lnTo>
                <a:lnTo>
                  <a:pt x="158482" y="155737"/>
                </a:lnTo>
                <a:lnTo>
                  <a:pt x="158641" y="156053"/>
                </a:lnTo>
                <a:lnTo>
                  <a:pt x="158588" y="156159"/>
                </a:lnTo>
                <a:lnTo>
                  <a:pt x="158535" y="156001"/>
                </a:lnTo>
                <a:lnTo>
                  <a:pt x="158430" y="156001"/>
                </a:lnTo>
                <a:lnTo>
                  <a:pt x="158377" y="156106"/>
                </a:lnTo>
                <a:lnTo>
                  <a:pt x="158377" y="156212"/>
                </a:lnTo>
                <a:lnTo>
                  <a:pt x="158377" y="156265"/>
                </a:lnTo>
                <a:lnTo>
                  <a:pt x="158324" y="156318"/>
                </a:lnTo>
                <a:lnTo>
                  <a:pt x="158324" y="156423"/>
                </a:lnTo>
                <a:lnTo>
                  <a:pt x="158324" y="156582"/>
                </a:lnTo>
                <a:lnTo>
                  <a:pt x="158377" y="156793"/>
                </a:lnTo>
                <a:lnTo>
                  <a:pt x="158482" y="156951"/>
                </a:lnTo>
                <a:lnTo>
                  <a:pt x="158588" y="156846"/>
                </a:lnTo>
                <a:lnTo>
                  <a:pt x="158588" y="156529"/>
                </a:lnTo>
                <a:lnTo>
                  <a:pt x="158588" y="156370"/>
                </a:lnTo>
                <a:lnTo>
                  <a:pt x="158588" y="156318"/>
                </a:lnTo>
                <a:lnTo>
                  <a:pt x="158641" y="157004"/>
                </a:lnTo>
                <a:lnTo>
                  <a:pt x="158694" y="157110"/>
                </a:lnTo>
                <a:lnTo>
                  <a:pt x="158746" y="157163"/>
                </a:lnTo>
                <a:lnTo>
                  <a:pt x="158852" y="157268"/>
                </a:lnTo>
                <a:lnTo>
                  <a:pt x="158905" y="157479"/>
                </a:lnTo>
                <a:lnTo>
                  <a:pt x="158905" y="157638"/>
                </a:lnTo>
                <a:lnTo>
                  <a:pt x="158958" y="157796"/>
                </a:lnTo>
                <a:lnTo>
                  <a:pt x="159169" y="157902"/>
                </a:lnTo>
                <a:lnTo>
                  <a:pt x="159275" y="158007"/>
                </a:lnTo>
                <a:lnTo>
                  <a:pt x="159380" y="158113"/>
                </a:lnTo>
                <a:lnTo>
                  <a:pt x="159486" y="158219"/>
                </a:lnTo>
                <a:lnTo>
                  <a:pt x="159486" y="158219"/>
                </a:lnTo>
                <a:lnTo>
                  <a:pt x="158905" y="157955"/>
                </a:lnTo>
                <a:lnTo>
                  <a:pt x="158799" y="157796"/>
                </a:lnTo>
                <a:lnTo>
                  <a:pt x="158535" y="157321"/>
                </a:lnTo>
                <a:lnTo>
                  <a:pt x="158482" y="157215"/>
                </a:lnTo>
                <a:lnTo>
                  <a:pt x="158324" y="157110"/>
                </a:lnTo>
                <a:lnTo>
                  <a:pt x="158218" y="157057"/>
                </a:lnTo>
                <a:lnTo>
                  <a:pt x="158166" y="156793"/>
                </a:lnTo>
                <a:lnTo>
                  <a:pt x="158113" y="156159"/>
                </a:lnTo>
                <a:lnTo>
                  <a:pt x="158007" y="155895"/>
                </a:lnTo>
                <a:lnTo>
                  <a:pt x="157849" y="155737"/>
                </a:lnTo>
                <a:lnTo>
                  <a:pt x="157373" y="155895"/>
                </a:lnTo>
                <a:lnTo>
                  <a:pt x="157215" y="155789"/>
                </a:lnTo>
                <a:lnTo>
                  <a:pt x="157690" y="155684"/>
                </a:lnTo>
                <a:lnTo>
                  <a:pt x="157849" y="155578"/>
                </a:lnTo>
                <a:lnTo>
                  <a:pt x="157690" y="155050"/>
                </a:lnTo>
                <a:lnTo>
                  <a:pt x="157637" y="154892"/>
                </a:lnTo>
                <a:lnTo>
                  <a:pt x="157479" y="154839"/>
                </a:lnTo>
                <a:lnTo>
                  <a:pt x="157004" y="154839"/>
                </a:lnTo>
                <a:lnTo>
                  <a:pt x="156898" y="154786"/>
                </a:lnTo>
                <a:lnTo>
                  <a:pt x="156740" y="154680"/>
                </a:lnTo>
                <a:lnTo>
                  <a:pt x="156581" y="154680"/>
                </a:lnTo>
                <a:lnTo>
                  <a:pt x="156528" y="154733"/>
                </a:lnTo>
                <a:lnTo>
                  <a:pt x="156423" y="154839"/>
                </a:lnTo>
                <a:lnTo>
                  <a:pt x="156370" y="154892"/>
                </a:lnTo>
                <a:lnTo>
                  <a:pt x="156053" y="154892"/>
                </a:lnTo>
                <a:lnTo>
                  <a:pt x="156053" y="154997"/>
                </a:lnTo>
                <a:lnTo>
                  <a:pt x="155895" y="155103"/>
                </a:lnTo>
                <a:lnTo>
                  <a:pt x="155631" y="155367"/>
                </a:lnTo>
                <a:lnTo>
                  <a:pt x="155842" y="155473"/>
                </a:lnTo>
                <a:lnTo>
                  <a:pt x="155895" y="155525"/>
                </a:lnTo>
                <a:lnTo>
                  <a:pt x="155578" y="155420"/>
                </a:lnTo>
                <a:lnTo>
                  <a:pt x="155314" y="155420"/>
                </a:lnTo>
                <a:lnTo>
                  <a:pt x="155261" y="155525"/>
                </a:lnTo>
                <a:lnTo>
                  <a:pt x="155367" y="155895"/>
                </a:lnTo>
                <a:lnTo>
                  <a:pt x="155314" y="156001"/>
                </a:lnTo>
                <a:lnTo>
                  <a:pt x="155208" y="155789"/>
                </a:lnTo>
                <a:lnTo>
                  <a:pt x="155155" y="155737"/>
                </a:lnTo>
                <a:lnTo>
                  <a:pt x="155103" y="155737"/>
                </a:lnTo>
                <a:lnTo>
                  <a:pt x="154997" y="155842"/>
                </a:lnTo>
                <a:lnTo>
                  <a:pt x="154839" y="155895"/>
                </a:lnTo>
                <a:lnTo>
                  <a:pt x="154733" y="156001"/>
                </a:lnTo>
                <a:lnTo>
                  <a:pt x="154680" y="156159"/>
                </a:lnTo>
                <a:lnTo>
                  <a:pt x="154627" y="156370"/>
                </a:lnTo>
                <a:lnTo>
                  <a:pt x="154733" y="156423"/>
                </a:lnTo>
                <a:lnTo>
                  <a:pt x="154680" y="156476"/>
                </a:lnTo>
                <a:lnTo>
                  <a:pt x="154522" y="156582"/>
                </a:lnTo>
                <a:lnTo>
                  <a:pt x="154310" y="156793"/>
                </a:lnTo>
                <a:lnTo>
                  <a:pt x="154363" y="156898"/>
                </a:lnTo>
                <a:lnTo>
                  <a:pt x="154363" y="157057"/>
                </a:lnTo>
                <a:lnTo>
                  <a:pt x="154363" y="157215"/>
                </a:lnTo>
                <a:lnTo>
                  <a:pt x="154258" y="157321"/>
                </a:lnTo>
                <a:lnTo>
                  <a:pt x="154258" y="157374"/>
                </a:lnTo>
                <a:lnTo>
                  <a:pt x="154310" y="157374"/>
                </a:lnTo>
                <a:lnTo>
                  <a:pt x="154363" y="157427"/>
                </a:lnTo>
                <a:lnTo>
                  <a:pt x="154363" y="157479"/>
                </a:lnTo>
                <a:lnTo>
                  <a:pt x="154363" y="157532"/>
                </a:lnTo>
                <a:lnTo>
                  <a:pt x="154205" y="157479"/>
                </a:lnTo>
                <a:lnTo>
                  <a:pt x="154099" y="157427"/>
                </a:lnTo>
                <a:lnTo>
                  <a:pt x="153941" y="157374"/>
                </a:lnTo>
                <a:lnTo>
                  <a:pt x="153835" y="157479"/>
                </a:lnTo>
                <a:lnTo>
                  <a:pt x="153888" y="157585"/>
                </a:lnTo>
                <a:lnTo>
                  <a:pt x="154046" y="157638"/>
                </a:lnTo>
                <a:lnTo>
                  <a:pt x="154099" y="157743"/>
                </a:lnTo>
                <a:lnTo>
                  <a:pt x="154099" y="157849"/>
                </a:lnTo>
                <a:lnTo>
                  <a:pt x="154046" y="157902"/>
                </a:lnTo>
                <a:lnTo>
                  <a:pt x="153888" y="157902"/>
                </a:lnTo>
                <a:lnTo>
                  <a:pt x="153994" y="158060"/>
                </a:lnTo>
                <a:lnTo>
                  <a:pt x="154099" y="158060"/>
                </a:lnTo>
                <a:lnTo>
                  <a:pt x="154310" y="158007"/>
                </a:lnTo>
                <a:lnTo>
                  <a:pt x="154416" y="158007"/>
                </a:lnTo>
                <a:lnTo>
                  <a:pt x="154416" y="158060"/>
                </a:lnTo>
                <a:lnTo>
                  <a:pt x="154416" y="158113"/>
                </a:lnTo>
                <a:lnTo>
                  <a:pt x="154786" y="158113"/>
                </a:lnTo>
                <a:lnTo>
                  <a:pt x="154786" y="158166"/>
                </a:lnTo>
                <a:lnTo>
                  <a:pt x="154786" y="158272"/>
                </a:lnTo>
                <a:lnTo>
                  <a:pt x="154839" y="158430"/>
                </a:lnTo>
                <a:lnTo>
                  <a:pt x="155050" y="158747"/>
                </a:lnTo>
                <a:lnTo>
                  <a:pt x="155103" y="158905"/>
                </a:lnTo>
                <a:lnTo>
                  <a:pt x="155103" y="159116"/>
                </a:lnTo>
                <a:lnTo>
                  <a:pt x="155103" y="159750"/>
                </a:lnTo>
                <a:lnTo>
                  <a:pt x="155155" y="160067"/>
                </a:lnTo>
                <a:lnTo>
                  <a:pt x="155155" y="160225"/>
                </a:lnTo>
                <a:lnTo>
                  <a:pt x="155155" y="160437"/>
                </a:lnTo>
                <a:lnTo>
                  <a:pt x="155155" y="160701"/>
                </a:lnTo>
                <a:lnTo>
                  <a:pt x="155155" y="160754"/>
                </a:lnTo>
                <a:lnTo>
                  <a:pt x="155155" y="160806"/>
                </a:lnTo>
                <a:lnTo>
                  <a:pt x="155419" y="160806"/>
                </a:lnTo>
                <a:lnTo>
                  <a:pt x="155525" y="160859"/>
                </a:lnTo>
                <a:lnTo>
                  <a:pt x="155683" y="160912"/>
                </a:lnTo>
                <a:lnTo>
                  <a:pt x="155789" y="161018"/>
                </a:lnTo>
                <a:lnTo>
                  <a:pt x="156106" y="161334"/>
                </a:lnTo>
                <a:lnTo>
                  <a:pt x="156159" y="161387"/>
                </a:lnTo>
                <a:lnTo>
                  <a:pt x="156212" y="161546"/>
                </a:lnTo>
                <a:lnTo>
                  <a:pt x="156212" y="161493"/>
                </a:lnTo>
                <a:lnTo>
                  <a:pt x="156264" y="161493"/>
                </a:lnTo>
                <a:lnTo>
                  <a:pt x="156264" y="161546"/>
                </a:lnTo>
                <a:lnTo>
                  <a:pt x="156264" y="161599"/>
                </a:lnTo>
                <a:lnTo>
                  <a:pt x="156264" y="161704"/>
                </a:lnTo>
                <a:lnTo>
                  <a:pt x="156370" y="161493"/>
                </a:lnTo>
                <a:lnTo>
                  <a:pt x="156423" y="161493"/>
                </a:lnTo>
                <a:lnTo>
                  <a:pt x="156423" y="161546"/>
                </a:lnTo>
                <a:lnTo>
                  <a:pt x="156476" y="161546"/>
                </a:lnTo>
                <a:lnTo>
                  <a:pt x="156476" y="161493"/>
                </a:lnTo>
                <a:lnTo>
                  <a:pt x="156528" y="161387"/>
                </a:lnTo>
                <a:lnTo>
                  <a:pt x="156528" y="161334"/>
                </a:lnTo>
                <a:lnTo>
                  <a:pt x="156476" y="161282"/>
                </a:lnTo>
                <a:lnTo>
                  <a:pt x="156423" y="161176"/>
                </a:lnTo>
                <a:lnTo>
                  <a:pt x="156634" y="161176"/>
                </a:lnTo>
                <a:lnTo>
                  <a:pt x="156740" y="161123"/>
                </a:lnTo>
                <a:lnTo>
                  <a:pt x="156845" y="160965"/>
                </a:lnTo>
                <a:lnTo>
                  <a:pt x="156845" y="160912"/>
                </a:lnTo>
                <a:lnTo>
                  <a:pt x="156845" y="160701"/>
                </a:lnTo>
                <a:lnTo>
                  <a:pt x="156845" y="160595"/>
                </a:lnTo>
                <a:lnTo>
                  <a:pt x="156845" y="160542"/>
                </a:lnTo>
                <a:lnTo>
                  <a:pt x="156951" y="160331"/>
                </a:lnTo>
                <a:lnTo>
                  <a:pt x="157004" y="160014"/>
                </a:lnTo>
                <a:lnTo>
                  <a:pt x="157057" y="159856"/>
                </a:lnTo>
                <a:lnTo>
                  <a:pt x="157057" y="159750"/>
                </a:lnTo>
                <a:lnTo>
                  <a:pt x="157004" y="159697"/>
                </a:lnTo>
                <a:lnTo>
                  <a:pt x="156264" y="159750"/>
                </a:lnTo>
                <a:lnTo>
                  <a:pt x="156159" y="159803"/>
                </a:lnTo>
                <a:lnTo>
                  <a:pt x="156053" y="159909"/>
                </a:lnTo>
                <a:lnTo>
                  <a:pt x="155895" y="160120"/>
                </a:lnTo>
                <a:lnTo>
                  <a:pt x="155842" y="160225"/>
                </a:lnTo>
                <a:lnTo>
                  <a:pt x="155736" y="160278"/>
                </a:lnTo>
                <a:lnTo>
                  <a:pt x="155578" y="160278"/>
                </a:lnTo>
                <a:lnTo>
                  <a:pt x="155472" y="160225"/>
                </a:lnTo>
                <a:lnTo>
                  <a:pt x="155367" y="160120"/>
                </a:lnTo>
                <a:lnTo>
                  <a:pt x="155261" y="159961"/>
                </a:lnTo>
                <a:lnTo>
                  <a:pt x="155208" y="159750"/>
                </a:lnTo>
                <a:lnTo>
                  <a:pt x="155314" y="159645"/>
                </a:lnTo>
                <a:lnTo>
                  <a:pt x="155578" y="159645"/>
                </a:lnTo>
                <a:lnTo>
                  <a:pt x="155683" y="159592"/>
                </a:lnTo>
                <a:lnTo>
                  <a:pt x="155789" y="159486"/>
                </a:lnTo>
                <a:lnTo>
                  <a:pt x="156159" y="159486"/>
                </a:lnTo>
                <a:lnTo>
                  <a:pt x="156423" y="159433"/>
                </a:lnTo>
                <a:lnTo>
                  <a:pt x="156740" y="159486"/>
                </a:lnTo>
                <a:lnTo>
                  <a:pt x="157057" y="159486"/>
                </a:lnTo>
                <a:lnTo>
                  <a:pt x="157109" y="159645"/>
                </a:lnTo>
                <a:lnTo>
                  <a:pt x="157162" y="159645"/>
                </a:lnTo>
                <a:lnTo>
                  <a:pt x="157743" y="159697"/>
                </a:lnTo>
                <a:lnTo>
                  <a:pt x="157162" y="160173"/>
                </a:lnTo>
                <a:lnTo>
                  <a:pt x="157004" y="160384"/>
                </a:lnTo>
                <a:lnTo>
                  <a:pt x="157004" y="160542"/>
                </a:lnTo>
                <a:lnTo>
                  <a:pt x="157004" y="160595"/>
                </a:lnTo>
                <a:lnTo>
                  <a:pt x="156951" y="160648"/>
                </a:lnTo>
                <a:lnTo>
                  <a:pt x="156951" y="160701"/>
                </a:lnTo>
                <a:lnTo>
                  <a:pt x="156951" y="160806"/>
                </a:lnTo>
                <a:lnTo>
                  <a:pt x="157004" y="160859"/>
                </a:lnTo>
                <a:lnTo>
                  <a:pt x="157109" y="161070"/>
                </a:lnTo>
                <a:lnTo>
                  <a:pt x="157215" y="160965"/>
                </a:lnTo>
                <a:lnTo>
                  <a:pt x="157321" y="160754"/>
                </a:lnTo>
                <a:lnTo>
                  <a:pt x="157532" y="160384"/>
                </a:lnTo>
                <a:lnTo>
                  <a:pt x="157690" y="160225"/>
                </a:lnTo>
                <a:lnTo>
                  <a:pt x="158271" y="159697"/>
                </a:lnTo>
                <a:lnTo>
                  <a:pt x="158377" y="159645"/>
                </a:lnTo>
                <a:lnTo>
                  <a:pt x="158430" y="159592"/>
                </a:lnTo>
                <a:lnTo>
                  <a:pt x="158430" y="159486"/>
                </a:lnTo>
                <a:lnTo>
                  <a:pt x="158482" y="159381"/>
                </a:lnTo>
                <a:lnTo>
                  <a:pt x="158588" y="159433"/>
                </a:lnTo>
                <a:lnTo>
                  <a:pt x="158799" y="159592"/>
                </a:lnTo>
                <a:lnTo>
                  <a:pt x="158799" y="159645"/>
                </a:lnTo>
                <a:lnTo>
                  <a:pt x="158535" y="159645"/>
                </a:lnTo>
                <a:lnTo>
                  <a:pt x="158535" y="159697"/>
                </a:lnTo>
                <a:lnTo>
                  <a:pt x="158430" y="159803"/>
                </a:lnTo>
                <a:lnTo>
                  <a:pt x="158324" y="159803"/>
                </a:lnTo>
                <a:lnTo>
                  <a:pt x="158113" y="159961"/>
                </a:lnTo>
                <a:lnTo>
                  <a:pt x="158007" y="160014"/>
                </a:lnTo>
                <a:lnTo>
                  <a:pt x="157954" y="160120"/>
                </a:lnTo>
                <a:lnTo>
                  <a:pt x="157902" y="160384"/>
                </a:lnTo>
                <a:lnTo>
                  <a:pt x="157743" y="160595"/>
                </a:lnTo>
                <a:lnTo>
                  <a:pt x="157743" y="160701"/>
                </a:lnTo>
                <a:lnTo>
                  <a:pt x="157743" y="160859"/>
                </a:lnTo>
                <a:lnTo>
                  <a:pt x="157743" y="160965"/>
                </a:lnTo>
                <a:lnTo>
                  <a:pt x="158060" y="160965"/>
                </a:lnTo>
                <a:lnTo>
                  <a:pt x="158166" y="160912"/>
                </a:lnTo>
                <a:lnTo>
                  <a:pt x="158166" y="160754"/>
                </a:lnTo>
                <a:lnTo>
                  <a:pt x="158218" y="160595"/>
                </a:lnTo>
                <a:lnTo>
                  <a:pt x="158271" y="160490"/>
                </a:lnTo>
                <a:lnTo>
                  <a:pt x="158324" y="160542"/>
                </a:lnTo>
                <a:lnTo>
                  <a:pt x="158324" y="160701"/>
                </a:lnTo>
                <a:lnTo>
                  <a:pt x="158218" y="160912"/>
                </a:lnTo>
                <a:lnTo>
                  <a:pt x="158218" y="160965"/>
                </a:lnTo>
                <a:lnTo>
                  <a:pt x="158324" y="160965"/>
                </a:lnTo>
                <a:lnTo>
                  <a:pt x="158535" y="160701"/>
                </a:lnTo>
                <a:lnTo>
                  <a:pt x="158535" y="160754"/>
                </a:lnTo>
                <a:lnTo>
                  <a:pt x="158377" y="160965"/>
                </a:lnTo>
                <a:lnTo>
                  <a:pt x="158007" y="161334"/>
                </a:lnTo>
                <a:lnTo>
                  <a:pt x="157796" y="161440"/>
                </a:lnTo>
                <a:lnTo>
                  <a:pt x="157690" y="161493"/>
                </a:lnTo>
                <a:lnTo>
                  <a:pt x="157637" y="161546"/>
                </a:lnTo>
                <a:lnTo>
                  <a:pt x="157585" y="161651"/>
                </a:lnTo>
                <a:lnTo>
                  <a:pt x="157479" y="161810"/>
                </a:lnTo>
                <a:lnTo>
                  <a:pt x="157215" y="162021"/>
                </a:lnTo>
                <a:lnTo>
                  <a:pt x="156898" y="162549"/>
                </a:lnTo>
                <a:lnTo>
                  <a:pt x="156898" y="162655"/>
                </a:lnTo>
                <a:lnTo>
                  <a:pt x="156898" y="162760"/>
                </a:lnTo>
                <a:lnTo>
                  <a:pt x="156845" y="162813"/>
                </a:lnTo>
                <a:lnTo>
                  <a:pt x="156845" y="162866"/>
                </a:lnTo>
                <a:lnTo>
                  <a:pt x="156898" y="162919"/>
                </a:lnTo>
                <a:lnTo>
                  <a:pt x="157057" y="162919"/>
                </a:lnTo>
                <a:lnTo>
                  <a:pt x="157162" y="162813"/>
                </a:lnTo>
                <a:lnTo>
                  <a:pt x="157268" y="162760"/>
                </a:lnTo>
                <a:lnTo>
                  <a:pt x="157373" y="162813"/>
                </a:lnTo>
                <a:lnTo>
                  <a:pt x="157479" y="162919"/>
                </a:lnTo>
                <a:lnTo>
                  <a:pt x="157743" y="162919"/>
                </a:lnTo>
                <a:lnTo>
                  <a:pt x="157849" y="162813"/>
                </a:lnTo>
                <a:lnTo>
                  <a:pt x="158007" y="162602"/>
                </a:lnTo>
                <a:lnTo>
                  <a:pt x="158166" y="162444"/>
                </a:lnTo>
                <a:lnTo>
                  <a:pt x="158271" y="162338"/>
                </a:lnTo>
                <a:lnTo>
                  <a:pt x="158271" y="162127"/>
                </a:lnTo>
                <a:lnTo>
                  <a:pt x="158271" y="162074"/>
                </a:lnTo>
                <a:lnTo>
                  <a:pt x="158430" y="162074"/>
                </a:lnTo>
                <a:lnTo>
                  <a:pt x="158482" y="162127"/>
                </a:lnTo>
                <a:lnTo>
                  <a:pt x="158535" y="162127"/>
                </a:lnTo>
                <a:lnTo>
                  <a:pt x="158535" y="162074"/>
                </a:lnTo>
                <a:lnTo>
                  <a:pt x="158799" y="161968"/>
                </a:lnTo>
                <a:lnTo>
                  <a:pt x="158852" y="161968"/>
                </a:lnTo>
                <a:lnTo>
                  <a:pt x="158852" y="161863"/>
                </a:lnTo>
                <a:lnTo>
                  <a:pt x="158852" y="161757"/>
                </a:lnTo>
                <a:lnTo>
                  <a:pt x="158799" y="161704"/>
                </a:lnTo>
                <a:lnTo>
                  <a:pt x="158535" y="161810"/>
                </a:lnTo>
                <a:lnTo>
                  <a:pt x="158430" y="161810"/>
                </a:lnTo>
                <a:lnTo>
                  <a:pt x="158482" y="161599"/>
                </a:lnTo>
                <a:lnTo>
                  <a:pt x="158641" y="161704"/>
                </a:lnTo>
                <a:lnTo>
                  <a:pt x="158746" y="161493"/>
                </a:lnTo>
                <a:lnTo>
                  <a:pt x="158905" y="160912"/>
                </a:lnTo>
                <a:lnTo>
                  <a:pt x="158958" y="161070"/>
                </a:lnTo>
                <a:lnTo>
                  <a:pt x="158958" y="161229"/>
                </a:lnTo>
                <a:lnTo>
                  <a:pt x="158958" y="161282"/>
                </a:lnTo>
                <a:lnTo>
                  <a:pt x="159169" y="161282"/>
                </a:lnTo>
                <a:lnTo>
                  <a:pt x="159275" y="161176"/>
                </a:lnTo>
                <a:lnTo>
                  <a:pt x="159275" y="161070"/>
                </a:lnTo>
                <a:lnTo>
                  <a:pt x="159327" y="161070"/>
                </a:lnTo>
                <a:lnTo>
                  <a:pt x="159433" y="160859"/>
                </a:lnTo>
                <a:lnTo>
                  <a:pt x="159433" y="160754"/>
                </a:lnTo>
                <a:lnTo>
                  <a:pt x="159327" y="160701"/>
                </a:lnTo>
                <a:lnTo>
                  <a:pt x="158905" y="160648"/>
                </a:lnTo>
                <a:lnTo>
                  <a:pt x="158958" y="160595"/>
                </a:lnTo>
                <a:lnTo>
                  <a:pt x="159169" y="160595"/>
                </a:lnTo>
                <a:lnTo>
                  <a:pt x="159222" y="160542"/>
                </a:lnTo>
                <a:lnTo>
                  <a:pt x="159275" y="160437"/>
                </a:lnTo>
                <a:lnTo>
                  <a:pt x="159275" y="160384"/>
                </a:lnTo>
                <a:lnTo>
                  <a:pt x="159222" y="160384"/>
                </a:lnTo>
                <a:lnTo>
                  <a:pt x="158482" y="160437"/>
                </a:lnTo>
                <a:lnTo>
                  <a:pt x="158482" y="160384"/>
                </a:lnTo>
                <a:lnTo>
                  <a:pt x="158694" y="160225"/>
                </a:lnTo>
                <a:lnTo>
                  <a:pt x="159433" y="160120"/>
                </a:lnTo>
                <a:lnTo>
                  <a:pt x="159644" y="160225"/>
                </a:lnTo>
                <a:lnTo>
                  <a:pt x="159697" y="160173"/>
                </a:lnTo>
                <a:lnTo>
                  <a:pt x="159697" y="159961"/>
                </a:lnTo>
                <a:lnTo>
                  <a:pt x="159697" y="159856"/>
                </a:lnTo>
                <a:lnTo>
                  <a:pt x="159644" y="159803"/>
                </a:lnTo>
                <a:lnTo>
                  <a:pt x="159644" y="159697"/>
                </a:lnTo>
                <a:lnTo>
                  <a:pt x="159644" y="159592"/>
                </a:lnTo>
                <a:lnTo>
                  <a:pt x="159741" y="159350"/>
                </a:lnTo>
                <a:lnTo>
                  <a:pt x="159741" y="159350"/>
                </a:lnTo>
                <a:lnTo>
                  <a:pt x="159803" y="159381"/>
                </a:lnTo>
                <a:lnTo>
                  <a:pt x="159803" y="159539"/>
                </a:lnTo>
                <a:lnTo>
                  <a:pt x="159803" y="159697"/>
                </a:lnTo>
                <a:lnTo>
                  <a:pt x="159803" y="159803"/>
                </a:lnTo>
                <a:lnTo>
                  <a:pt x="159908" y="159909"/>
                </a:lnTo>
                <a:lnTo>
                  <a:pt x="159961" y="159803"/>
                </a:lnTo>
                <a:lnTo>
                  <a:pt x="160014" y="159697"/>
                </a:lnTo>
                <a:lnTo>
                  <a:pt x="160120" y="159645"/>
                </a:lnTo>
                <a:lnTo>
                  <a:pt x="160278" y="159381"/>
                </a:lnTo>
                <a:lnTo>
                  <a:pt x="160278" y="159328"/>
                </a:lnTo>
                <a:lnTo>
                  <a:pt x="160278" y="159222"/>
                </a:lnTo>
                <a:lnTo>
                  <a:pt x="160225" y="159116"/>
                </a:lnTo>
                <a:lnTo>
                  <a:pt x="160278" y="159116"/>
                </a:lnTo>
                <a:lnTo>
                  <a:pt x="160436" y="159275"/>
                </a:lnTo>
                <a:lnTo>
                  <a:pt x="160489" y="159275"/>
                </a:lnTo>
                <a:lnTo>
                  <a:pt x="160542" y="159222"/>
                </a:lnTo>
                <a:lnTo>
                  <a:pt x="160595" y="159064"/>
                </a:lnTo>
                <a:lnTo>
                  <a:pt x="160648" y="159011"/>
                </a:lnTo>
                <a:lnTo>
                  <a:pt x="160753" y="159011"/>
                </a:lnTo>
                <a:lnTo>
                  <a:pt x="160806" y="158905"/>
                </a:lnTo>
                <a:lnTo>
                  <a:pt x="160859" y="158905"/>
                </a:lnTo>
                <a:lnTo>
                  <a:pt x="161017" y="159011"/>
                </a:lnTo>
                <a:lnTo>
                  <a:pt x="161070" y="159011"/>
                </a:lnTo>
                <a:lnTo>
                  <a:pt x="161243" y="159049"/>
                </a:lnTo>
                <a:lnTo>
                  <a:pt x="161243" y="159049"/>
                </a:lnTo>
                <a:lnTo>
                  <a:pt x="161229" y="159064"/>
                </a:lnTo>
                <a:lnTo>
                  <a:pt x="161123" y="159222"/>
                </a:lnTo>
                <a:lnTo>
                  <a:pt x="161070" y="159275"/>
                </a:lnTo>
                <a:lnTo>
                  <a:pt x="161017" y="159328"/>
                </a:lnTo>
                <a:lnTo>
                  <a:pt x="160859" y="159539"/>
                </a:lnTo>
                <a:lnTo>
                  <a:pt x="160700" y="159750"/>
                </a:lnTo>
                <a:lnTo>
                  <a:pt x="160648" y="159856"/>
                </a:lnTo>
                <a:lnTo>
                  <a:pt x="160700" y="159856"/>
                </a:lnTo>
                <a:lnTo>
                  <a:pt x="160753" y="159803"/>
                </a:lnTo>
                <a:lnTo>
                  <a:pt x="160859" y="159803"/>
                </a:lnTo>
                <a:lnTo>
                  <a:pt x="160859" y="159856"/>
                </a:lnTo>
                <a:lnTo>
                  <a:pt x="160859" y="159909"/>
                </a:lnTo>
                <a:lnTo>
                  <a:pt x="160753" y="159909"/>
                </a:lnTo>
                <a:lnTo>
                  <a:pt x="160595" y="160067"/>
                </a:lnTo>
                <a:lnTo>
                  <a:pt x="160542" y="160067"/>
                </a:lnTo>
                <a:lnTo>
                  <a:pt x="160595" y="160225"/>
                </a:lnTo>
                <a:lnTo>
                  <a:pt x="160753" y="160173"/>
                </a:lnTo>
                <a:lnTo>
                  <a:pt x="160912" y="160067"/>
                </a:lnTo>
                <a:lnTo>
                  <a:pt x="160964" y="160120"/>
                </a:lnTo>
                <a:lnTo>
                  <a:pt x="160964" y="160225"/>
                </a:lnTo>
                <a:lnTo>
                  <a:pt x="160912" y="160278"/>
                </a:lnTo>
                <a:lnTo>
                  <a:pt x="160859" y="160331"/>
                </a:lnTo>
                <a:lnTo>
                  <a:pt x="160859" y="160437"/>
                </a:lnTo>
                <a:lnTo>
                  <a:pt x="160964" y="160437"/>
                </a:lnTo>
                <a:lnTo>
                  <a:pt x="160964" y="160542"/>
                </a:lnTo>
                <a:lnTo>
                  <a:pt x="160859" y="160701"/>
                </a:lnTo>
                <a:lnTo>
                  <a:pt x="161017" y="160754"/>
                </a:lnTo>
                <a:lnTo>
                  <a:pt x="161176" y="160754"/>
                </a:lnTo>
                <a:lnTo>
                  <a:pt x="161387" y="160648"/>
                </a:lnTo>
                <a:lnTo>
                  <a:pt x="161440" y="160437"/>
                </a:lnTo>
                <a:lnTo>
                  <a:pt x="161440" y="160225"/>
                </a:lnTo>
                <a:lnTo>
                  <a:pt x="161440" y="160120"/>
                </a:lnTo>
                <a:lnTo>
                  <a:pt x="161440" y="160014"/>
                </a:lnTo>
                <a:lnTo>
                  <a:pt x="161545" y="160014"/>
                </a:lnTo>
                <a:lnTo>
                  <a:pt x="161704" y="159856"/>
                </a:lnTo>
                <a:lnTo>
                  <a:pt x="161757" y="159856"/>
                </a:lnTo>
                <a:lnTo>
                  <a:pt x="161915" y="159961"/>
                </a:lnTo>
                <a:lnTo>
                  <a:pt x="162073" y="159856"/>
                </a:lnTo>
                <a:lnTo>
                  <a:pt x="162179" y="159697"/>
                </a:lnTo>
                <a:lnTo>
                  <a:pt x="162285" y="159592"/>
                </a:lnTo>
                <a:lnTo>
                  <a:pt x="162390" y="159592"/>
                </a:lnTo>
                <a:lnTo>
                  <a:pt x="162390" y="159645"/>
                </a:lnTo>
                <a:lnTo>
                  <a:pt x="162390" y="159697"/>
                </a:lnTo>
                <a:lnTo>
                  <a:pt x="162443" y="159697"/>
                </a:lnTo>
                <a:lnTo>
                  <a:pt x="162813" y="159592"/>
                </a:lnTo>
                <a:lnTo>
                  <a:pt x="162918" y="159539"/>
                </a:lnTo>
                <a:lnTo>
                  <a:pt x="163024" y="159381"/>
                </a:lnTo>
                <a:lnTo>
                  <a:pt x="163024" y="159328"/>
                </a:lnTo>
                <a:lnTo>
                  <a:pt x="162971" y="159275"/>
                </a:lnTo>
                <a:lnTo>
                  <a:pt x="162918" y="159275"/>
                </a:lnTo>
                <a:lnTo>
                  <a:pt x="162866" y="159328"/>
                </a:lnTo>
                <a:lnTo>
                  <a:pt x="162813" y="159328"/>
                </a:lnTo>
                <a:lnTo>
                  <a:pt x="162707" y="159222"/>
                </a:lnTo>
                <a:lnTo>
                  <a:pt x="162602" y="159222"/>
                </a:lnTo>
                <a:lnTo>
                  <a:pt x="162179" y="159275"/>
                </a:lnTo>
                <a:lnTo>
                  <a:pt x="162126" y="159169"/>
                </a:lnTo>
                <a:lnTo>
                  <a:pt x="162021" y="159169"/>
                </a:lnTo>
                <a:lnTo>
                  <a:pt x="161915" y="159275"/>
                </a:lnTo>
                <a:lnTo>
                  <a:pt x="161757" y="159328"/>
                </a:lnTo>
                <a:lnTo>
                  <a:pt x="161493" y="159592"/>
                </a:lnTo>
                <a:lnTo>
                  <a:pt x="161493" y="159592"/>
                </a:lnTo>
                <a:lnTo>
                  <a:pt x="161651" y="159222"/>
                </a:lnTo>
                <a:lnTo>
                  <a:pt x="161651" y="159116"/>
                </a:lnTo>
                <a:lnTo>
                  <a:pt x="161545" y="159116"/>
                </a:lnTo>
                <a:lnTo>
                  <a:pt x="161704" y="159064"/>
                </a:lnTo>
                <a:lnTo>
                  <a:pt x="162179" y="158800"/>
                </a:lnTo>
                <a:lnTo>
                  <a:pt x="162126" y="158641"/>
                </a:lnTo>
                <a:lnTo>
                  <a:pt x="161968" y="158483"/>
                </a:lnTo>
                <a:lnTo>
                  <a:pt x="161862" y="158377"/>
                </a:lnTo>
                <a:lnTo>
                  <a:pt x="161651" y="158536"/>
                </a:lnTo>
                <a:lnTo>
                  <a:pt x="161545" y="158536"/>
                </a:lnTo>
                <a:lnTo>
                  <a:pt x="161176" y="158377"/>
                </a:lnTo>
                <a:lnTo>
                  <a:pt x="161123" y="158324"/>
                </a:lnTo>
                <a:lnTo>
                  <a:pt x="161176" y="158272"/>
                </a:lnTo>
                <a:lnTo>
                  <a:pt x="161176" y="158166"/>
                </a:lnTo>
                <a:lnTo>
                  <a:pt x="161176" y="158060"/>
                </a:lnTo>
                <a:lnTo>
                  <a:pt x="161176" y="158007"/>
                </a:lnTo>
                <a:lnTo>
                  <a:pt x="161757" y="158007"/>
                </a:lnTo>
                <a:lnTo>
                  <a:pt x="161757" y="158060"/>
                </a:lnTo>
                <a:lnTo>
                  <a:pt x="161757" y="158219"/>
                </a:lnTo>
                <a:lnTo>
                  <a:pt x="161757" y="158272"/>
                </a:lnTo>
                <a:lnTo>
                  <a:pt x="162021" y="158272"/>
                </a:lnTo>
                <a:lnTo>
                  <a:pt x="162179" y="158219"/>
                </a:lnTo>
                <a:lnTo>
                  <a:pt x="162390" y="157796"/>
                </a:lnTo>
                <a:lnTo>
                  <a:pt x="162496" y="157796"/>
                </a:lnTo>
                <a:lnTo>
                  <a:pt x="162602" y="157849"/>
                </a:lnTo>
                <a:lnTo>
                  <a:pt x="162918" y="157796"/>
                </a:lnTo>
                <a:lnTo>
                  <a:pt x="163024" y="157691"/>
                </a:lnTo>
                <a:lnTo>
                  <a:pt x="163077" y="157691"/>
                </a:lnTo>
                <a:lnTo>
                  <a:pt x="163077" y="157743"/>
                </a:lnTo>
                <a:lnTo>
                  <a:pt x="163077" y="157796"/>
                </a:lnTo>
                <a:lnTo>
                  <a:pt x="162971" y="157955"/>
                </a:lnTo>
                <a:lnTo>
                  <a:pt x="163024" y="158113"/>
                </a:lnTo>
                <a:lnTo>
                  <a:pt x="163130" y="158166"/>
                </a:lnTo>
                <a:lnTo>
                  <a:pt x="163182" y="158166"/>
                </a:lnTo>
                <a:lnTo>
                  <a:pt x="163182" y="158324"/>
                </a:lnTo>
                <a:lnTo>
                  <a:pt x="163288" y="158377"/>
                </a:lnTo>
                <a:lnTo>
                  <a:pt x="163394" y="158324"/>
                </a:lnTo>
                <a:lnTo>
                  <a:pt x="163499" y="158219"/>
                </a:lnTo>
                <a:lnTo>
                  <a:pt x="163816" y="158060"/>
                </a:lnTo>
                <a:lnTo>
                  <a:pt x="163869" y="158113"/>
                </a:lnTo>
                <a:lnTo>
                  <a:pt x="163869" y="158324"/>
                </a:lnTo>
                <a:lnTo>
                  <a:pt x="163975" y="158272"/>
                </a:lnTo>
                <a:lnTo>
                  <a:pt x="164133" y="158166"/>
                </a:lnTo>
                <a:lnTo>
                  <a:pt x="164186" y="157955"/>
                </a:lnTo>
                <a:lnTo>
                  <a:pt x="164186" y="157796"/>
                </a:lnTo>
                <a:lnTo>
                  <a:pt x="164292" y="157691"/>
                </a:lnTo>
                <a:lnTo>
                  <a:pt x="164397" y="157585"/>
                </a:lnTo>
                <a:lnTo>
                  <a:pt x="164450" y="157479"/>
                </a:lnTo>
                <a:lnTo>
                  <a:pt x="164450" y="157427"/>
                </a:lnTo>
                <a:lnTo>
                  <a:pt x="164450" y="157374"/>
                </a:lnTo>
                <a:lnTo>
                  <a:pt x="164344" y="157215"/>
                </a:lnTo>
                <a:lnTo>
                  <a:pt x="163922" y="157004"/>
                </a:lnTo>
                <a:lnTo>
                  <a:pt x="163552" y="156634"/>
                </a:lnTo>
                <a:lnTo>
                  <a:pt x="163394" y="156582"/>
                </a:lnTo>
                <a:lnTo>
                  <a:pt x="162654" y="156740"/>
                </a:lnTo>
                <a:lnTo>
                  <a:pt x="162602" y="156793"/>
                </a:lnTo>
                <a:lnTo>
                  <a:pt x="162496" y="157004"/>
                </a:lnTo>
                <a:lnTo>
                  <a:pt x="162443" y="157004"/>
                </a:lnTo>
                <a:lnTo>
                  <a:pt x="162443" y="156898"/>
                </a:lnTo>
                <a:lnTo>
                  <a:pt x="162496" y="156846"/>
                </a:lnTo>
                <a:lnTo>
                  <a:pt x="162549" y="156687"/>
                </a:lnTo>
                <a:lnTo>
                  <a:pt x="162549" y="156634"/>
                </a:lnTo>
                <a:lnTo>
                  <a:pt x="162549" y="156582"/>
                </a:lnTo>
                <a:lnTo>
                  <a:pt x="163024" y="156529"/>
                </a:lnTo>
                <a:lnTo>
                  <a:pt x="163130" y="156476"/>
                </a:lnTo>
                <a:lnTo>
                  <a:pt x="163130" y="156370"/>
                </a:lnTo>
                <a:lnTo>
                  <a:pt x="162918" y="156265"/>
                </a:lnTo>
                <a:lnTo>
                  <a:pt x="162866" y="156212"/>
                </a:lnTo>
                <a:lnTo>
                  <a:pt x="162971" y="156159"/>
                </a:lnTo>
                <a:lnTo>
                  <a:pt x="163077" y="156212"/>
                </a:lnTo>
                <a:lnTo>
                  <a:pt x="163182" y="156265"/>
                </a:lnTo>
                <a:lnTo>
                  <a:pt x="163235" y="156318"/>
                </a:lnTo>
                <a:lnTo>
                  <a:pt x="163447" y="156212"/>
                </a:lnTo>
                <a:lnTo>
                  <a:pt x="163499" y="156212"/>
                </a:lnTo>
                <a:lnTo>
                  <a:pt x="163552" y="156265"/>
                </a:lnTo>
                <a:lnTo>
                  <a:pt x="163605" y="156370"/>
                </a:lnTo>
                <a:lnTo>
                  <a:pt x="163658" y="156370"/>
                </a:lnTo>
                <a:lnTo>
                  <a:pt x="163922" y="156265"/>
                </a:lnTo>
                <a:lnTo>
                  <a:pt x="163975" y="156265"/>
                </a:lnTo>
                <a:lnTo>
                  <a:pt x="163975" y="156318"/>
                </a:lnTo>
                <a:lnTo>
                  <a:pt x="163975" y="156370"/>
                </a:lnTo>
                <a:lnTo>
                  <a:pt x="164133" y="156529"/>
                </a:lnTo>
                <a:lnTo>
                  <a:pt x="164186" y="156582"/>
                </a:lnTo>
                <a:lnTo>
                  <a:pt x="164344" y="156582"/>
                </a:lnTo>
                <a:lnTo>
                  <a:pt x="164397" y="156476"/>
                </a:lnTo>
                <a:lnTo>
                  <a:pt x="164503" y="156476"/>
                </a:lnTo>
                <a:lnTo>
                  <a:pt x="164556" y="156529"/>
                </a:lnTo>
                <a:lnTo>
                  <a:pt x="164556" y="156582"/>
                </a:lnTo>
                <a:lnTo>
                  <a:pt x="164556" y="156634"/>
                </a:lnTo>
                <a:lnTo>
                  <a:pt x="164556" y="156687"/>
                </a:lnTo>
                <a:lnTo>
                  <a:pt x="164608" y="156687"/>
                </a:lnTo>
                <a:lnTo>
                  <a:pt x="164714" y="156793"/>
                </a:lnTo>
                <a:lnTo>
                  <a:pt x="164767" y="156793"/>
                </a:lnTo>
                <a:lnTo>
                  <a:pt x="164767" y="156740"/>
                </a:lnTo>
                <a:lnTo>
                  <a:pt x="164767" y="156634"/>
                </a:lnTo>
                <a:lnTo>
                  <a:pt x="164767" y="156582"/>
                </a:lnTo>
                <a:lnTo>
                  <a:pt x="164978" y="156582"/>
                </a:lnTo>
                <a:lnTo>
                  <a:pt x="165031" y="156634"/>
                </a:lnTo>
                <a:lnTo>
                  <a:pt x="165031" y="156740"/>
                </a:lnTo>
                <a:lnTo>
                  <a:pt x="164925" y="156846"/>
                </a:lnTo>
                <a:lnTo>
                  <a:pt x="164872" y="156951"/>
                </a:lnTo>
                <a:lnTo>
                  <a:pt x="165084" y="156951"/>
                </a:lnTo>
                <a:lnTo>
                  <a:pt x="165084" y="156898"/>
                </a:lnTo>
                <a:lnTo>
                  <a:pt x="165189" y="156898"/>
                </a:lnTo>
                <a:lnTo>
                  <a:pt x="165453" y="156951"/>
                </a:lnTo>
                <a:lnTo>
                  <a:pt x="165559" y="156898"/>
                </a:lnTo>
                <a:lnTo>
                  <a:pt x="165612" y="156793"/>
                </a:lnTo>
                <a:lnTo>
                  <a:pt x="165612" y="156634"/>
                </a:lnTo>
                <a:lnTo>
                  <a:pt x="165612" y="156423"/>
                </a:lnTo>
                <a:lnTo>
                  <a:pt x="165665" y="156265"/>
                </a:lnTo>
                <a:lnTo>
                  <a:pt x="165770" y="156159"/>
                </a:lnTo>
                <a:lnTo>
                  <a:pt x="165823" y="156053"/>
                </a:lnTo>
                <a:lnTo>
                  <a:pt x="165929" y="155948"/>
                </a:lnTo>
                <a:lnTo>
                  <a:pt x="166298" y="155473"/>
                </a:lnTo>
                <a:lnTo>
                  <a:pt x="166404" y="155314"/>
                </a:lnTo>
                <a:lnTo>
                  <a:pt x="166404" y="155261"/>
                </a:lnTo>
                <a:lnTo>
                  <a:pt x="166351" y="155209"/>
                </a:lnTo>
                <a:lnTo>
                  <a:pt x="165559" y="155209"/>
                </a:lnTo>
                <a:lnTo>
                  <a:pt x="165189" y="155367"/>
                </a:lnTo>
                <a:lnTo>
                  <a:pt x="165136" y="155367"/>
                </a:lnTo>
                <a:lnTo>
                  <a:pt x="165136" y="155209"/>
                </a:lnTo>
                <a:lnTo>
                  <a:pt x="165136" y="155050"/>
                </a:lnTo>
                <a:lnTo>
                  <a:pt x="165242" y="154839"/>
                </a:lnTo>
                <a:lnTo>
                  <a:pt x="165295" y="154733"/>
                </a:lnTo>
                <a:lnTo>
                  <a:pt x="165189" y="154786"/>
                </a:lnTo>
                <a:lnTo>
                  <a:pt x="164978" y="154997"/>
                </a:lnTo>
                <a:lnTo>
                  <a:pt x="164872" y="154997"/>
                </a:lnTo>
                <a:lnTo>
                  <a:pt x="164872" y="154892"/>
                </a:lnTo>
                <a:lnTo>
                  <a:pt x="164925" y="154839"/>
                </a:lnTo>
                <a:lnTo>
                  <a:pt x="164925" y="154786"/>
                </a:lnTo>
                <a:lnTo>
                  <a:pt x="164925" y="154680"/>
                </a:lnTo>
                <a:lnTo>
                  <a:pt x="164925" y="154469"/>
                </a:lnTo>
                <a:lnTo>
                  <a:pt x="164925" y="154416"/>
                </a:lnTo>
                <a:lnTo>
                  <a:pt x="164872" y="154416"/>
                </a:lnTo>
                <a:lnTo>
                  <a:pt x="164767" y="154469"/>
                </a:lnTo>
                <a:lnTo>
                  <a:pt x="164661" y="154575"/>
                </a:lnTo>
                <a:lnTo>
                  <a:pt x="164556" y="154680"/>
                </a:lnTo>
                <a:lnTo>
                  <a:pt x="164503" y="154575"/>
                </a:lnTo>
                <a:lnTo>
                  <a:pt x="164608" y="154469"/>
                </a:lnTo>
                <a:lnTo>
                  <a:pt x="164767" y="154205"/>
                </a:lnTo>
                <a:lnTo>
                  <a:pt x="164978" y="154047"/>
                </a:lnTo>
                <a:lnTo>
                  <a:pt x="165453" y="153730"/>
                </a:lnTo>
                <a:lnTo>
                  <a:pt x="165559" y="153519"/>
                </a:lnTo>
                <a:lnTo>
                  <a:pt x="165506" y="153519"/>
                </a:lnTo>
                <a:lnTo>
                  <a:pt x="165453" y="153466"/>
                </a:lnTo>
                <a:lnTo>
                  <a:pt x="165453" y="153413"/>
                </a:lnTo>
                <a:lnTo>
                  <a:pt x="165453" y="153307"/>
                </a:lnTo>
                <a:lnTo>
                  <a:pt x="165348" y="153466"/>
                </a:lnTo>
                <a:lnTo>
                  <a:pt x="165242" y="153519"/>
                </a:lnTo>
                <a:lnTo>
                  <a:pt x="165189" y="153519"/>
                </a:lnTo>
                <a:lnTo>
                  <a:pt x="165084" y="153413"/>
                </a:lnTo>
                <a:lnTo>
                  <a:pt x="165136" y="153307"/>
                </a:lnTo>
                <a:lnTo>
                  <a:pt x="165136" y="153202"/>
                </a:lnTo>
                <a:lnTo>
                  <a:pt x="165136" y="153149"/>
                </a:lnTo>
                <a:lnTo>
                  <a:pt x="165084" y="153043"/>
                </a:lnTo>
                <a:lnTo>
                  <a:pt x="164978" y="152938"/>
                </a:lnTo>
                <a:lnTo>
                  <a:pt x="164925" y="152832"/>
                </a:lnTo>
                <a:lnTo>
                  <a:pt x="164872" y="152779"/>
                </a:lnTo>
                <a:lnTo>
                  <a:pt x="164767" y="152726"/>
                </a:lnTo>
                <a:lnTo>
                  <a:pt x="164608" y="152726"/>
                </a:lnTo>
                <a:lnTo>
                  <a:pt x="164556" y="152779"/>
                </a:lnTo>
                <a:lnTo>
                  <a:pt x="164503" y="152779"/>
                </a:lnTo>
                <a:lnTo>
                  <a:pt x="164503" y="152726"/>
                </a:lnTo>
                <a:lnTo>
                  <a:pt x="164503" y="152674"/>
                </a:lnTo>
                <a:lnTo>
                  <a:pt x="164503" y="152621"/>
                </a:lnTo>
                <a:lnTo>
                  <a:pt x="164397" y="152515"/>
                </a:lnTo>
                <a:lnTo>
                  <a:pt x="164292" y="152515"/>
                </a:lnTo>
                <a:lnTo>
                  <a:pt x="164239" y="152674"/>
                </a:lnTo>
                <a:lnTo>
                  <a:pt x="164292" y="152726"/>
                </a:lnTo>
                <a:lnTo>
                  <a:pt x="164344" y="152885"/>
                </a:lnTo>
                <a:lnTo>
                  <a:pt x="164344" y="152991"/>
                </a:lnTo>
                <a:lnTo>
                  <a:pt x="164292" y="153149"/>
                </a:lnTo>
                <a:lnTo>
                  <a:pt x="164239" y="153043"/>
                </a:lnTo>
                <a:lnTo>
                  <a:pt x="164080" y="152938"/>
                </a:lnTo>
                <a:lnTo>
                  <a:pt x="163975" y="152885"/>
                </a:lnTo>
                <a:lnTo>
                  <a:pt x="163922" y="152991"/>
                </a:lnTo>
                <a:lnTo>
                  <a:pt x="163869" y="153255"/>
                </a:lnTo>
                <a:lnTo>
                  <a:pt x="163816" y="153360"/>
                </a:lnTo>
                <a:lnTo>
                  <a:pt x="163711" y="153413"/>
                </a:lnTo>
                <a:lnTo>
                  <a:pt x="163658" y="153360"/>
                </a:lnTo>
                <a:lnTo>
                  <a:pt x="163605" y="153307"/>
                </a:lnTo>
                <a:lnTo>
                  <a:pt x="163552" y="153202"/>
                </a:lnTo>
                <a:lnTo>
                  <a:pt x="163341" y="153149"/>
                </a:lnTo>
                <a:lnTo>
                  <a:pt x="163235" y="153255"/>
                </a:lnTo>
                <a:lnTo>
                  <a:pt x="163182" y="153519"/>
                </a:lnTo>
                <a:lnTo>
                  <a:pt x="163182" y="153888"/>
                </a:lnTo>
                <a:lnTo>
                  <a:pt x="163182" y="153994"/>
                </a:lnTo>
                <a:lnTo>
                  <a:pt x="163182" y="154100"/>
                </a:lnTo>
                <a:lnTo>
                  <a:pt x="163182" y="154205"/>
                </a:lnTo>
                <a:lnTo>
                  <a:pt x="163182" y="154258"/>
                </a:lnTo>
                <a:lnTo>
                  <a:pt x="163130" y="154311"/>
                </a:lnTo>
                <a:lnTo>
                  <a:pt x="163077" y="154311"/>
                </a:lnTo>
                <a:lnTo>
                  <a:pt x="163077" y="154258"/>
                </a:lnTo>
                <a:lnTo>
                  <a:pt x="163024" y="154152"/>
                </a:lnTo>
                <a:lnTo>
                  <a:pt x="162918" y="154047"/>
                </a:lnTo>
                <a:lnTo>
                  <a:pt x="162918" y="153941"/>
                </a:lnTo>
                <a:lnTo>
                  <a:pt x="162971" y="153571"/>
                </a:lnTo>
                <a:lnTo>
                  <a:pt x="162971" y="153307"/>
                </a:lnTo>
                <a:lnTo>
                  <a:pt x="163024" y="153149"/>
                </a:lnTo>
                <a:lnTo>
                  <a:pt x="163235" y="152991"/>
                </a:lnTo>
                <a:lnTo>
                  <a:pt x="163235" y="152938"/>
                </a:lnTo>
                <a:lnTo>
                  <a:pt x="163130" y="152991"/>
                </a:lnTo>
                <a:lnTo>
                  <a:pt x="163077" y="152991"/>
                </a:lnTo>
                <a:lnTo>
                  <a:pt x="163130" y="152885"/>
                </a:lnTo>
                <a:lnTo>
                  <a:pt x="163235" y="152779"/>
                </a:lnTo>
                <a:lnTo>
                  <a:pt x="163447" y="152674"/>
                </a:lnTo>
                <a:lnTo>
                  <a:pt x="163341" y="152515"/>
                </a:lnTo>
                <a:lnTo>
                  <a:pt x="163182" y="152462"/>
                </a:lnTo>
                <a:lnTo>
                  <a:pt x="162602" y="152304"/>
                </a:lnTo>
                <a:lnTo>
                  <a:pt x="162496" y="152304"/>
                </a:lnTo>
                <a:lnTo>
                  <a:pt x="162549" y="152462"/>
                </a:lnTo>
                <a:lnTo>
                  <a:pt x="162496" y="152462"/>
                </a:lnTo>
                <a:lnTo>
                  <a:pt x="162338" y="152357"/>
                </a:lnTo>
                <a:lnTo>
                  <a:pt x="162126" y="152304"/>
                </a:lnTo>
                <a:lnTo>
                  <a:pt x="161968" y="152198"/>
                </a:lnTo>
                <a:lnTo>
                  <a:pt x="161757" y="152093"/>
                </a:lnTo>
                <a:lnTo>
                  <a:pt x="161440" y="151829"/>
                </a:lnTo>
                <a:lnTo>
                  <a:pt x="161281" y="151776"/>
                </a:lnTo>
                <a:close/>
                <a:moveTo>
                  <a:pt x="132606" y="163236"/>
                </a:moveTo>
                <a:lnTo>
                  <a:pt x="132500" y="163288"/>
                </a:lnTo>
                <a:lnTo>
                  <a:pt x="132447" y="163341"/>
                </a:lnTo>
                <a:lnTo>
                  <a:pt x="132553" y="163341"/>
                </a:lnTo>
                <a:lnTo>
                  <a:pt x="132606" y="163288"/>
                </a:lnTo>
                <a:lnTo>
                  <a:pt x="132606" y="163236"/>
                </a:lnTo>
                <a:close/>
                <a:moveTo>
                  <a:pt x="157532" y="163024"/>
                </a:moveTo>
                <a:lnTo>
                  <a:pt x="157532" y="163077"/>
                </a:lnTo>
                <a:lnTo>
                  <a:pt x="157373" y="163183"/>
                </a:lnTo>
                <a:lnTo>
                  <a:pt x="157215" y="163183"/>
                </a:lnTo>
                <a:lnTo>
                  <a:pt x="157215" y="163236"/>
                </a:lnTo>
                <a:lnTo>
                  <a:pt x="157268" y="163236"/>
                </a:lnTo>
                <a:lnTo>
                  <a:pt x="157321" y="163183"/>
                </a:lnTo>
                <a:lnTo>
                  <a:pt x="157321" y="163183"/>
                </a:lnTo>
                <a:lnTo>
                  <a:pt x="157215" y="163394"/>
                </a:lnTo>
                <a:lnTo>
                  <a:pt x="157585" y="163447"/>
                </a:lnTo>
                <a:lnTo>
                  <a:pt x="157637" y="163394"/>
                </a:lnTo>
                <a:lnTo>
                  <a:pt x="157690" y="163236"/>
                </a:lnTo>
                <a:lnTo>
                  <a:pt x="157637" y="163183"/>
                </a:lnTo>
                <a:lnTo>
                  <a:pt x="157532" y="163024"/>
                </a:lnTo>
                <a:close/>
                <a:moveTo>
                  <a:pt x="132183" y="163394"/>
                </a:moveTo>
                <a:lnTo>
                  <a:pt x="132077" y="163553"/>
                </a:lnTo>
                <a:lnTo>
                  <a:pt x="132025" y="163605"/>
                </a:lnTo>
                <a:lnTo>
                  <a:pt x="132025" y="163605"/>
                </a:lnTo>
                <a:lnTo>
                  <a:pt x="132130" y="163553"/>
                </a:lnTo>
                <a:lnTo>
                  <a:pt x="132236" y="163394"/>
                </a:lnTo>
                <a:close/>
                <a:moveTo>
                  <a:pt x="82964" y="164028"/>
                </a:moveTo>
                <a:lnTo>
                  <a:pt x="83070" y="164133"/>
                </a:lnTo>
                <a:lnTo>
                  <a:pt x="83387" y="164345"/>
                </a:lnTo>
                <a:lnTo>
                  <a:pt x="83492" y="164397"/>
                </a:lnTo>
                <a:lnTo>
                  <a:pt x="83598" y="164609"/>
                </a:lnTo>
                <a:lnTo>
                  <a:pt x="83704" y="164662"/>
                </a:lnTo>
                <a:lnTo>
                  <a:pt x="83915" y="164662"/>
                </a:lnTo>
                <a:lnTo>
                  <a:pt x="84073" y="164556"/>
                </a:lnTo>
                <a:lnTo>
                  <a:pt x="84285" y="164345"/>
                </a:lnTo>
                <a:lnTo>
                  <a:pt x="84443" y="164239"/>
                </a:lnTo>
                <a:lnTo>
                  <a:pt x="84390" y="164133"/>
                </a:lnTo>
                <a:lnTo>
                  <a:pt x="84232" y="164028"/>
                </a:lnTo>
                <a:lnTo>
                  <a:pt x="84073" y="164028"/>
                </a:lnTo>
                <a:lnTo>
                  <a:pt x="83968" y="164133"/>
                </a:lnTo>
                <a:lnTo>
                  <a:pt x="83862" y="164186"/>
                </a:lnTo>
                <a:lnTo>
                  <a:pt x="83176" y="164028"/>
                </a:lnTo>
                <a:close/>
                <a:moveTo>
                  <a:pt x="155631" y="164609"/>
                </a:moveTo>
                <a:lnTo>
                  <a:pt x="155631" y="164662"/>
                </a:lnTo>
                <a:lnTo>
                  <a:pt x="155639" y="164609"/>
                </a:lnTo>
                <a:close/>
                <a:moveTo>
                  <a:pt x="143062" y="164186"/>
                </a:moveTo>
                <a:lnTo>
                  <a:pt x="142587" y="164292"/>
                </a:lnTo>
                <a:lnTo>
                  <a:pt x="142323" y="164292"/>
                </a:lnTo>
                <a:lnTo>
                  <a:pt x="142164" y="164450"/>
                </a:lnTo>
                <a:lnTo>
                  <a:pt x="142111" y="164450"/>
                </a:lnTo>
                <a:lnTo>
                  <a:pt x="142059" y="164503"/>
                </a:lnTo>
                <a:lnTo>
                  <a:pt x="142059" y="164556"/>
                </a:lnTo>
                <a:lnTo>
                  <a:pt x="142006" y="164714"/>
                </a:lnTo>
                <a:lnTo>
                  <a:pt x="142006" y="164767"/>
                </a:lnTo>
                <a:lnTo>
                  <a:pt x="142111" y="164714"/>
                </a:lnTo>
                <a:lnTo>
                  <a:pt x="142745" y="164714"/>
                </a:lnTo>
                <a:lnTo>
                  <a:pt x="142798" y="164767"/>
                </a:lnTo>
                <a:lnTo>
                  <a:pt x="142798" y="164714"/>
                </a:lnTo>
                <a:lnTo>
                  <a:pt x="142851" y="164609"/>
                </a:lnTo>
                <a:lnTo>
                  <a:pt x="143432" y="164609"/>
                </a:lnTo>
                <a:lnTo>
                  <a:pt x="143484" y="164767"/>
                </a:lnTo>
                <a:lnTo>
                  <a:pt x="143590" y="164767"/>
                </a:lnTo>
                <a:lnTo>
                  <a:pt x="143643" y="164714"/>
                </a:lnTo>
                <a:lnTo>
                  <a:pt x="143590" y="164556"/>
                </a:lnTo>
                <a:lnTo>
                  <a:pt x="143484" y="164450"/>
                </a:lnTo>
                <a:lnTo>
                  <a:pt x="143326" y="164397"/>
                </a:lnTo>
                <a:lnTo>
                  <a:pt x="143273" y="164292"/>
                </a:lnTo>
                <a:lnTo>
                  <a:pt x="143062" y="164186"/>
                </a:lnTo>
                <a:close/>
                <a:moveTo>
                  <a:pt x="157162" y="164081"/>
                </a:moveTo>
                <a:lnTo>
                  <a:pt x="157004" y="164133"/>
                </a:lnTo>
                <a:lnTo>
                  <a:pt x="156581" y="164133"/>
                </a:lnTo>
                <a:lnTo>
                  <a:pt x="156423" y="164186"/>
                </a:lnTo>
                <a:lnTo>
                  <a:pt x="156317" y="164292"/>
                </a:lnTo>
                <a:lnTo>
                  <a:pt x="156159" y="164503"/>
                </a:lnTo>
                <a:lnTo>
                  <a:pt x="156106" y="164662"/>
                </a:lnTo>
                <a:lnTo>
                  <a:pt x="156159" y="164767"/>
                </a:lnTo>
                <a:lnTo>
                  <a:pt x="156212" y="164873"/>
                </a:lnTo>
                <a:lnTo>
                  <a:pt x="156264" y="164873"/>
                </a:lnTo>
                <a:lnTo>
                  <a:pt x="156423" y="164978"/>
                </a:lnTo>
                <a:lnTo>
                  <a:pt x="156792" y="164978"/>
                </a:lnTo>
                <a:lnTo>
                  <a:pt x="156845" y="164926"/>
                </a:lnTo>
                <a:lnTo>
                  <a:pt x="157004" y="164767"/>
                </a:lnTo>
                <a:lnTo>
                  <a:pt x="157109" y="164767"/>
                </a:lnTo>
                <a:lnTo>
                  <a:pt x="157321" y="164609"/>
                </a:lnTo>
                <a:lnTo>
                  <a:pt x="157321" y="164503"/>
                </a:lnTo>
                <a:lnTo>
                  <a:pt x="157268" y="164397"/>
                </a:lnTo>
                <a:lnTo>
                  <a:pt x="157373" y="164397"/>
                </a:lnTo>
                <a:lnTo>
                  <a:pt x="157532" y="164556"/>
                </a:lnTo>
                <a:lnTo>
                  <a:pt x="157479" y="164450"/>
                </a:lnTo>
                <a:lnTo>
                  <a:pt x="157426" y="164345"/>
                </a:lnTo>
                <a:lnTo>
                  <a:pt x="157373" y="164239"/>
                </a:lnTo>
                <a:lnTo>
                  <a:pt x="157373" y="164133"/>
                </a:lnTo>
                <a:lnTo>
                  <a:pt x="157268" y="164081"/>
                </a:lnTo>
                <a:close/>
                <a:moveTo>
                  <a:pt x="158324" y="164450"/>
                </a:moveTo>
                <a:lnTo>
                  <a:pt x="157690" y="164556"/>
                </a:lnTo>
                <a:lnTo>
                  <a:pt x="157532" y="164609"/>
                </a:lnTo>
                <a:lnTo>
                  <a:pt x="157479" y="164767"/>
                </a:lnTo>
                <a:lnTo>
                  <a:pt x="157426" y="164662"/>
                </a:lnTo>
                <a:lnTo>
                  <a:pt x="157321" y="164714"/>
                </a:lnTo>
                <a:lnTo>
                  <a:pt x="157162" y="164820"/>
                </a:lnTo>
                <a:lnTo>
                  <a:pt x="157109" y="164926"/>
                </a:lnTo>
                <a:lnTo>
                  <a:pt x="157162" y="164978"/>
                </a:lnTo>
                <a:lnTo>
                  <a:pt x="157479" y="164978"/>
                </a:lnTo>
                <a:lnTo>
                  <a:pt x="157637" y="164926"/>
                </a:lnTo>
                <a:lnTo>
                  <a:pt x="157743" y="164926"/>
                </a:lnTo>
                <a:lnTo>
                  <a:pt x="157796" y="164978"/>
                </a:lnTo>
                <a:lnTo>
                  <a:pt x="157902" y="164978"/>
                </a:lnTo>
                <a:lnTo>
                  <a:pt x="158113" y="164873"/>
                </a:lnTo>
                <a:lnTo>
                  <a:pt x="158271" y="164714"/>
                </a:lnTo>
                <a:lnTo>
                  <a:pt x="158324" y="164556"/>
                </a:lnTo>
                <a:lnTo>
                  <a:pt x="158324" y="164450"/>
                </a:lnTo>
                <a:close/>
                <a:moveTo>
                  <a:pt x="257607" y="162285"/>
                </a:moveTo>
                <a:lnTo>
                  <a:pt x="257448" y="162444"/>
                </a:lnTo>
                <a:lnTo>
                  <a:pt x="257395" y="162549"/>
                </a:lnTo>
                <a:lnTo>
                  <a:pt x="257395" y="162602"/>
                </a:lnTo>
                <a:lnTo>
                  <a:pt x="257607" y="162866"/>
                </a:lnTo>
                <a:lnTo>
                  <a:pt x="257607" y="163024"/>
                </a:lnTo>
                <a:lnTo>
                  <a:pt x="257607" y="163077"/>
                </a:lnTo>
                <a:lnTo>
                  <a:pt x="257607" y="163236"/>
                </a:lnTo>
                <a:lnTo>
                  <a:pt x="257607" y="163341"/>
                </a:lnTo>
                <a:lnTo>
                  <a:pt x="257607" y="163500"/>
                </a:lnTo>
                <a:lnTo>
                  <a:pt x="257818" y="163817"/>
                </a:lnTo>
                <a:lnTo>
                  <a:pt x="257818" y="163922"/>
                </a:lnTo>
                <a:lnTo>
                  <a:pt x="257765" y="163975"/>
                </a:lnTo>
                <a:lnTo>
                  <a:pt x="257554" y="164081"/>
                </a:lnTo>
                <a:lnTo>
                  <a:pt x="257501" y="164133"/>
                </a:lnTo>
                <a:lnTo>
                  <a:pt x="257448" y="164239"/>
                </a:lnTo>
                <a:lnTo>
                  <a:pt x="257448" y="164292"/>
                </a:lnTo>
                <a:lnTo>
                  <a:pt x="257501" y="164767"/>
                </a:lnTo>
                <a:lnTo>
                  <a:pt x="257554" y="164926"/>
                </a:lnTo>
                <a:lnTo>
                  <a:pt x="257607" y="165031"/>
                </a:lnTo>
                <a:lnTo>
                  <a:pt x="258240" y="165137"/>
                </a:lnTo>
                <a:lnTo>
                  <a:pt x="258293" y="165137"/>
                </a:lnTo>
                <a:lnTo>
                  <a:pt x="258451" y="165031"/>
                </a:lnTo>
                <a:lnTo>
                  <a:pt x="258557" y="165031"/>
                </a:lnTo>
                <a:lnTo>
                  <a:pt x="258504" y="164978"/>
                </a:lnTo>
                <a:lnTo>
                  <a:pt x="258346" y="164767"/>
                </a:lnTo>
                <a:lnTo>
                  <a:pt x="258451" y="164609"/>
                </a:lnTo>
                <a:lnTo>
                  <a:pt x="258504" y="164662"/>
                </a:lnTo>
                <a:lnTo>
                  <a:pt x="258557" y="164767"/>
                </a:lnTo>
                <a:lnTo>
                  <a:pt x="258663" y="164873"/>
                </a:lnTo>
                <a:lnTo>
                  <a:pt x="258821" y="164873"/>
                </a:lnTo>
                <a:lnTo>
                  <a:pt x="258874" y="164820"/>
                </a:lnTo>
                <a:lnTo>
                  <a:pt x="258980" y="164714"/>
                </a:lnTo>
                <a:lnTo>
                  <a:pt x="259032" y="164662"/>
                </a:lnTo>
                <a:lnTo>
                  <a:pt x="259244" y="164662"/>
                </a:lnTo>
                <a:lnTo>
                  <a:pt x="259349" y="164556"/>
                </a:lnTo>
                <a:lnTo>
                  <a:pt x="259402" y="164556"/>
                </a:lnTo>
                <a:lnTo>
                  <a:pt x="259402" y="164503"/>
                </a:lnTo>
                <a:lnTo>
                  <a:pt x="259402" y="164397"/>
                </a:lnTo>
                <a:lnTo>
                  <a:pt x="259402" y="164345"/>
                </a:lnTo>
                <a:lnTo>
                  <a:pt x="259296" y="164133"/>
                </a:lnTo>
                <a:lnTo>
                  <a:pt x="259244" y="164133"/>
                </a:lnTo>
                <a:lnTo>
                  <a:pt x="259138" y="164081"/>
                </a:lnTo>
                <a:lnTo>
                  <a:pt x="259138" y="164028"/>
                </a:lnTo>
                <a:lnTo>
                  <a:pt x="259085" y="163975"/>
                </a:lnTo>
                <a:lnTo>
                  <a:pt x="259085" y="163869"/>
                </a:lnTo>
                <a:lnTo>
                  <a:pt x="259032" y="163764"/>
                </a:lnTo>
                <a:lnTo>
                  <a:pt x="258980" y="163605"/>
                </a:lnTo>
                <a:lnTo>
                  <a:pt x="258927" y="163553"/>
                </a:lnTo>
                <a:lnTo>
                  <a:pt x="258821" y="163500"/>
                </a:lnTo>
                <a:lnTo>
                  <a:pt x="258768" y="163500"/>
                </a:lnTo>
                <a:lnTo>
                  <a:pt x="258768" y="163394"/>
                </a:lnTo>
                <a:lnTo>
                  <a:pt x="258716" y="163341"/>
                </a:lnTo>
                <a:lnTo>
                  <a:pt x="258610" y="163288"/>
                </a:lnTo>
                <a:lnTo>
                  <a:pt x="258504" y="163130"/>
                </a:lnTo>
                <a:lnTo>
                  <a:pt x="258451" y="162919"/>
                </a:lnTo>
                <a:lnTo>
                  <a:pt x="258399" y="162866"/>
                </a:lnTo>
                <a:lnTo>
                  <a:pt x="258135" y="162496"/>
                </a:lnTo>
                <a:lnTo>
                  <a:pt x="257818" y="162496"/>
                </a:lnTo>
                <a:lnTo>
                  <a:pt x="257607" y="162285"/>
                </a:lnTo>
                <a:close/>
                <a:moveTo>
                  <a:pt x="252959" y="159961"/>
                </a:moveTo>
                <a:lnTo>
                  <a:pt x="252854" y="160014"/>
                </a:lnTo>
                <a:lnTo>
                  <a:pt x="252854" y="160067"/>
                </a:lnTo>
                <a:lnTo>
                  <a:pt x="252801" y="160120"/>
                </a:lnTo>
                <a:lnTo>
                  <a:pt x="252748" y="160173"/>
                </a:lnTo>
                <a:lnTo>
                  <a:pt x="252431" y="160173"/>
                </a:lnTo>
                <a:lnTo>
                  <a:pt x="252431" y="160225"/>
                </a:lnTo>
                <a:lnTo>
                  <a:pt x="252431" y="160437"/>
                </a:lnTo>
                <a:lnTo>
                  <a:pt x="252431" y="160490"/>
                </a:lnTo>
                <a:lnTo>
                  <a:pt x="252431" y="160542"/>
                </a:lnTo>
                <a:lnTo>
                  <a:pt x="252431" y="160595"/>
                </a:lnTo>
                <a:lnTo>
                  <a:pt x="253012" y="161123"/>
                </a:lnTo>
                <a:lnTo>
                  <a:pt x="253276" y="161440"/>
                </a:lnTo>
                <a:lnTo>
                  <a:pt x="253646" y="161599"/>
                </a:lnTo>
                <a:lnTo>
                  <a:pt x="253751" y="161651"/>
                </a:lnTo>
                <a:lnTo>
                  <a:pt x="253593" y="161757"/>
                </a:lnTo>
                <a:lnTo>
                  <a:pt x="253435" y="161757"/>
                </a:lnTo>
                <a:lnTo>
                  <a:pt x="253171" y="161599"/>
                </a:lnTo>
                <a:lnTo>
                  <a:pt x="253012" y="161599"/>
                </a:lnTo>
                <a:lnTo>
                  <a:pt x="253012" y="161651"/>
                </a:lnTo>
                <a:lnTo>
                  <a:pt x="253065" y="161810"/>
                </a:lnTo>
                <a:lnTo>
                  <a:pt x="253171" y="161915"/>
                </a:lnTo>
                <a:lnTo>
                  <a:pt x="253223" y="161915"/>
                </a:lnTo>
                <a:lnTo>
                  <a:pt x="253276" y="161863"/>
                </a:lnTo>
                <a:lnTo>
                  <a:pt x="253382" y="161863"/>
                </a:lnTo>
                <a:lnTo>
                  <a:pt x="253382" y="161968"/>
                </a:lnTo>
                <a:lnTo>
                  <a:pt x="253382" y="162021"/>
                </a:lnTo>
                <a:lnTo>
                  <a:pt x="253435" y="162021"/>
                </a:lnTo>
                <a:lnTo>
                  <a:pt x="253435" y="162074"/>
                </a:lnTo>
                <a:lnTo>
                  <a:pt x="253435" y="162127"/>
                </a:lnTo>
                <a:lnTo>
                  <a:pt x="253540" y="162179"/>
                </a:lnTo>
                <a:lnTo>
                  <a:pt x="253593" y="162232"/>
                </a:lnTo>
                <a:lnTo>
                  <a:pt x="253699" y="162232"/>
                </a:lnTo>
                <a:lnTo>
                  <a:pt x="253699" y="162285"/>
                </a:lnTo>
                <a:lnTo>
                  <a:pt x="253646" y="162338"/>
                </a:lnTo>
                <a:lnTo>
                  <a:pt x="253699" y="162391"/>
                </a:lnTo>
                <a:lnTo>
                  <a:pt x="253751" y="162391"/>
                </a:lnTo>
                <a:lnTo>
                  <a:pt x="253804" y="162338"/>
                </a:lnTo>
                <a:lnTo>
                  <a:pt x="253857" y="162285"/>
                </a:lnTo>
                <a:lnTo>
                  <a:pt x="253910" y="162232"/>
                </a:lnTo>
                <a:lnTo>
                  <a:pt x="253910" y="162074"/>
                </a:lnTo>
                <a:lnTo>
                  <a:pt x="254015" y="162074"/>
                </a:lnTo>
                <a:lnTo>
                  <a:pt x="254015" y="162232"/>
                </a:lnTo>
                <a:lnTo>
                  <a:pt x="254015" y="162444"/>
                </a:lnTo>
                <a:lnTo>
                  <a:pt x="254068" y="162602"/>
                </a:lnTo>
                <a:lnTo>
                  <a:pt x="253963" y="162549"/>
                </a:lnTo>
                <a:lnTo>
                  <a:pt x="253910" y="162549"/>
                </a:lnTo>
                <a:lnTo>
                  <a:pt x="253910" y="162602"/>
                </a:lnTo>
                <a:lnTo>
                  <a:pt x="253963" y="162708"/>
                </a:lnTo>
                <a:lnTo>
                  <a:pt x="254015" y="162760"/>
                </a:lnTo>
                <a:lnTo>
                  <a:pt x="254015" y="162866"/>
                </a:lnTo>
                <a:lnTo>
                  <a:pt x="253910" y="162866"/>
                </a:lnTo>
                <a:lnTo>
                  <a:pt x="253963" y="163130"/>
                </a:lnTo>
                <a:lnTo>
                  <a:pt x="253963" y="163288"/>
                </a:lnTo>
                <a:lnTo>
                  <a:pt x="253910" y="163447"/>
                </a:lnTo>
                <a:lnTo>
                  <a:pt x="253910" y="163605"/>
                </a:lnTo>
                <a:lnTo>
                  <a:pt x="253963" y="163711"/>
                </a:lnTo>
                <a:lnTo>
                  <a:pt x="254015" y="163764"/>
                </a:lnTo>
                <a:lnTo>
                  <a:pt x="254068" y="163817"/>
                </a:lnTo>
                <a:lnTo>
                  <a:pt x="254121" y="163869"/>
                </a:lnTo>
                <a:lnTo>
                  <a:pt x="254121" y="163975"/>
                </a:lnTo>
                <a:lnTo>
                  <a:pt x="254121" y="164133"/>
                </a:lnTo>
                <a:lnTo>
                  <a:pt x="254121" y="164186"/>
                </a:lnTo>
                <a:lnTo>
                  <a:pt x="254174" y="164186"/>
                </a:lnTo>
                <a:lnTo>
                  <a:pt x="254121" y="164292"/>
                </a:lnTo>
                <a:lnTo>
                  <a:pt x="253963" y="164397"/>
                </a:lnTo>
                <a:lnTo>
                  <a:pt x="253910" y="164503"/>
                </a:lnTo>
                <a:lnTo>
                  <a:pt x="254068" y="164609"/>
                </a:lnTo>
                <a:lnTo>
                  <a:pt x="254068" y="165401"/>
                </a:lnTo>
                <a:lnTo>
                  <a:pt x="254227" y="165612"/>
                </a:lnTo>
                <a:lnTo>
                  <a:pt x="254702" y="165612"/>
                </a:lnTo>
                <a:lnTo>
                  <a:pt x="255072" y="165454"/>
                </a:lnTo>
                <a:lnTo>
                  <a:pt x="255177" y="165401"/>
                </a:lnTo>
                <a:lnTo>
                  <a:pt x="255177" y="165295"/>
                </a:lnTo>
                <a:lnTo>
                  <a:pt x="255283" y="165295"/>
                </a:lnTo>
                <a:lnTo>
                  <a:pt x="255283" y="165190"/>
                </a:lnTo>
                <a:lnTo>
                  <a:pt x="255230" y="165137"/>
                </a:lnTo>
                <a:lnTo>
                  <a:pt x="255230" y="165084"/>
                </a:lnTo>
                <a:lnTo>
                  <a:pt x="255177" y="165031"/>
                </a:lnTo>
                <a:lnTo>
                  <a:pt x="255494" y="165031"/>
                </a:lnTo>
                <a:lnTo>
                  <a:pt x="255494" y="165137"/>
                </a:lnTo>
                <a:lnTo>
                  <a:pt x="255494" y="165190"/>
                </a:lnTo>
                <a:lnTo>
                  <a:pt x="255547" y="165242"/>
                </a:lnTo>
                <a:lnTo>
                  <a:pt x="255653" y="165295"/>
                </a:lnTo>
                <a:lnTo>
                  <a:pt x="255917" y="165242"/>
                </a:lnTo>
                <a:lnTo>
                  <a:pt x="256075" y="165242"/>
                </a:lnTo>
                <a:lnTo>
                  <a:pt x="256075" y="165295"/>
                </a:lnTo>
                <a:lnTo>
                  <a:pt x="256075" y="165348"/>
                </a:lnTo>
                <a:lnTo>
                  <a:pt x="256181" y="165401"/>
                </a:lnTo>
                <a:lnTo>
                  <a:pt x="256339" y="165401"/>
                </a:lnTo>
                <a:lnTo>
                  <a:pt x="256392" y="165348"/>
                </a:lnTo>
                <a:lnTo>
                  <a:pt x="256498" y="165242"/>
                </a:lnTo>
                <a:lnTo>
                  <a:pt x="256550" y="165084"/>
                </a:lnTo>
                <a:lnTo>
                  <a:pt x="256550" y="164926"/>
                </a:lnTo>
                <a:lnTo>
                  <a:pt x="256498" y="164767"/>
                </a:lnTo>
                <a:lnTo>
                  <a:pt x="256762" y="164767"/>
                </a:lnTo>
                <a:lnTo>
                  <a:pt x="256709" y="164662"/>
                </a:lnTo>
                <a:lnTo>
                  <a:pt x="256656" y="164397"/>
                </a:lnTo>
                <a:lnTo>
                  <a:pt x="256656" y="164292"/>
                </a:lnTo>
                <a:lnTo>
                  <a:pt x="256603" y="164239"/>
                </a:lnTo>
                <a:lnTo>
                  <a:pt x="256339" y="164133"/>
                </a:lnTo>
                <a:lnTo>
                  <a:pt x="256339" y="164028"/>
                </a:lnTo>
                <a:lnTo>
                  <a:pt x="256498" y="164028"/>
                </a:lnTo>
                <a:lnTo>
                  <a:pt x="256550" y="164081"/>
                </a:lnTo>
                <a:lnTo>
                  <a:pt x="256603" y="164133"/>
                </a:lnTo>
                <a:lnTo>
                  <a:pt x="256656" y="164081"/>
                </a:lnTo>
                <a:lnTo>
                  <a:pt x="256603" y="163975"/>
                </a:lnTo>
                <a:lnTo>
                  <a:pt x="256498" y="163869"/>
                </a:lnTo>
                <a:lnTo>
                  <a:pt x="256339" y="163817"/>
                </a:lnTo>
                <a:lnTo>
                  <a:pt x="256233" y="163817"/>
                </a:lnTo>
                <a:lnTo>
                  <a:pt x="256128" y="163764"/>
                </a:lnTo>
                <a:lnTo>
                  <a:pt x="256128" y="163817"/>
                </a:lnTo>
                <a:lnTo>
                  <a:pt x="256075" y="163869"/>
                </a:lnTo>
                <a:lnTo>
                  <a:pt x="256075" y="163764"/>
                </a:lnTo>
                <a:lnTo>
                  <a:pt x="256075" y="163658"/>
                </a:lnTo>
                <a:lnTo>
                  <a:pt x="256128" y="163553"/>
                </a:lnTo>
                <a:lnTo>
                  <a:pt x="256128" y="163500"/>
                </a:lnTo>
                <a:lnTo>
                  <a:pt x="256128" y="163183"/>
                </a:lnTo>
                <a:lnTo>
                  <a:pt x="256128" y="163024"/>
                </a:lnTo>
                <a:lnTo>
                  <a:pt x="256075" y="162919"/>
                </a:lnTo>
                <a:lnTo>
                  <a:pt x="256022" y="162919"/>
                </a:lnTo>
                <a:lnTo>
                  <a:pt x="255917" y="163024"/>
                </a:lnTo>
                <a:lnTo>
                  <a:pt x="255864" y="163077"/>
                </a:lnTo>
                <a:lnTo>
                  <a:pt x="255758" y="163024"/>
                </a:lnTo>
                <a:lnTo>
                  <a:pt x="255705" y="162866"/>
                </a:lnTo>
                <a:lnTo>
                  <a:pt x="255653" y="162760"/>
                </a:lnTo>
                <a:lnTo>
                  <a:pt x="255653" y="162655"/>
                </a:lnTo>
                <a:lnTo>
                  <a:pt x="255653" y="162549"/>
                </a:lnTo>
                <a:lnTo>
                  <a:pt x="255653" y="162444"/>
                </a:lnTo>
                <a:lnTo>
                  <a:pt x="255494" y="162179"/>
                </a:lnTo>
                <a:lnTo>
                  <a:pt x="255494" y="162127"/>
                </a:lnTo>
                <a:lnTo>
                  <a:pt x="255600" y="162127"/>
                </a:lnTo>
                <a:lnTo>
                  <a:pt x="255864" y="162391"/>
                </a:lnTo>
                <a:lnTo>
                  <a:pt x="255917" y="162391"/>
                </a:lnTo>
                <a:lnTo>
                  <a:pt x="255969" y="162338"/>
                </a:lnTo>
                <a:lnTo>
                  <a:pt x="256075" y="162391"/>
                </a:lnTo>
                <a:lnTo>
                  <a:pt x="256128" y="162496"/>
                </a:lnTo>
                <a:lnTo>
                  <a:pt x="256181" y="162655"/>
                </a:lnTo>
                <a:lnTo>
                  <a:pt x="256233" y="162972"/>
                </a:lnTo>
                <a:lnTo>
                  <a:pt x="256286" y="163077"/>
                </a:lnTo>
                <a:lnTo>
                  <a:pt x="256603" y="163605"/>
                </a:lnTo>
                <a:lnTo>
                  <a:pt x="256762" y="163764"/>
                </a:lnTo>
                <a:lnTo>
                  <a:pt x="256867" y="163817"/>
                </a:lnTo>
                <a:lnTo>
                  <a:pt x="256920" y="163817"/>
                </a:lnTo>
                <a:lnTo>
                  <a:pt x="257026" y="164028"/>
                </a:lnTo>
                <a:lnTo>
                  <a:pt x="257078" y="164081"/>
                </a:lnTo>
                <a:lnTo>
                  <a:pt x="257290" y="164081"/>
                </a:lnTo>
                <a:lnTo>
                  <a:pt x="257342" y="164028"/>
                </a:lnTo>
                <a:lnTo>
                  <a:pt x="257448" y="163922"/>
                </a:lnTo>
                <a:lnTo>
                  <a:pt x="257448" y="163817"/>
                </a:lnTo>
                <a:lnTo>
                  <a:pt x="257448" y="163500"/>
                </a:lnTo>
                <a:lnTo>
                  <a:pt x="257448" y="163447"/>
                </a:lnTo>
                <a:lnTo>
                  <a:pt x="257448" y="163394"/>
                </a:lnTo>
                <a:lnTo>
                  <a:pt x="257448" y="163236"/>
                </a:lnTo>
                <a:lnTo>
                  <a:pt x="257448" y="162919"/>
                </a:lnTo>
                <a:lnTo>
                  <a:pt x="257448" y="162866"/>
                </a:lnTo>
                <a:lnTo>
                  <a:pt x="257342" y="162602"/>
                </a:lnTo>
                <a:lnTo>
                  <a:pt x="257290" y="162391"/>
                </a:lnTo>
                <a:lnTo>
                  <a:pt x="257290" y="162338"/>
                </a:lnTo>
                <a:lnTo>
                  <a:pt x="257342" y="162285"/>
                </a:lnTo>
                <a:lnTo>
                  <a:pt x="257448" y="162179"/>
                </a:lnTo>
                <a:lnTo>
                  <a:pt x="257501" y="162021"/>
                </a:lnTo>
                <a:lnTo>
                  <a:pt x="257501" y="161915"/>
                </a:lnTo>
                <a:lnTo>
                  <a:pt x="257395" y="161546"/>
                </a:lnTo>
                <a:lnTo>
                  <a:pt x="257342" y="161387"/>
                </a:lnTo>
                <a:lnTo>
                  <a:pt x="257290" y="161282"/>
                </a:lnTo>
                <a:lnTo>
                  <a:pt x="257184" y="161282"/>
                </a:lnTo>
                <a:lnTo>
                  <a:pt x="257078" y="161176"/>
                </a:lnTo>
                <a:lnTo>
                  <a:pt x="256973" y="161018"/>
                </a:lnTo>
                <a:lnTo>
                  <a:pt x="256973" y="160912"/>
                </a:lnTo>
                <a:lnTo>
                  <a:pt x="256709" y="160754"/>
                </a:lnTo>
                <a:lnTo>
                  <a:pt x="256075" y="160754"/>
                </a:lnTo>
                <a:lnTo>
                  <a:pt x="255758" y="160648"/>
                </a:lnTo>
                <a:lnTo>
                  <a:pt x="255758" y="160806"/>
                </a:lnTo>
                <a:lnTo>
                  <a:pt x="255864" y="161018"/>
                </a:lnTo>
                <a:lnTo>
                  <a:pt x="256075" y="161282"/>
                </a:lnTo>
                <a:lnTo>
                  <a:pt x="255917" y="161387"/>
                </a:lnTo>
                <a:lnTo>
                  <a:pt x="255864" y="161334"/>
                </a:lnTo>
                <a:lnTo>
                  <a:pt x="255811" y="161176"/>
                </a:lnTo>
                <a:lnTo>
                  <a:pt x="255758" y="161018"/>
                </a:lnTo>
                <a:lnTo>
                  <a:pt x="255705" y="160806"/>
                </a:lnTo>
                <a:lnTo>
                  <a:pt x="255600" y="160754"/>
                </a:lnTo>
                <a:lnTo>
                  <a:pt x="255336" y="160754"/>
                </a:lnTo>
                <a:lnTo>
                  <a:pt x="255230" y="160701"/>
                </a:lnTo>
                <a:lnTo>
                  <a:pt x="255019" y="160542"/>
                </a:lnTo>
                <a:lnTo>
                  <a:pt x="254860" y="160490"/>
                </a:lnTo>
                <a:lnTo>
                  <a:pt x="254596" y="160384"/>
                </a:lnTo>
                <a:lnTo>
                  <a:pt x="254438" y="160278"/>
                </a:lnTo>
                <a:lnTo>
                  <a:pt x="254015" y="160225"/>
                </a:lnTo>
                <a:lnTo>
                  <a:pt x="253593" y="160067"/>
                </a:lnTo>
                <a:lnTo>
                  <a:pt x="253012" y="159961"/>
                </a:lnTo>
                <a:close/>
                <a:moveTo>
                  <a:pt x="155419" y="164133"/>
                </a:moveTo>
                <a:lnTo>
                  <a:pt x="155261" y="164186"/>
                </a:lnTo>
                <a:lnTo>
                  <a:pt x="154469" y="164767"/>
                </a:lnTo>
                <a:lnTo>
                  <a:pt x="154310" y="164978"/>
                </a:lnTo>
                <a:lnTo>
                  <a:pt x="154152" y="165295"/>
                </a:lnTo>
                <a:lnTo>
                  <a:pt x="154046" y="165665"/>
                </a:lnTo>
                <a:lnTo>
                  <a:pt x="154152" y="165876"/>
                </a:lnTo>
                <a:lnTo>
                  <a:pt x="154258" y="165876"/>
                </a:lnTo>
                <a:lnTo>
                  <a:pt x="154363" y="165771"/>
                </a:lnTo>
                <a:lnTo>
                  <a:pt x="154469" y="165718"/>
                </a:lnTo>
                <a:lnTo>
                  <a:pt x="154627" y="165559"/>
                </a:lnTo>
                <a:lnTo>
                  <a:pt x="154891" y="165242"/>
                </a:lnTo>
                <a:lnTo>
                  <a:pt x="155155" y="165031"/>
                </a:lnTo>
                <a:lnTo>
                  <a:pt x="155261" y="164978"/>
                </a:lnTo>
                <a:lnTo>
                  <a:pt x="155419" y="164978"/>
                </a:lnTo>
                <a:lnTo>
                  <a:pt x="155472" y="164926"/>
                </a:lnTo>
                <a:lnTo>
                  <a:pt x="155419" y="164820"/>
                </a:lnTo>
                <a:lnTo>
                  <a:pt x="155261" y="164609"/>
                </a:lnTo>
                <a:lnTo>
                  <a:pt x="155314" y="164292"/>
                </a:lnTo>
                <a:lnTo>
                  <a:pt x="155525" y="164239"/>
                </a:lnTo>
                <a:lnTo>
                  <a:pt x="155683" y="164345"/>
                </a:lnTo>
                <a:lnTo>
                  <a:pt x="155639" y="164609"/>
                </a:lnTo>
                <a:lnTo>
                  <a:pt x="155789" y="164609"/>
                </a:lnTo>
                <a:lnTo>
                  <a:pt x="155789" y="164662"/>
                </a:lnTo>
                <a:lnTo>
                  <a:pt x="155736" y="164767"/>
                </a:lnTo>
                <a:lnTo>
                  <a:pt x="155789" y="164767"/>
                </a:lnTo>
                <a:lnTo>
                  <a:pt x="155842" y="164714"/>
                </a:lnTo>
                <a:lnTo>
                  <a:pt x="155895" y="164609"/>
                </a:lnTo>
                <a:lnTo>
                  <a:pt x="155895" y="164503"/>
                </a:lnTo>
                <a:lnTo>
                  <a:pt x="155842" y="164345"/>
                </a:lnTo>
                <a:lnTo>
                  <a:pt x="155789" y="164292"/>
                </a:lnTo>
                <a:lnTo>
                  <a:pt x="155789" y="164239"/>
                </a:lnTo>
                <a:lnTo>
                  <a:pt x="155578" y="164133"/>
                </a:lnTo>
                <a:close/>
                <a:moveTo>
                  <a:pt x="139524" y="166193"/>
                </a:moveTo>
                <a:lnTo>
                  <a:pt x="139312" y="166351"/>
                </a:lnTo>
                <a:lnTo>
                  <a:pt x="139312" y="166404"/>
                </a:lnTo>
                <a:lnTo>
                  <a:pt x="139365" y="166457"/>
                </a:lnTo>
                <a:lnTo>
                  <a:pt x="139418" y="166510"/>
                </a:lnTo>
                <a:lnTo>
                  <a:pt x="139524" y="166615"/>
                </a:lnTo>
                <a:lnTo>
                  <a:pt x="139576" y="166668"/>
                </a:lnTo>
                <a:lnTo>
                  <a:pt x="139629" y="166668"/>
                </a:lnTo>
                <a:lnTo>
                  <a:pt x="139682" y="166615"/>
                </a:lnTo>
                <a:lnTo>
                  <a:pt x="139735" y="166563"/>
                </a:lnTo>
                <a:lnTo>
                  <a:pt x="139735" y="166510"/>
                </a:lnTo>
                <a:lnTo>
                  <a:pt x="139735" y="166404"/>
                </a:lnTo>
                <a:lnTo>
                  <a:pt x="139735" y="166299"/>
                </a:lnTo>
                <a:lnTo>
                  <a:pt x="139735" y="166246"/>
                </a:lnTo>
                <a:lnTo>
                  <a:pt x="139682" y="166193"/>
                </a:lnTo>
                <a:close/>
                <a:moveTo>
                  <a:pt x="258557" y="165348"/>
                </a:moveTo>
                <a:lnTo>
                  <a:pt x="258293" y="165401"/>
                </a:lnTo>
                <a:lnTo>
                  <a:pt x="258082" y="165506"/>
                </a:lnTo>
                <a:lnTo>
                  <a:pt x="257976" y="165506"/>
                </a:lnTo>
                <a:lnTo>
                  <a:pt x="257818" y="165401"/>
                </a:lnTo>
                <a:lnTo>
                  <a:pt x="257501" y="165401"/>
                </a:lnTo>
                <a:lnTo>
                  <a:pt x="257395" y="165454"/>
                </a:lnTo>
                <a:lnTo>
                  <a:pt x="257290" y="165559"/>
                </a:lnTo>
                <a:lnTo>
                  <a:pt x="257184" y="165718"/>
                </a:lnTo>
                <a:lnTo>
                  <a:pt x="256920" y="166193"/>
                </a:lnTo>
                <a:lnTo>
                  <a:pt x="256920" y="166351"/>
                </a:lnTo>
                <a:lnTo>
                  <a:pt x="256973" y="166457"/>
                </a:lnTo>
                <a:lnTo>
                  <a:pt x="257184" y="166615"/>
                </a:lnTo>
                <a:lnTo>
                  <a:pt x="257765" y="167196"/>
                </a:lnTo>
                <a:lnTo>
                  <a:pt x="258029" y="167249"/>
                </a:lnTo>
                <a:lnTo>
                  <a:pt x="258399" y="167144"/>
                </a:lnTo>
                <a:lnTo>
                  <a:pt x="258610" y="166985"/>
                </a:lnTo>
                <a:lnTo>
                  <a:pt x="258716" y="166932"/>
                </a:lnTo>
                <a:lnTo>
                  <a:pt x="258821" y="166880"/>
                </a:lnTo>
                <a:lnTo>
                  <a:pt x="258874" y="166668"/>
                </a:lnTo>
                <a:lnTo>
                  <a:pt x="258768" y="166351"/>
                </a:lnTo>
                <a:lnTo>
                  <a:pt x="258768" y="166246"/>
                </a:lnTo>
                <a:lnTo>
                  <a:pt x="258821" y="166140"/>
                </a:lnTo>
                <a:lnTo>
                  <a:pt x="258927" y="165982"/>
                </a:lnTo>
                <a:lnTo>
                  <a:pt x="258980" y="165876"/>
                </a:lnTo>
                <a:lnTo>
                  <a:pt x="258927" y="165771"/>
                </a:lnTo>
                <a:lnTo>
                  <a:pt x="258874" y="165612"/>
                </a:lnTo>
                <a:lnTo>
                  <a:pt x="258821" y="165506"/>
                </a:lnTo>
                <a:lnTo>
                  <a:pt x="258768" y="165454"/>
                </a:lnTo>
                <a:lnTo>
                  <a:pt x="258557" y="165348"/>
                </a:lnTo>
                <a:close/>
                <a:moveTo>
                  <a:pt x="245619" y="155895"/>
                </a:moveTo>
                <a:lnTo>
                  <a:pt x="245407" y="156159"/>
                </a:lnTo>
                <a:lnTo>
                  <a:pt x="245302" y="156159"/>
                </a:lnTo>
                <a:lnTo>
                  <a:pt x="245302" y="156212"/>
                </a:lnTo>
                <a:lnTo>
                  <a:pt x="245302" y="156265"/>
                </a:lnTo>
                <a:lnTo>
                  <a:pt x="245302" y="156370"/>
                </a:lnTo>
                <a:lnTo>
                  <a:pt x="245302" y="156423"/>
                </a:lnTo>
                <a:lnTo>
                  <a:pt x="245302" y="156476"/>
                </a:lnTo>
                <a:lnTo>
                  <a:pt x="245302" y="156529"/>
                </a:lnTo>
                <a:lnTo>
                  <a:pt x="245302" y="156582"/>
                </a:lnTo>
                <a:lnTo>
                  <a:pt x="245302" y="156634"/>
                </a:lnTo>
                <a:lnTo>
                  <a:pt x="245249" y="156687"/>
                </a:lnTo>
                <a:lnTo>
                  <a:pt x="245196" y="156740"/>
                </a:lnTo>
                <a:lnTo>
                  <a:pt x="245143" y="156793"/>
                </a:lnTo>
                <a:lnTo>
                  <a:pt x="245143" y="156898"/>
                </a:lnTo>
                <a:lnTo>
                  <a:pt x="245143" y="156951"/>
                </a:lnTo>
                <a:lnTo>
                  <a:pt x="244932" y="157110"/>
                </a:lnTo>
                <a:lnTo>
                  <a:pt x="244879" y="157163"/>
                </a:lnTo>
                <a:lnTo>
                  <a:pt x="244879" y="157268"/>
                </a:lnTo>
                <a:lnTo>
                  <a:pt x="244985" y="157215"/>
                </a:lnTo>
                <a:lnTo>
                  <a:pt x="245091" y="157215"/>
                </a:lnTo>
                <a:lnTo>
                  <a:pt x="245302" y="157374"/>
                </a:lnTo>
                <a:lnTo>
                  <a:pt x="245513" y="157374"/>
                </a:lnTo>
                <a:lnTo>
                  <a:pt x="245513" y="157427"/>
                </a:lnTo>
                <a:lnTo>
                  <a:pt x="245513" y="157532"/>
                </a:lnTo>
                <a:lnTo>
                  <a:pt x="245460" y="157532"/>
                </a:lnTo>
                <a:lnTo>
                  <a:pt x="244879" y="157374"/>
                </a:lnTo>
                <a:lnTo>
                  <a:pt x="244615" y="157374"/>
                </a:lnTo>
                <a:lnTo>
                  <a:pt x="244562" y="157427"/>
                </a:lnTo>
                <a:lnTo>
                  <a:pt x="244562" y="157479"/>
                </a:lnTo>
                <a:lnTo>
                  <a:pt x="244668" y="157691"/>
                </a:lnTo>
                <a:lnTo>
                  <a:pt x="244721" y="157796"/>
                </a:lnTo>
                <a:lnTo>
                  <a:pt x="245038" y="158007"/>
                </a:lnTo>
                <a:lnTo>
                  <a:pt x="245196" y="158430"/>
                </a:lnTo>
                <a:lnTo>
                  <a:pt x="245249" y="158483"/>
                </a:lnTo>
                <a:lnTo>
                  <a:pt x="245355" y="158430"/>
                </a:lnTo>
                <a:lnTo>
                  <a:pt x="245460" y="158377"/>
                </a:lnTo>
                <a:lnTo>
                  <a:pt x="245619" y="158324"/>
                </a:lnTo>
                <a:lnTo>
                  <a:pt x="245724" y="158377"/>
                </a:lnTo>
                <a:lnTo>
                  <a:pt x="245830" y="158377"/>
                </a:lnTo>
                <a:lnTo>
                  <a:pt x="246200" y="158324"/>
                </a:lnTo>
                <a:lnTo>
                  <a:pt x="246041" y="158747"/>
                </a:lnTo>
                <a:lnTo>
                  <a:pt x="246041" y="158800"/>
                </a:lnTo>
                <a:lnTo>
                  <a:pt x="245988" y="158852"/>
                </a:lnTo>
                <a:lnTo>
                  <a:pt x="245883" y="158958"/>
                </a:lnTo>
                <a:lnTo>
                  <a:pt x="245830" y="159064"/>
                </a:lnTo>
                <a:lnTo>
                  <a:pt x="245830" y="159169"/>
                </a:lnTo>
                <a:lnTo>
                  <a:pt x="245883" y="159222"/>
                </a:lnTo>
                <a:lnTo>
                  <a:pt x="245988" y="159222"/>
                </a:lnTo>
                <a:lnTo>
                  <a:pt x="246094" y="159064"/>
                </a:lnTo>
                <a:lnTo>
                  <a:pt x="246200" y="159011"/>
                </a:lnTo>
                <a:lnTo>
                  <a:pt x="246411" y="159011"/>
                </a:lnTo>
                <a:lnTo>
                  <a:pt x="246516" y="159064"/>
                </a:lnTo>
                <a:lnTo>
                  <a:pt x="246516" y="159116"/>
                </a:lnTo>
                <a:lnTo>
                  <a:pt x="246305" y="159116"/>
                </a:lnTo>
                <a:lnTo>
                  <a:pt x="246094" y="159222"/>
                </a:lnTo>
                <a:lnTo>
                  <a:pt x="245988" y="159381"/>
                </a:lnTo>
                <a:lnTo>
                  <a:pt x="245988" y="159697"/>
                </a:lnTo>
                <a:lnTo>
                  <a:pt x="246094" y="159961"/>
                </a:lnTo>
                <a:lnTo>
                  <a:pt x="246252" y="160120"/>
                </a:lnTo>
                <a:lnTo>
                  <a:pt x="246464" y="160173"/>
                </a:lnTo>
                <a:lnTo>
                  <a:pt x="246675" y="160173"/>
                </a:lnTo>
                <a:lnTo>
                  <a:pt x="246833" y="160120"/>
                </a:lnTo>
                <a:lnTo>
                  <a:pt x="246939" y="160120"/>
                </a:lnTo>
                <a:lnTo>
                  <a:pt x="246992" y="160331"/>
                </a:lnTo>
                <a:lnTo>
                  <a:pt x="246992" y="160384"/>
                </a:lnTo>
                <a:lnTo>
                  <a:pt x="246833" y="160384"/>
                </a:lnTo>
                <a:lnTo>
                  <a:pt x="246675" y="160437"/>
                </a:lnTo>
                <a:lnTo>
                  <a:pt x="246569" y="160437"/>
                </a:lnTo>
                <a:lnTo>
                  <a:pt x="246464" y="160542"/>
                </a:lnTo>
                <a:lnTo>
                  <a:pt x="246147" y="160542"/>
                </a:lnTo>
                <a:lnTo>
                  <a:pt x="246041" y="160648"/>
                </a:lnTo>
                <a:lnTo>
                  <a:pt x="246041" y="160754"/>
                </a:lnTo>
                <a:lnTo>
                  <a:pt x="245988" y="160859"/>
                </a:lnTo>
                <a:lnTo>
                  <a:pt x="246094" y="160859"/>
                </a:lnTo>
                <a:lnTo>
                  <a:pt x="246200" y="160912"/>
                </a:lnTo>
                <a:lnTo>
                  <a:pt x="246305" y="161018"/>
                </a:lnTo>
                <a:lnTo>
                  <a:pt x="246358" y="161123"/>
                </a:lnTo>
                <a:lnTo>
                  <a:pt x="246358" y="161229"/>
                </a:lnTo>
                <a:lnTo>
                  <a:pt x="246200" y="161229"/>
                </a:lnTo>
                <a:lnTo>
                  <a:pt x="246147" y="161334"/>
                </a:lnTo>
                <a:lnTo>
                  <a:pt x="246041" y="161282"/>
                </a:lnTo>
                <a:lnTo>
                  <a:pt x="245988" y="161387"/>
                </a:lnTo>
                <a:lnTo>
                  <a:pt x="245988" y="161757"/>
                </a:lnTo>
                <a:lnTo>
                  <a:pt x="246041" y="161810"/>
                </a:lnTo>
                <a:lnTo>
                  <a:pt x="246200" y="161810"/>
                </a:lnTo>
                <a:lnTo>
                  <a:pt x="246305" y="161863"/>
                </a:lnTo>
                <a:lnTo>
                  <a:pt x="246200" y="162074"/>
                </a:lnTo>
                <a:lnTo>
                  <a:pt x="246464" y="162127"/>
                </a:lnTo>
                <a:lnTo>
                  <a:pt x="246939" y="161810"/>
                </a:lnTo>
                <a:lnTo>
                  <a:pt x="247150" y="161757"/>
                </a:lnTo>
                <a:lnTo>
                  <a:pt x="247150" y="161810"/>
                </a:lnTo>
                <a:lnTo>
                  <a:pt x="247097" y="161863"/>
                </a:lnTo>
                <a:lnTo>
                  <a:pt x="247097" y="161915"/>
                </a:lnTo>
                <a:lnTo>
                  <a:pt x="247097" y="162021"/>
                </a:lnTo>
                <a:lnTo>
                  <a:pt x="247097" y="162074"/>
                </a:lnTo>
                <a:lnTo>
                  <a:pt x="247097" y="162338"/>
                </a:lnTo>
                <a:lnTo>
                  <a:pt x="247097" y="162444"/>
                </a:lnTo>
                <a:lnTo>
                  <a:pt x="246939" y="162496"/>
                </a:lnTo>
                <a:lnTo>
                  <a:pt x="246939" y="163077"/>
                </a:lnTo>
                <a:lnTo>
                  <a:pt x="246939" y="163130"/>
                </a:lnTo>
                <a:lnTo>
                  <a:pt x="246939" y="163236"/>
                </a:lnTo>
                <a:lnTo>
                  <a:pt x="246939" y="163288"/>
                </a:lnTo>
                <a:lnTo>
                  <a:pt x="246886" y="163341"/>
                </a:lnTo>
                <a:lnTo>
                  <a:pt x="246833" y="163394"/>
                </a:lnTo>
                <a:lnTo>
                  <a:pt x="246833" y="163500"/>
                </a:lnTo>
                <a:lnTo>
                  <a:pt x="246886" y="163553"/>
                </a:lnTo>
                <a:lnTo>
                  <a:pt x="246939" y="163553"/>
                </a:lnTo>
                <a:lnTo>
                  <a:pt x="246992" y="163500"/>
                </a:lnTo>
                <a:lnTo>
                  <a:pt x="247150" y="163447"/>
                </a:lnTo>
                <a:lnTo>
                  <a:pt x="247573" y="162866"/>
                </a:lnTo>
                <a:lnTo>
                  <a:pt x="247573" y="162813"/>
                </a:lnTo>
                <a:lnTo>
                  <a:pt x="247625" y="162708"/>
                </a:lnTo>
                <a:lnTo>
                  <a:pt x="247678" y="162708"/>
                </a:lnTo>
                <a:lnTo>
                  <a:pt x="247784" y="162813"/>
                </a:lnTo>
                <a:lnTo>
                  <a:pt x="247784" y="162866"/>
                </a:lnTo>
                <a:lnTo>
                  <a:pt x="247678" y="163024"/>
                </a:lnTo>
                <a:lnTo>
                  <a:pt x="247361" y="163288"/>
                </a:lnTo>
                <a:lnTo>
                  <a:pt x="247256" y="163394"/>
                </a:lnTo>
                <a:lnTo>
                  <a:pt x="247203" y="163553"/>
                </a:lnTo>
                <a:lnTo>
                  <a:pt x="247203" y="163658"/>
                </a:lnTo>
                <a:lnTo>
                  <a:pt x="247203" y="163817"/>
                </a:lnTo>
                <a:lnTo>
                  <a:pt x="247203" y="164081"/>
                </a:lnTo>
                <a:lnTo>
                  <a:pt x="247203" y="164186"/>
                </a:lnTo>
                <a:lnTo>
                  <a:pt x="247309" y="164239"/>
                </a:lnTo>
                <a:lnTo>
                  <a:pt x="247414" y="164133"/>
                </a:lnTo>
                <a:lnTo>
                  <a:pt x="247520" y="164081"/>
                </a:lnTo>
                <a:lnTo>
                  <a:pt x="247625" y="163922"/>
                </a:lnTo>
                <a:lnTo>
                  <a:pt x="247678" y="163764"/>
                </a:lnTo>
                <a:lnTo>
                  <a:pt x="247731" y="163341"/>
                </a:lnTo>
                <a:lnTo>
                  <a:pt x="247837" y="163236"/>
                </a:lnTo>
                <a:lnTo>
                  <a:pt x="247890" y="163183"/>
                </a:lnTo>
                <a:lnTo>
                  <a:pt x="248048" y="163183"/>
                </a:lnTo>
                <a:lnTo>
                  <a:pt x="247942" y="163288"/>
                </a:lnTo>
                <a:lnTo>
                  <a:pt x="247890" y="163341"/>
                </a:lnTo>
                <a:lnTo>
                  <a:pt x="247890" y="163394"/>
                </a:lnTo>
                <a:lnTo>
                  <a:pt x="247837" y="163658"/>
                </a:lnTo>
                <a:lnTo>
                  <a:pt x="247837" y="163817"/>
                </a:lnTo>
                <a:lnTo>
                  <a:pt x="247837" y="163922"/>
                </a:lnTo>
                <a:lnTo>
                  <a:pt x="247890" y="163975"/>
                </a:lnTo>
                <a:lnTo>
                  <a:pt x="247995" y="163922"/>
                </a:lnTo>
                <a:lnTo>
                  <a:pt x="248048" y="163869"/>
                </a:lnTo>
                <a:lnTo>
                  <a:pt x="248154" y="163658"/>
                </a:lnTo>
                <a:lnTo>
                  <a:pt x="248206" y="163500"/>
                </a:lnTo>
                <a:lnTo>
                  <a:pt x="248259" y="163447"/>
                </a:lnTo>
                <a:lnTo>
                  <a:pt x="248470" y="163447"/>
                </a:lnTo>
                <a:lnTo>
                  <a:pt x="248154" y="163817"/>
                </a:lnTo>
                <a:lnTo>
                  <a:pt x="248048" y="164081"/>
                </a:lnTo>
                <a:lnTo>
                  <a:pt x="248048" y="164239"/>
                </a:lnTo>
                <a:lnTo>
                  <a:pt x="247995" y="164345"/>
                </a:lnTo>
                <a:lnTo>
                  <a:pt x="247625" y="164345"/>
                </a:lnTo>
                <a:lnTo>
                  <a:pt x="247573" y="164397"/>
                </a:lnTo>
                <a:lnTo>
                  <a:pt x="247573" y="164503"/>
                </a:lnTo>
                <a:lnTo>
                  <a:pt x="247573" y="164556"/>
                </a:lnTo>
                <a:lnTo>
                  <a:pt x="247625" y="164609"/>
                </a:lnTo>
                <a:lnTo>
                  <a:pt x="247625" y="164662"/>
                </a:lnTo>
                <a:lnTo>
                  <a:pt x="247573" y="164714"/>
                </a:lnTo>
                <a:lnTo>
                  <a:pt x="247467" y="164714"/>
                </a:lnTo>
                <a:lnTo>
                  <a:pt x="247573" y="164820"/>
                </a:lnTo>
                <a:lnTo>
                  <a:pt x="247625" y="164926"/>
                </a:lnTo>
                <a:lnTo>
                  <a:pt x="247731" y="165084"/>
                </a:lnTo>
                <a:lnTo>
                  <a:pt x="247731" y="165242"/>
                </a:lnTo>
                <a:lnTo>
                  <a:pt x="247995" y="165718"/>
                </a:lnTo>
                <a:lnTo>
                  <a:pt x="247995" y="165771"/>
                </a:lnTo>
                <a:lnTo>
                  <a:pt x="247995" y="165929"/>
                </a:lnTo>
                <a:lnTo>
                  <a:pt x="247995" y="166035"/>
                </a:lnTo>
                <a:lnTo>
                  <a:pt x="248048" y="166035"/>
                </a:lnTo>
                <a:lnTo>
                  <a:pt x="248154" y="166193"/>
                </a:lnTo>
                <a:lnTo>
                  <a:pt x="248154" y="166246"/>
                </a:lnTo>
                <a:lnTo>
                  <a:pt x="248154" y="166457"/>
                </a:lnTo>
                <a:lnTo>
                  <a:pt x="248206" y="166510"/>
                </a:lnTo>
                <a:lnTo>
                  <a:pt x="248312" y="166457"/>
                </a:lnTo>
                <a:lnTo>
                  <a:pt x="248418" y="166510"/>
                </a:lnTo>
                <a:lnTo>
                  <a:pt x="248418" y="166615"/>
                </a:lnTo>
                <a:lnTo>
                  <a:pt x="248418" y="166721"/>
                </a:lnTo>
                <a:lnTo>
                  <a:pt x="248418" y="166774"/>
                </a:lnTo>
                <a:lnTo>
                  <a:pt x="248470" y="166774"/>
                </a:lnTo>
                <a:lnTo>
                  <a:pt x="248470" y="166827"/>
                </a:lnTo>
                <a:lnTo>
                  <a:pt x="248470" y="166985"/>
                </a:lnTo>
                <a:lnTo>
                  <a:pt x="248523" y="167091"/>
                </a:lnTo>
                <a:lnTo>
                  <a:pt x="248576" y="167144"/>
                </a:lnTo>
                <a:lnTo>
                  <a:pt x="248682" y="167144"/>
                </a:lnTo>
                <a:lnTo>
                  <a:pt x="248629" y="167249"/>
                </a:lnTo>
                <a:lnTo>
                  <a:pt x="248682" y="167302"/>
                </a:lnTo>
                <a:lnTo>
                  <a:pt x="248893" y="167302"/>
                </a:lnTo>
                <a:lnTo>
                  <a:pt x="248893" y="167249"/>
                </a:lnTo>
                <a:lnTo>
                  <a:pt x="248946" y="167249"/>
                </a:lnTo>
                <a:lnTo>
                  <a:pt x="248999" y="167355"/>
                </a:lnTo>
                <a:lnTo>
                  <a:pt x="248999" y="167460"/>
                </a:lnTo>
                <a:lnTo>
                  <a:pt x="248893" y="167672"/>
                </a:lnTo>
                <a:lnTo>
                  <a:pt x="248999" y="167725"/>
                </a:lnTo>
                <a:lnTo>
                  <a:pt x="249051" y="167725"/>
                </a:lnTo>
                <a:lnTo>
                  <a:pt x="249157" y="167460"/>
                </a:lnTo>
                <a:lnTo>
                  <a:pt x="249104" y="167408"/>
                </a:lnTo>
                <a:lnTo>
                  <a:pt x="249210" y="167196"/>
                </a:lnTo>
                <a:lnTo>
                  <a:pt x="249210" y="166985"/>
                </a:lnTo>
                <a:lnTo>
                  <a:pt x="249157" y="166932"/>
                </a:lnTo>
                <a:lnTo>
                  <a:pt x="248999" y="167038"/>
                </a:lnTo>
                <a:lnTo>
                  <a:pt x="249157" y="166615"/>
                </a:lnTo>
                <a:lnTo>
                  <a:pt x="249157" y="166404"/>
                </a:lnTo>
                <a:lnTo>
                  <a:pt x="249051" y="166351"/>
                </a:lnTo>
                <a:lnTo>
                  <a:pt x="249157" y="166193"/>
                </a:lnTo>
                <a:lnTo>
                  <a:pt x="249157" y="166035"/>
                </a:lnTo>
                <a:lnTo>
                  <a:pt x="249157" y="165876"/>
                </a:lnTo>
                <a:lnTo>
                  <a:pt x="249157" y="165718"/>
                </a:lnTo>
                <a:lnTo>
                  <a:pt x="249157" y="165612"/>
                </a:lnTo>
                <a:lnTo>
                  <a:pt x="249157" y="165506"/>
                </a:lnTo>
                <a:lnTo>
                  <a:pt x="249157" y="165348"/>
                </a:lnTo>
                <a:lnTo>
                  <a:pt x="249210" y="165190"/>
                </a:lnTo>
                <a:lnTo>
                  <a:pt x="249210" y="165084"/>
                </a:lnTo>
                <a:lnTo>
                  <a:pt x="248999" y="164662"/>
                </a:lnTo>
                <a:lnTo>
                  <a:pt x="248999" y="164345"/>
                </a:lnTo>
                <a:lnTo>
                  <a:pt x="248999" y="164239"/>
                </a:lnTo>
                <a:lnTo>
                  <a:pt x="249051" y="164239"/>
                </a:lnTo>
                <a:lnTo>
                  <a:pt x="249104" y="164345"/>
                </a:lnTo>
                <a:lnTo>
                  <a:pt x="249104" y="164397"/>
                </a:lnTo>
                <a:lnTo>
                  <a:pt x="249157" y="164503"/>
                </a:lnTo>
                <a:lnTo>
                  <a:pt x="249157" y="164450"/>
                </a:lnTo>
                <a:lnTo>
                  <a:pt x="249157" y="164397"/>
                </a:lnTo>
                <a:lnTo>
                  <a:pt x="249157" y="164133"/>
                </a:lnTo>
                <a:lnTo>
                  <a:pt x="249527" y="163077"/>
                </a:lnTo>
                <a:lnTo>
                  <a:pt x="249474" y="162919"/>
                </a:lnTo>
                <a:lnTo>
                  <a:pt x="249421" y="162866"/>
                </a:lnTo>
                <a:lnTo>
                  <a:pt x="249368" y="162760"/>
                </a:lnTo>
                <a:lnTo>
                  <a:pt x="249368" y="162655"/>
                </a:lnTo>
                <a:lnTo>
                  <a:pt x="249421" y="162496"/>
                </a:lnTo>
                <a:lnTo>
                  <a:pt x="249210" y="162127"/>
                </a:lnTo>
                <a:lnTo>
                  <a:pt x="249157" y="162021"/>
                </a:lnTo>
                <a:lnTo>
                  <a:pt x="249157" y="161651"/>
                </a:lnTo>
                <a:lnTo>
                  <a:pt x="249157" y="161546"/>
                </a:lnTo>
                <a:lnTo>
                  <a:pt x="249051" y="161387"/>
                </a:lnTo>
                <a:lnTo>
                  <a:pt x="249051" y="161282"/>
                </a:lnTo>
                <a:lnTo>
                  <a:pt x="249051" y="161176"/>
                </a:lnTo>
                <a:lnTo>
                  <a:pt x="248999" y="161123"/>
                </a:lnTo>
                <a:lnTo>
                  <a:pt x="248999" y="161070"/>
                </a:lnTo>
                <a:lnTo>
                  <a:pt x="248999" y="160912"/>
                </a:lnTo>
                <a:lnTo>
                  <a:pt x="249051" y="160754"/>
                </a:lnTo>
                <a:lnTo>
                  <a:pt x="249051" y="160648"/>
                </a:lnTo>
                <a:lnTo>
                  <a:pt x="249051" y="160542"/>
                </a:lnTo>
                <a:lnTo>
                  <a:pt x="249051" y="160490"/>
                </a:lnTo>
                <a:lnTo>
                  <a:pt x="249051" y="160384"/>
                </a:lnTo>
                <a:lnTo>
                  <a:pt x="249051" y="160331"/>
                </a:lnTo>
                <a:lnTo>
                  <a:pt x="249051" y="160225"/>
                </a:lnTo>
                <a:lnTo>
                  <a:pt x="248999" y="160120"/>
                </a:lnTo>
                <a:lnTo>
                  <a:pt x="248893" y="160067"/>
                </a:lnTo>
                <a:lnTo>
                  <a:pt x="248840" y="160067"/>
                </a:lnTo>
                <a:lnTo>
                  <a:pt x="248893" y="159909"/>
                </a:lnTo>
                <a:lnTo>
                  <a:pt x="248840" y="159750"/>
                </a:lnTo>
                <a:lnTo>
                  <a:pt x="248734" y="159592"/>
                </a:lnTo>
                <a:lnTo>
                  <a:pt x="248629" y="159539"/>
                </a:lnTo>
                <a:lnTo>
                  <a:pt x="248734" y="159328"/>
                </a:lnTo>
                <a:lnTo>
                  <a:pt x="248734" y="159222"/>
                </a:lnTo>
                <a:lnTo>
                  <a:pt x="248682" y="159064"/>
                </a:lnTo>
                <a:lnTo>
                  <a:pt x="248523" y="158905"/>
                </a:lnTo>
                <a:lnTo>
                  <a:pt x="248629" y="158905"/>
                </a:lnTo>
                <a:lnTo>
                  <a:pt x="248629" y="158852"/>
                </a:lnTo>
                <a:lnTo>
                  <a:pt x="248629" y="158641"/>
                </a:lnTo>
                <a:lnTo>
                  <a:pt x="248629" y="158536"/>
                </a:lnTo>
                <a:lnTo>
                  <a:pt x="248259" y="158536"/>
                </a:lnTo>
                <a:lnTo>
                  <a:pt x="248259" y="158430"/>
                </a:lnTo>
                <a:lnTo>
                  <a:pt x="248259" y="158219"/>
                </a:lnTo>
                <a:lnTo>
                  <a:pt x="248206" y="158166"/>
                </a:lnTo>
                <a:lnTo>
                  <a:pt x="248154" y="158113"/>
                </a:lnTo>
                <a:lnTo>
                  <a:pt x="248101" y="158166"/>
                </a:lnTo>
                <a:lnTo>
                  <a:pt x="247995" y="158166"/>
                </a:lnTo>
                <a:lnTo>
                  <a:pt x="247995" y="158060"/>
                </a:lnTo>
                <a:lnTo>
                  <a:pt x="248048" y="158007"/>
                </a:lnTo>
                <a:lnTo>
                  <a:pt x="248101" y="157955"/>
                </a:lnTo>
                <a:lnTo>
                  <a:pt x="248101" y="157902"/>
                </a:lnTo>
                <a:lnTo>
                  <a:pt x="247890" y="157796"/>
                </a:lnTo>
                <a:lnTo>
                  <a:pt x="247890" y="157743"/>
                </a:lnTo>
                <a:lnTo>
                  <a:pt x="248101" y="157743"/>
                </a:lnTo>
                <a:lnTo>
                  <a:pt x="248312" y="157849"/>
                </a:lnTo>
                <a:lnTo>
                  <a:pt x="248312" y="157796"/>
                </a:lnTo>
                <a:lnTo>
                  <a:pt x="247890" y="157268"/>
                </a:lnTo>
                <a:lnTo>
                  <a:pt x="247837" y="157215"/>
                </a:lnTo>
                <a:lnTo>
                  <a:pt x="247678" y="157163"/>
                </a:lnTo>
                <a:lnTo>
                  <a:pt x="247625" y="157057"/>
                </a:lnTo>
                <a:lnTo>
                  <a:pt x="247256" y="156898"/>
                </a:lnTo>
                <a:lnTo>
                  <a:pt x="247150" y="156898"/>
                </a:lnTo>
                <a:lnTo>
                  <a:pt x="247045" y="156951"/>
                </a:lnTo>
                <a:lnTo>
                  <a:pt x="246939" y="157004"/>
                </a:lnTo>
                <a:lnTo>
                  <a:pt x="246992" y="156898"/>
                </a:lnTo>
                <a:lnTo>
                  <a:pt x="247150" y="156793"/>
                </a:lnTo>
                <a:lnTo>
                  <a:pt x="247203" y="156687"/>
                </a:lnTo>
                <a:lnTo>
                  <a:pt x="247045" y="156582"/>
                </a:lnTo>
                <a:lnTo>
                  <a:pt x="246833" y="156582"/>
                </a:lnTo>
                <a:lnTo>
                  <a:pt x="246781" y="156634"/>
                </a:lnTo>
                <a:lnTo>
                  <a:pt x="246675" y="156740"/>
                </a:lnTo>
                <a:lnTo>
                  <a:pt x="246569" y="156740"/>
                </a:lnTo>
                <a:lnTo>
                  <a:pt x="246516" y="156687"/>
                </a:lnTo>
                <a:lnTo>
                  <a:pt x="246516" y="156582"/>
                </a:lnTo>
                <a:lnTo>
                  <a:pt x="246411" y="156582"/>
                </a:lnTo>
                <a:lnTo>
                  <a:pt x="246200" y="156740"/>
                </a:lnTo>
                <a:lnTo>
                  <a:pt x="246094" y="156898"/>
                </a:lnTo>
                <a:lnTo>
                  <a:pt x="246041" y="156898"/>
                </a:lnTo>
                <a:lnTo>
                  <a:pt x="245936" y="156846"/>
                </a:lnTo>
                <a:lnTo>
                  <a:pt x="246094" y="156634"/>
                </a:lnTo>
                <a:lnTo>
                  <a:pt x="246252" y="156476"/>
                </a:lnTo>
                <a:lnTo>
                  <a:pt x="246358" y="156265"/>
                </a:lnTo>
                <a:lnTo>
                  <a:pt x="246147" y="156053"/>
                </a:lnTo>
                <a:lnTo>
                  <a:pt x="245883" y="155895"/>
                </a:lnTo>
                <a:close/>
                <a:moveTo>
                  <a:pt x="144646" y="167408"/>
                </a:moveTo>
                <a:lnTo>
                  <a:pt x="144541" y="167460"/>
                </a:lnTo>
                <a:lnTo>
                  <a:pt x="144541" y="167513"/>
                </a:lnTo>
                <a:lnTo>
                  <a:pt x="144541" y="167566"/>
                </a:lnTo>
                <a:lnTo>
                  <a:pt x="144541" y="167619"/>
                </a:lnTo>
                <a:lnTo>
                  <a:pt x="144541" y="167672"/>
                </a:lnTo>
                <a:lnTo>
                  <a:pt x="144541" y="167777"/>
                </a:lnTo>
                <a:lnTo>
                  <a:pt x="144541" y="167883"/>
                </a:lnTo>
                <a:lnTo>
                  <a:pt x="144593" y="167989"/>
                </a:lnTo>
                <a:lnTo>
                  <a:pt x="144646" y="167989"/>
                </a:lnTo>
                <a:lnTo>
                  <a:pt x="144699" y="167883"/>
                </a:lnTo>
                <a:lnTo>
                  <a:pt x="144699" y="167777"/>
                </a:lnTo>
                <a:lnTo>
                  <a:pt x="144593" y="167672"/>
                </a:lnTo>
                <a:lnTo>
                  <a:pt x="144593" y="167619"/>
                </a:lnTo>
                <a:lnTo>
                  <a:pt x="144593" y="167513"/>
                </a:lnTo>
                <a:lnTo>
                  <a:pt x="144646" y="167460"/>
                </a:lnTo>
                <a:lnTo>
                  <a:pt x="144646" y="167408"/>
                </a:lnTo>
                <a:close/>
                <a:moveTo>
                  <a:pt x="260194" y="165137"/>
                </a:moveTo>
                <a:lnTo>
                  <a:pt x="260141" y="165190"/>
                </a:lnTo>
                <a:lnTo>
                  <a:pt x="260141" y="165295"/>
                </a:lnTo>
                <a:lnTo>
                  <a:pt x="260194" y="165454"/>
                </a:lnTo>
                <a:lnTo>
                  <a:pt x="260247" y="165612"/>
                </a:lnTo>
                <a:lnTo>
                  <a:pt x="260300" y="165718"/>
                </a:lnTo>
                <a:lnTo>
                  <a:pt x="260300" y="165876"/>
                </a:lnTo>
                <a:lnTo>
                  <a:pt x="260300" y="165982"/>
                </a:lnTo>
                <a:lnTo>
                  <a:pt x="260300" y="166087"/>
                </a:lnTo>
                <a:lnTo>
                  <a:pt x="260300" y="166140"/>
                </a:lnTo>
                <a:lnTo>
                  <a:pt x="260300" y="166193"/>
                </a:lnTo>
                <a:lnTo>
                  <a:pt x="260300" y="166246"/>
                </a:lnTo>
                <a:lnTo>
                  <a:pt x="260353" y="166404"/>
                </a:lnTo>
                <a:lnTo>
                  <a:pt x="260353" y="166510"/>
                </a:lnTo>
                <a:lnTo>
                  <a:pt x="260247" y="166985"/>
                </a:lnTo>
                <a:lnTo>
                  <a:pt x="260300" y="167144"/>
                </a:lnTo>
                <a:lnTo>
                  <a:pt x="260458" y="167355"/>
                </a:lnTo>
                <a:lnTo>
                  <a:pt x="260670" y="167513"/>
                </a:lnTo>
                <a:lnTo>
                  <a:pt x="260775" y="167619"/>
                </a:lnTo>
                <a:lnTo>
                  <a:pt x="261092" y="167725"/>
                </a:lnTo>
                <a:lnTo>
                  <a:pt x="261198" y="167830"/>
                </a:lnTo>
                <a:lnTo>
                  <a:pt x="261250" y="167883"/>
                </a:lnTo>
                <a:lnTo>
                  <a:pt x="261303" y="167989"/>
                </a:lnTo>
                <a:lnTo>
                  <a:pt x="261356" y="167989"/>
                </a:lnTo>
                <a:lnTo>
                  <a:pt x="261356" y="167883"/>
                </a:lnTo>
                <a:lnTo>
                  <a:pt x="261462" y="167936"/>
                </a:lnTo>
                <a:lnTo>
                  <a:pt x="261462" y="167989"/>
                </a:lnTo>
                <a:lnTo>
                  <a:pt x="261462" y="168147"/>
                </a:lnTo>
                <a:lnTo>
                  <a:pt x="261514" y="168253"/>
                </a:lnTo>
                <a:lnTo>
                  <a:pt x="261567" y="168253"/>
                </a:lnTo>
                <a:lnTo>
                  <a:pt x="261673" y="168200"/>
                </a:lnTo>
                <a:lnTo>
                  <a:pt x="261779" y="168094"/>
                </a:lnTo>
                <a:lnTo>
                  <a:pt x="261831" y="167936"/>
                </a:lnTo>
                <a:lnTo>
                  <a:pt x="261884" y="167672"/>
                </a:lnTo>
                <a:lnTo>
                  <a:pt x="261937" y="167672"/>
                </a:lnTo>
                <a:lnTo>
                  <a:pt x="262095" y="167725"/>
                </a:lnTo>
                <a:lnTo>
                  <a:pt x="262201" y="167619"/>
                </a:lnTo>
                <a:lnTo>
                  <a:pt x="262201" y="167513"/>
                </a:lnTo>
                <a:lnTo>
                  <a:pt x="262148" y="167302"/>
                </a:lnTo>
                <a:lnTo>
                  <a:pt x="261937" y="166880"/>
                </a:lnTo>
                <a:lnTo>
                  <a:pt x="261884" y="166563"/>
                </a:lnTo>
                <a:lnTo>
                  <a:pt x="261831" y="166404"/>
                </a:lnTo>
                <a:lnTo>
                  <a:pt x="261726" y="166299"/>
                </a:lnTo>
                <a:lnTo>
                  <a:pt x="261567" y="166193"/>
                </a:lnTo>
                <a:lnTo>
                  <a:pt x="261462" y="166193"/>
                </a:lnTo>
                <a:lnTo>
                  <a:pt x="261409" y="166351"/>
                </a:lnTo>
                <a:lnTo>
                  <a:pt x="261303" y="166404"/>
                </a:lnTo>
                <a:lnTo>
                  <a:pt x="261198" y="166351"/>
                </a:lnTo>
                <a:lnTo>
                  <a:pt x="261039" y="166193"/>
                </a:lnTo>
                <a:lnTo>
                  <a:pt x="260986" y="166087"/>
                </a:lnTo>
                <a:lnTo>
                  <a:pt x="260934" y="165982"/>
                </a:lnTo>
                <a:lnTo>
                  <a:pt x="260828" y="165665"/>
                </a:lnTo>
                <a:lnTo>
                  <a:pt x="260775" y="165559"/>
                </a:lnTo>
                <a:lnTo>
                  <a:pt x="260670" y="165401"/>
                </a:lnTo>
                <a:lnTo>
                  <a:pt x="260300" y="165190"/>
                </a:lnTo>
                <a:lnTo>
                  <a:pt x="260194" y="165137"/>
                </a:lnTo>
                <a:close/>
                <a:moveTo>
                  <a:pt x="125265" y="169045"/>
                </a:moveTo>
                <a:lnTo>
                  <a:pt x="125265" y="169098"/>
                </a:lnTo>
                <a:lnTo>
                  <a:pt x="125476" y="169098"/>
                </a:lnTo>
                <a:lnTo>
                  <a:pt x="125529" y="169150"/>
                </a:lnTo>
                <a:lnTo>
                  <a:pt x="125529" y="169098"/>
                </a:lnTo>
                <a:lnTo>
                  <a:pt x="125423" y="169045"/>
                </a:lnTo>
                <a:close/>
                <a:moveTo>
                  <a:pt x="124948" y="169098"/>
                </a:moveTo>
                <a:lnTo>
                  <a:pt x="124843" y="169203"/>
                </a:lnTo>
                <a:lnTo>
                  <a:pt x="125107" y="169203"/>
                </a:lnTo>
                <a:lnTo>
                  <a:pt x="125107" y="169150"/>
                </a:lnTo>
                <a:lnTo>
                  <a:pt x="125001" y="169150"/>
                </a:lnTo>
                <a:lnTo>
                  <a:pt x="124948" y="169098"/>
                </a:lnTo>
                <a:close/>
                <a:moveTo>
                  <a:pt x="145016" y="168781"/>
                </a:moveTo>
                <a:lnTo>
                  <a:pt x="145016" y="168886"/>
                </a:lnTo>
                <a:lnTo>
                  <a:pt x="145016" y="168939"/>
                </a:lnTo>
                <a:lnTo>
                  <a:pt x="144857" y="168939"/>
                </a:lnTo>
                <a:lnTo>
                  <a:pt x="144857" y="168992"/>
                </a:lnTo>
                <a:lnTo>
                  <a:pt x="144910" y="169045"/>
                </a:lnTo>
                <a:lnTo>
                  <a:pt x="145016" y="169098"/>
                </a:lnTo>
                <a:lnTo>
                  <a:pt x="145069" y="169150"/>
                </a:lnTo>
                <a:lnTo>
                  <a:pt x="145122" y="169203"/>
                </a:lnTo>
                <a:lnTo>
                  <a:pt x="145174" y="169203"/>
                </a:lnTo>
                <a:lnTo>
                  <a:pt x="145174" y="169150"/>
                </a:lnTo>
                <a:lnTo>
                  <a:pt x="145174" y="169098"/>
                </a:lnTo>
                <a:lnTo>
                  <a:pt x="145122" y="168939"/>
                </a:lnTo>
                <a:lnTo>
                  <a:pt x="145069" y="168834"/>
                </a:lnTo>
                <a:lnTo>
                  <a:pt x="145016" y="168781"/>
                </a:lnTo>
                <a:close/>
                <a:moveTo>
                  <a:pt x="251111" y="161229"/>
                </a:moveTo>
                <a:lnTo>
                  <a:pt x="251269" y="161334"/>
                </a:lnTo>
                <a:lnTo>
                  <a:pt x="251375" y="161440"/>
                </a:lnTo>
                <a:lnTo>
                  <a:pt x="251375" y="161546"/>
                </a:lnTo>
                <a:lnTo>
                  <a:pt x="251428" y="161599"/>
                </a:lnTo>
                <a:lnTo>
                  <a:pt x="251639" y="161651"/>
                </a:lnTo>
                <a:lnTo>
                  <a:pt x="251692" y="161757"/>
                </a:lnTo>
                <a:lnTo>
                  <a:pt x="251797" y="161915"/>
                </a:lnTo>
                <a:lnTo>
                  <a:pt x="251850" y="162021"/>
                </a:lnTo>
                <a:lnTo>
                  <a:pt x="251850" y="162074"/>
                </a:lnTo>
                <a:lnTo>
                  <a:pt x="251692" y="162074"/>
                </a:lnTo>
                <a:lnTo>
                  <a:pt x="251586" y="162021"/>
                </a:lnTo>
                <a:lnTo>
                  <a:pt x="251481" y="161968"/>
                </a:lnTo>
                <a:lnTo>
                  <a:pt x="251322" y="161704"/>
                </a:lnTo>
                <a:lnTo>
                  <a:pt x="251269" y="161704"/>
                </a:lnTo>
                <a:lnTo>
                  <a:pt x="250900" y="161651"/>
                </a:lnTo>
                <a:lnTo>
                  <a:pt x="250794" y="161757"/>
                </a:lnTo>
                <a:lnTo>
                  <a:pt x="250847" y="161968"/>
                </a:lnTo>
                <a:lnTo>
                  <a:pt x="250900" y="162127"/>
                </a:lnTo>
                <a:lnTo>
                  <a:pt x="251005" y="162179"/>
                </a:lnTo>
                <a:lnTo>
                  <a:pt x="251058" y="162338"/>
                </a:lnTo>
                <a:lnTo>
                  <a:pt x="251058" y="162496"/>
                </a:lnTo>
                <a:lnTo>
                  <a:pt x="251005" y="162549"/>
                </a:lnTo>
                <a:lnTo>
                  <a:pt x="250900" y="162496"/>
                </a:lnTo>
                <a:lnTo>
                  <a:pt x="250741" y="162232"/>
                </a:lnTo>
                <a:lnTo>
                  <a:pt x="250688" y="162021"/>
                </a:lnTo>
                <a:lnTo>
                  <a:pt x="250636" y="161968"/>
                </a:lnTo>
                <a:lnTo>
                  <a:pt x="250477" y="161968"/>
                </a:lnTo>
                <a:lnTo>
                  <a:pt x="250424" y="162021"/>
                </a:lnTo>
                <a:lnTo>
                  <a:pt x="250424" y="162074"/>
                </a:lnTo>
                <a:lnTo>
                  <a:pt x="250424" y="162127"/>
                </a:lnTo>
                <a:lnTo>
                  <a:pt x="250424" y="162338"/>
                </a:lnTo>
                <a:lnTo>
                  <a:pt x="250530" y="162708"/>
                </a:lnTo>
                <a:lnTo>
                  <a:pt x="250530" y="162866"/>
                </a:lnTo>
                <a:lnTo>
                  <a:pt x="250477" y="163024"/>
                </a:lnTo>
                <a:lnTo>
                  <a:pt x="250477" y="163077"/>
                </a:lnTo>
                <a:lnTo>
                  <a:pt x="250477" y="163130"/>
                </a:lnTo>
                <a:lnTo>
                  <a:pt x="250583" y="163394"/>
                </a:lnTo>
                <a:lnTo>
                  <a:pt x="250636" y="163500"/>
                </a:lnTo>
                <a:lnTo>
                  <a:pt x="250741" y="163605"/>
                </a:lnTo>
                <a:lnTo>
                  <a:pt x="250900" y="163605"/>
                </a:lnTo>
                <a:lnTo>
                  <a:pt x="251111" y="163553"/>
                </a:lnTo>
                <a:lnTo>
                  <a:pt x="251111" y="163500"/>
                </a:lnTo>
                <a:lnTo>
                  <a:pt x="251111" y="163341"/>
                </a:lnTo>
                <a:lnTo>
                  <a:pt x="251269" y="163341"/>
                </a:lnTo>
                <a:lnTo>
                  <a:pt x="251269" y="163447"/>
                </a:lnTo>
                <a:lnTo>
                  <a:pt x="251217" y="163658"/>
                </a:lnTo>
                <a:lnTo>
                  <a:pt x="251005" y="163658"/>
                </a:lnTo>
                <a:lnTo>
                  <a:pt x="250900" y="163764"/>
                </a:lnTo>
                <a:lnTo>
                  <a:pt x="251005" y="163922"/>
                </a:lnTo>
                <a:lnTo>
                  <a:pt x="251111" y="163975"/>
                </a:lnTo>
                <a:lnTo>
                  <a:pt x="251217" y="163975"/>
                </a:lnTo>
                <a:lnTo>
                  <a:pt x="251586" y="163764"/>
                </a:lnTo>
                <a:lnTo>
                  <a:pt x="251745" y="163764"/>
                </a:lnTo>
                <a:lnTo>
                  <a:pt x="251850" y="163817"/>
                </a:lnTo>
                <a:lnTo>
                  <a:pt x="251850" y="163922"/>
                </a:lnTo>
                <a:lnTo>
                  <a:pt x="251797" y="163922"/>
                </a:lnTo>
                <a:lnTo>
                  <a:pt x="251639" y="163869"/>
                </a:lnTo>
                <a:lnTo>
                  <a:pt x="251533" y="163869"/>
                </a:lnTo>
                <a:lnTo>
                  <a:pt x="251428" y="164028"/>
                </a:lnTo>
                <a:lnTo>
                  <a:pt x="251217" y="164081"/>
                </a:lnTo>
                <a:lnTo>
                  <a:pt x="250847" y="164450"/>
                </a:lnTo>
                <a:lnTo>
                  <a:pt x="250847" y="164503"/>
                </a:lnTo>
                <a:lnTo>
                  <a:pt x="251005" y="164450"/>
                </a:lnTo>
                <a:lnTo>
                  <a:pt x="251164" y="164450"/>
                </a:lnTo>
                <a:lnTo>
                  <a:pt x="251269" y="164503"/>
                </a:lnTo>
                <a:lnTo>
                  <a:pt x="251428" y="164609"/>
                </a:lnTo>
                <a:lnTo>
                  <a:pt x="251481" y="164767"/>
                </a:lnTo>
                <a:lnTo>
                  <a:pt x="251586" y="164873"/>
                </a:lnTo>
                <a:lnTo>
                  <a:pt x="251639" y="165031"/>
                </a:lnTo>
                <a:lnTo>
                  <a:pt x="251745" y="165031"/>
                </a:lnTo>
                <a:lnTo>
                  <a:pt x="251797" y="164873"/>
                </a:lnTo>
                <a:lnTo>
                  <a:pt x="251850" y="164662"/>
                </a:lnTo>
                <a:lnTo>
                  <a:pt x="251903" y="164556"/>
                </a:lnTo>
                <a:lnTo>
                  <a:pt x="252009" y="164609"/>
                </a:lnTo>
                <a:lnTo>
                  <a:pt x="252009" y="164662"/>
                </a:lnTo>
                <a:lnTo>
                  <a:pt x="252009" y="164873"/>
                </a:lnTo>
                <a:lnTo>
                  <a:pt x="252062" y="164873"/>
                </a:lnTo>
                <a:lnTo>
                  <a:pt x="252062" y="164978"/>
                </a:lnTo>
                <a:lnTo>
                  <a:pt x="252062" y="165084"/>
                </a:lnTo>
                <a:lnTo>
                  <a:pt x="252062" y="165137"/>
                </a:lnTo>
                <a:lnTo>
                  <a:pt x="252009" y="165084"/>
                </a:lnTo>
                <a:lnTo>
                  <a:pt x="251956" y="165084"/>
                </a:lnTo>
                <a:lnTo>
                  <a:pt x="251903" y="165137"/>
                </a:lnTo>
                <a:lnTo>
                  <a:pt x="251903" y="165295"/>
                </a:lnTo>
                <a:lnTo>
                  <a:pt x="251903" y="165401"/>
                </a:lnTo>
                <a:lnTo>
                  <a:pt x="252009" y="165559"/>
                </a:lnTo>
                <a:lnTo>
                  <a:pt x="252062" y="165665"/>
                </a:lnTo>
                <a:lnTo>
                  <a:pt x="252062" y="165718"/>
                </a:lnTo>
                <a:lnTo>
                  <a:pt x="252062" y="165982"/>
                </a:lnTo>
                <a:lnTo>
                  <a:pt x="252062" y="166035"/>
                </a:lnTo>
                <a:lnTo>
                  <a:pt x="252009" y="166087"/>
                </a:lnTo>
                <a:lnTo>
                  <a:pt x="251956" y="166035"/>
                </a:lnTo>
                <a:lnTo>
                  <a:pt x="251903" y="165929"/>
                </a:lnTo>
                <a:lnTo>
                  <a:pt x="251850" y="165823"/>
                </a:lnTo>
                <a:lnTo>
                  <a:pt x="251745" y="165771"/>
                </a:lnTo>
                <a:lnTo>
                  <a:pt x="251692" y="165771"/>
                </a:lnTo>
                <a:lnTo>
                  <a:pt x="251692" y="165876"/>
                </a:lnTo>
                <a:lnTo>
                  <a:pt x="251533" y="166035"/>
                </a:lnTo>
                <a:lnTo>
                  <a:pt x="251481" y="166087"/>
                </a:lnTo>
                <a:lnTo>
                  <a:pt x="251481" y="165718"/>
                </a:lnTo>
                <a:lnTo>
                  <a:pt x="251481" y="165612"/>
                </a:lnTo>
                <a:lnTo>
                  <a:pt x="251428" y="165506"/>
                </a:lnTo>
                <a:lnTo>
                  <a:pt x="251428" y="165559"/>
                </a:lnTo>
                <a:lnTo>
                  <a:pt x="251428" y="165612"/>
                </a:lnTo>
                <a:lnTo>
                  <a:pt x="251428" y="165665"/>
                </a:lnTo>
                <a:lnTo>
                  <a:pt x="251322" y="165718"/>
                </a:lnTo>
                <a:lnTo>
                  <a:pt x="251269" y="165718"/>
                </a:lnTo>
                <a:lnTo>
                  <a:pt x="251217" y="165665"/>
                </a:lnTo>
                <a:lnTo>
                  <a:pt x="251164" y="165612"/>
                </a:lnTo>
                <a:lnTo>
                  <a:pt x="251111" y="165665"/>
                </a:lnTo>
                <a:lnTo>
                  <a:pt x="251111" y="165771"/>
                </a:lnTo>
                <a:lnTo>
                  <a:pt x="251164" y="166087"/>
                </a:lnTo>
                <a:lnTo>
                  <a:pt x="250952" y="166087"/>
                </a:lnTo>
                <a:lnTo>
                  <a:pt x="250952" y="166246"/>
                </a:lnTo>
                <a:lnTo>
                  <a:pt x="251005" y="166351"/>
                </a:lnTo>
                <a:lnTo>
                  <a:pt x="251005" y="166510"/>
                </a:lnTo>
                <a:lnTo>
                  <a:pt x="250847" y="166615"/>
                </a:lnTo>
                <a:lnTo>
                  <a:pt x="250847" y="166668"/>
                </a:lnTo>
                <a:lnTo>
                  <a:pt x="251111" y="166668"/>
                </a:lnTo>
                <a:lnTo>
                  <a:pt x="251164" y="166563"/>
                </a:lnTo>
                <a:lnTo>
                  <a:pt x="251375" y="166457"/>
                </a:lnTo>
                <a:lnTo>
                  <a:pt x="251428" y="166404"/>
                </a:lnTo>
                <a:lnTo>
                  <a:pt x="251481" y="166563"/>
                </a:lnTo>
                <a:lnTo>
                  <a:pt x="251481" y="166615"/>
                </a:lnTo>
                <a:lnTo>
                  <a:pt x="251375" y="166615"/>
                </a:lnTo>
                <a:lnTo>
                  <a:pt x="251269" y="166668"/>
                </a:lnTo>
                <a:lnTo>
                  <a:pt x="251269" y="166721"/>
                </a:lnTo>
                <a:lnTo>
                  <a:pt x="251269" y="166774"/>
                </a:lnTo>
                <a:lnTo>
                  <a:pt x="251269" y="166932"/>
                </a:lnTo>
                <a:lnTo>
                  <a:pt x="251269" y="166985"/>
                </a:lnTo>
                <a:lnTo>
                  <a:pt x="251111" y="166880"/>
                </a:lnTo>
                <a:lnTo>
                  <a:pt x="251058" y="166985"/>
                </a:lnTo>
                <a:lnTo>
                  <a:pt x="251058" y="167091"/>
                </a:lnTo>
                <a:lnTo>
                  <a:pt x="251111" y="167249"/>
                </a:lnTo>
                <a:lnTo>
                  <a:pt x="251111" y="167355"/>
                </a:lnTo>
                <a:lnTo>
                  <a:pt x="251111" y="167672"/>
                </a:lnTo>
                <a:lnTo>
                  <a:pt x="251111" y="167777"/>
                </a:lnTo>
                <a:lnTo>
                  <a:pt x="251111" y="167830"/>
                </a:lnTo>
                <a:lnTo>
                  <a:pt x="251269" y="167830"/>
                </a:lnTo>
                <a:lnTo>
                  <a:pt x="251322" y="167883"/>
                </a:lnTo>
                <a:lnTo>
                  <a:pt x="251322" y="167989"/>
                </a:lnTo>
                <a:lnTo>
                  <a:pt x="251217" y="168147"/>
                </a:lnTo>
                <a:lnTo>
                  <a:pt x="251164" y="168253"/>
                </a:lnTo>
                <a:lnTo>
                  <a:pt x="251164" y="168305"/>
                </a:lnTo>
                <a:lnTo>
                  <a:pt x="251217" y="168358"/>
                </a:lnTo>
                <a:lnTo>
                  <a:pt x="251269" y="168464"/>
                </a:lnTo>
                <a:lnTo>
                  <a:pt x="251269" y="168517"/>
                </a:lnTo>
                <a:lnTo>
                  <a:pt x="251217" y="168622"/>
                </a:lnTo>
                <a:lnTo>
                  <a:pt x="251269" y="168728"/>
                </a:lnTo>
                <a:lnTo>
                  <a:pt x="251481" y="168834"/>
                </a:lnTo>
                <a:lnTo>
                  <a:pt x="251586" y="168886"/>
                </a:lnTo>
                <a:lnTo>
                  <a:pt x="251533" y="169045"/>
                </a:lnTo>
                <a:lnTo>
                  <a:pt x="251586" y="169150"/>
                </a:lnTo>
                <a:lnTo>
                  <a:pt x="251639" y="169256"/>
                </a:lnTo>
                <a:lnTo>
                  <a:pt x="251745" y="169256"/>
                </a:lnTo>
                <a:lnTo>
                  <a:pt x="251797" y="169150"/>
                </a:lnTo>
                <a:lnTo>
                  <a:pt x="251797" y="168992"/>
                </a:lnTo>
                <a:lnTo>
                  <a:pt x="251745" y="168834"/>
                </a:lnTo>
                <a:lnTo>
                  <a:pt x="251692" y="168728"/>
                </a:lnTo>
                <a:lnTo>
                  <a:pt x="251797" y="168622"/>
                </a:lnTo>
                <a:lnTo>
                  <a:pt x="251797" y="168569"/>
                </a:lnTo>
                <a:lnTo>
                  <a:pt x="251797" y="168464"/>
                </a:lnTo>
                <a:lnTo>
                  <a:pt x="251745" y="168358"/>
                </a:lnTo>
                <a:lnTo>
                  <a:pt x="251745" y="168200"/>
                </a:lnTo>
                <a:lnTo>
                  <a:pt x="251745" y="168094"/>
                </a:lnTo>
                <a:lnTo>
                  <a:pt x="251639" y="167989"/>
                </a:lnTo>
                <a:lnTo>
                  <a:pt x="251586" y="167989"/>
                </a:lnTo>
                <a:lnTo>
                  <a:pt x="251586" y="168041"/>
                </a:lnTo>
                <a:lnTo>
                  <a:pt x="251533" y="168041"/>
                </a:lnTo>
                <a:lnTo>
                  <a:pt x="251375" y="167725"/>
                </a:lnTo>
                <a:lnTo>
                  <a:pt x="251745" y="167725"/>
                </a:lnTo>
                <a:lnTo>
                  <a:pt x="251850" y="167619"/>
                </a:lnTo>
                <a:lnTo>
                  <a:pt x="251797" y="167196"/>
                </a:lnTo>
                <a:lnTo>
                  <a:pt x="251956" y="167144"/>
                </a:lnTo>
                <a:lnTo>
                  <a:pt x="251956" y="166932"/>
                </a:lnTo>
                <a:lnTo>
                  <a:pt x="251956" y="166668"/>
                </a:lnTo>
                <a:lnTo>
                  <a:pt x="252062" y="166563"/>
                </a:lnTo>
                <a:lnTo>
                  <a:pt x="252114" y="166668"/>
                </a:lnTo>
                <a:lnTo>
                  <a:pt x="252114" y="166932"/>
                </a:lnTo>
                <a:lnTo>
                  <a:pt x="252114" y="167249"/>
                </a:lnTo>
                <a:lnTo>
                  <a:pt x="252114" y="167408"/>
                </a:lnTo>
                <a:lnTo>
                  <a:pt x="252167" y="167513"/>
                </a:lnTo>
                <a:lnTo>
                  <a:pt x="252220" y="167566"/>
                </a:lnTo>
                <a:lnTo>
                  <a:pt x="252220" y="167672"/>
                </a:lnTo>
                <a:lnTo>
                  <a:pt x="252114" y="168200"/>
                </a:lnTo>
                <a:lnTo>
                  <a:pt x="252114" y="168305"/>
                </a:lnTo>
                <a:lnTo>
                  <a:pt x="252167" y="168358"/>
                </a:lnTo>
                <a:lnTo>
                  <a:pt x="252326" y="168517"/>
                </a:lnTo>
                <a:lnTo>
                  <a:pt x="252537" y="168517"/>
                </a:lnTo>
                <a:lnTo>
                  <a:pt x="252590" y="168411"/>
                </a:lnTo>
                <a:lnTo>
                  <a:pt x="252590" y="168253"/>
                </a:lnTo>
                <a:lnTo>
                  <a:pt x="252590" y="168147"/>
                </a:lnTo>
                <a:lnTo>
                  <a:pt x="252590" y="168094"/>
                </a:lnTo>
                <a:lnTo>
                  <a:pt x="252642" y="167989"/>
                </a:lnTo>
                <a:lnTo>
                  <a:pt x="252642" y="167936"/>
                </a:lnTo>
                <a:lnTo>
                  <a:pt x="252642" y="167883"/>
                </a:lnTo>
                <a:lnTo>
                  <a:pt x="252642" y="167777"/>
                </a:lnTo>
                <a:lnTo>
                  <a:pt x="252590" y="167566"/>
                </a:lnTo>
                <a:lnTo>
                  <a:pt x="252590" y="167460"/>
                </a:lnTo>
                <a:lnTo>
                  <a:pt x="252801" y="167408"/>
                </a:lnTo>
                <a:lnTo>
                  <a:pt x="252801" y="167302"/>
                </a:lnTo>
                <a:lnTo>
                  <a:pt x="252748" y="166932"/>
                </a:lnTo>
                <a:lnTo>
                  <a:pt x="252642" y="166880"/>
                </a:lnTo>
                <a:lnTo>
                  <a:pt x="252378" y="166880"/>
                </a:lnTo>
                <a:lnTo>
                  <a:pt x="252378" y="166827"/>
                </a:lnTo>
                <a:lnTo>
                  <a:pt x="252378" y="166721"/>
                </a:lnTo>
                <a:lnTo>
                  <a:pt x="252378" y="166563"/>
                </a:lnTo>
                <a:lnTo>
                  <a:pt x="252378" y="166404"/>
                </a:lnTo>
                <a:lnTo>
                  <a:pt x="252378" y="166299"/>
                </a:lnTo>
                <a:lnTo>
                  <a:pt x="252378" y="166193"/>
                </a:lnTo>
                <a:lnTo>
                  <a:pt x="252484" y="166193"/>
                </a:lnTo>
                <a:lnTo>
                  <a:pt x="252590" y="166351"/>
                </a:lnTo>
                <a:lnTo>
                  <a:pt x="252748" y="166615"/>
                </a:lnTo>
                <a:lnTo>
                  <a:pt x="252906" y="166827"/>
                </a:lnTo>
                <a:lnTo>
                  <a:pt x="253012" y="166721"/>
                </a:lnTo>
                <a:lnTo>
                  <a:pt x="253012" y="166615"/>
                </a:lnTo>
                <a:lnTo>
                  <a:pt x="253065" y="166404"/>
                </a:lnTo>
                <a:lnTo>
                  <a:pt x="253065" y="166351"/>
                </a:lnTo>
                <a:lnTo>
                  <a:pt x="252959" y="166246"/>
                </a:lnTo>
                <a:lnTo>
                  <a:pt x="252695" y="166140"/>
                </a:lnTo>
                <a:lnTo>
                  <a:pt x="252695" y="165982"/>
                </a:lnTo>
                <a:lnTo>
                  <a:pt x="252854" y="165982"/>
                </a:lnTo>
                <a:lnTo>
                  <a:pt x="252854" y="165876"/>
                </a:lnTo>
                <a:lnTo>
                  <a:pt x="252801" y="165771"/>
                </a:lnTo>
                <a:lnTo>
                  <a:pt x="252748" y="165718"/>
                </a:lnTo>
                <a:lnTo>
                  <a:pt x="252695" y="165665"/>
                </a:lnTo>
                <a:lnTo>
                  <a:pt x="252801" y="165612"/>
                </a:lnTo>
                <a:lnTo>
                  <a:pt x="253012" y="165665"/>
                </a:lnTo>
                <a:lnTo>
                  <a:pt x="253065" y="165612"/>
                </a:lnTo>
                <a:lnTo>
                  <a:pt x="252959" y="165506"/>
                </a:lnTo>
                <a:lnTo>
                  <a:pt x="252959" y="165454"/>
                </a:lnTo>
                <a:lnTo>
                  <a:pt x="252959" y="165348"/>
                </a:lnTo>
                <a:lnTo>
                  <a:pt x="252959" y="165295"/>
                </a:lnTo>
                <a:lnTo>
                  <a:pt x="252906" y="165190"/>
                </a:lnTo>
                <a:lnTo>
                  <a:pt x="252801" y="165190"/>
                </a:lnTo>
                <a:lnTo>
                  <a:pt x="252854" y="165031"/>
                </a:lnTo>
                <a:lnTo>
                  <a:pt x="252801" y="164978"/>
                </a:lnTo>
                <a:lnTo>
                  <a:pt x="252801" y="164873"/>
                </a:lnTo>
                <a:lnTo>
                  <a:pt x="252854" y="164820"/>
                </a:lnTo>
                <a:lnTo>
                  <a:pt x="252959" y="164820"/>
                </a:lnTo>
                <a:lnTo>
                  <a:pt x="253012" y="164767"/>
                </a:lnTo>
                <a:lnTo>
                  <a:pt x="253012" y="164714"/>
                </a:lnTo>
                <a:lnTo>
                  <a:pt x="253118" y="164450"/>
                </a:lnTo>
                <a:lnTo>
                  <a:pt x="253065" y="164292"/>
                </a:lnTo>
                <a:lnTo>
                  <a:pt x="252801" y="164133"/>
                </a:lnTo>
                <a:lnTo>
                  <a:pt x="252748" y="164028"/>
                </a:lnTo>
                <a:lnTo>
                  <a:pt x="252854" y="164028"/>
                </a:lnTo>
                <a:lnTo>
                  <a:pt x="253223" y="164133"/>
                </a:lnTo>
                <a:lnTo>
                  <a:pt x="253329" y="164186"/>
                </a:lnTo>
                <a:lnTo>
                  <a:pt x="253382" y="164292"/>
                </a:lnTo>
                <a:lnTo>
                  <a:pt x="253435" y="164503"/>
                </a:lnTo>
                <a:lnTo>
                  <a:pt x="253435" y="164556"/>
                </a:lnTo>
                <a:lnTo>
                  <a:pt x="253593" y="164556"/>
                </a:lnTo>
                <a:lnTo>
                  <a:pt x="253593" y="164503"/>
                </a:lnTo>
                <a:lnTo>
                  <a:pt x="253751" y="164239"/>
                </a:lnTo>
                <a:lnTo>
                  <a:pt x="253751" y="164186"/>
                </a:lnTo>
                <a:lnTo>
                  <a:pt x="253646" y="163922"/>
                </a:lnTo>
                <a:lnTo>
                  <a:pt x="253646" y="163711"/>
                </a:lnTo>
                <a:lnTo>
                  <a:pt x="253646" y="163605"/>
                </a:lnTo>
                <a:lnTo>
                  <a:pt x="253487" y="163553"/>
                </a:lnTo>
                <a:lnTo>
                  <a:pt x="253435" y="163500"/>
                </a:lnTo>
                <a:lnTo>
                  <a:pt x="253382" y="163447"/>
                </a:lnTo>
                <a:lnTo>
                  <a:pt x="253382" y="163341"/>
                </a:lnTo>
                <a:lnTo>
                  <a:pt x="253646" y="162708"/>
                </a:lnTo>
                <a:lnTo>
                  <a:pt x="253593" y="162655"/>
                </a:lnTo>
                <a:lnTo>
                  <a:pt x="253487" y="162602"/>
                </a:lnTo>
                <a:lnTo>
                  <a:pt x="253435" y="162602"/>
                </a:lnTo>
                <a:lnTo>
                  <a:pt x="253276" y="162655"/>
                </a:lnTo>
                <a:lnTo>
                  <a:pt x="253223" y="162655"/>
                </a:lnTo>
                <a:lnTo>
                  <a:pt x="253118" y="162496"/>
                </a:lnTo>
                <a:lnTo>
                  <a:pt x="252959" y="162391"/>
                </a:lnTo>
                <a:lnTo>
                  <a:pt x="252959" y="162444"/>
                </a:lnTo>
                <a:lnTo>
                  <a:pt x="252959" y="162655"/>
                </a:lnTo>
                <a:lnTo>
                  <a:pt x="252959" y="162866"/>
                </a:lnTo>
                <a:lnTo>
                  <a:pt x="252959" y="162919"/>
                </a:lnTo>
                <a:lnTo>
                  <a:pt x="252959" y="163077"/>
                </a:lnTo>
                <a:lnTo>
                  <a:pt x="252906" y="163183"/>
                </a:lnTo>
                <a:lnTo>
                  <a:pt x="252906" y="163236"/>
                </a:lnTo>
                <a:lnTo>
                  <a:pt x="252854" y="163236"/>
                </a:lnTo>
                <a:lnTo>
                  <a:pt x="252801" y="163288"/>
                </a:lnTo>
                <a:lnTo>
                  <a:pt x="252801" y="163341"/>
                </a:lnTo>
                <a:lnTo>
                  <a:pt x="252801" y="163394"/>
                </a:lnTo>
                <a:lnTo>
                  <a:pt x="252801" y="163447"/>
                </a:lnTo>
                <a:lnTo>
                  <a:pt x="252695" y="163658"/>
                </a:lnTo>
                <a:lnTo>
                  <a:pt x="252537" y="163764"/>
                </a:lnTo>
                <a:lnTo>
                  <a:pt x="252431" y="163764"/>
                </a:lnTo>
                <a:lnTo>
                  <a:pt x="252273" y="163658"/>
                </a:lnTo>
                <a:lnTo>
                  <a:pt x="252431" y="163658"/>
                </a:lnTo>
                <a:lnTo>
                  <a:pt x="252537" y="163605"/>
                </a:lnTo>
                <a:lnTo>
                  <a:pt x="252590" y="163500"/>
                </a:lnTo>
                <a:lnTo>
                  <a:pt x="252590" y="163447"/>
                </a:lnTo>
                <a:lnTo>
                  <a:pt x="252642" y="163236"/>
                </a:lnTo>
                <a:lnTo>
                  <a:pt x="252695" y="163183"/>
                </a:lnTo>
                <a:lnTo>
                  <a:pt x="252695" y="162972"/>
                </a:lnTo>
                <a:lnTo>
                  <a:pt x="252748" y="162919"/>
                </a:lnTo>
                <a:lnTo>
                  <a:pt x="252748" y="162866"/>
                </a:lnTo>
                <a:lnTo>
                  <a:pt x="252748" y="162760"/>
                </a:lnTo>
                <a:lnTo>
                  <a:pt x="252695" y="162760"/>
                </a:lnTo>
                <a:lnTo>
                  <a:pt x="252695" y="162708"/>
                </a:lnTo>
                <a:lnTo>
                  <a:pt x="252642" y="162444"/>
                </a:lnTo>
                <a:lnTo>
                  <a:pt x="252642" y="162391"/>
                </a:lnTo>
                <a:lnTo>
                  <a:pt x="252590" y="162444"/>
                </a:lnTo>
                <a:lnTo>
                  <a:pt x="252590" y="162496"/>
                </a:lnTo>
                <a:lnTo>
                  <a:pt x="252537" y="162179"/>
                </a:lnTo>
                <a:lnTo>
                  <a:pt x="252431" y="162179"/>
                </a:lnTo>
                <a:lnTo>
                  <a:pt x="252431" y="161915"/>
                </a:lnTo>
                <a:lnTo>
                  <a:pt x="252273" y="161757"/>
                </a:lnTo>
                <a:lnTo>
                  <a:pt x="252114" y="161651"/>
                </a:lnTo>
                <a:lnTo>
                  <a:pt x="251956" y="161599"/>
                </a:lnTo>
                <a:lnTo>
                  <a:pt x="251850" y="161493"/>
                </a:lnTo>
                <a:lnTo>
                  <a:pt x="251745" y="161440"/>
                </a:lnTo>
                <a:lnTo>
                  <a:pt x="251533" y="161440"/>
                </a:lnTo>
                <a:lnTo>
                  <a:pt x="251217" y="161229"/>
                </a:lnTo>
                <a:close/>
                <a:moveTo>
                  <a:pt x="259455" y="166351"/>
                </a:moveTo>
                <a:lnTo>
                  <a:pt x="259402" y="166404"/>
                </a:lnTo>
                <a:lnTo>
                  <a:pt x="259402" y="166457"/>
                </a:lnTo>
                <a:lnTo>
                  <a:pt x="259402" y="166563"/>
                </a:lnTo>
                <a:lnTo>
                  <a:pt x="259402" y="166668"/>
                </a:lnTo>
                <a:lnTo>
                  <a:pt x="259349" y="166668"/>
                </a:lnTo>
                <a:lnTo>
                  <a:pt x="259244" y="166774"/>
                </a:lnTo>
                <a:lnTo>
                  <a:pt x="259138" y="167196"/>
                </a:lnTo>
                <a:lnTo>
                  <a:pt x="259085" y="167249"/>
                </a:lnTo>
                <a:lnTo>
                  <a:pt x="258716" y="167302"/>
                </a:lnTo>
                <a:lnTo>
                  <a:pt x="258610" y="167355"/>
                </a:lnTo>
                <a:lnTo>
                  <a:pt x="258716" y="167460"/>
                </a:lnTo>
                <a:lnTo>
                  <a:pt x="258716" y="167619"/>
                </a:lnTo>
                <a:lnTo>
                  <a:pt x="258716" y="167777"/>
                </a:lnTo>
                <a:lnTo>
                  <a:pt x="258716" y="167989"/>
                </a:lnTo>
                <a:lnTo>
                  <a:pt x="258610" y="167989"/>
                </a:lnTo>
                <a:lnTo>
                  <a:pt x="258610" y="168094"/>
                </a:lnTo>
                <a:lnTo>
                  <a:pt x="258663" y="168305"/>
                </a:lnTo>
                <a:lnTo>
                  <a:pt x="258716" y="168411"/>
                </a:lnTo>
                <a:lnTo>
                  <a:pt x="258768" y="168464"/>
                </a:lnTo>
                <a:lnTo>
                  <a:pt x="258927" y="168781"/>
                </a:lnTo>
                <a:lnTo>
                  <a:pt x="259032" y="168886"/>
                </a:lnTo>
                <a:lnTo>
                  <a:pt x="259085" y="168834"/>
                </a:lnTo>
                <a:lnTo>
                  <a:pt x="259085" y="168728"/>
                </a:lnTo>
                <a:lnTo>
                  <a:pt x="259085" y="168622"/>
                </a:lnTo>
                <a:lnTo>
                  <a:pt x="259085" y="168569"/>
                </a:lnTo>
                <a:lnTo>
                  <a:pt x="259138" y="168569"/>
                </a:lnTo>
                <a:lnTo>
                  <a:pt x="259191" y="168622"/>
                </a:lnTo>
                <a:lnTo>
                  <a:pt x="259244" y="168675"/>
                </a:lnTo>
                <a:lnTo>
                  <a:pt x="259296" y="168675"/>
                </a:lnTo>
                <a:lnTo>
                  <a:pt x="259825" y="168728"/>
                </a:lnTo>
                <a:lnTo>
                  <a:pt x="259719" y="168992"/>
                </a:lnTo>
                <a:lnTo>
                  <a:pt x="259825" y="169045"/>
                </a:lnTo>
                <a:lnTo>
                  <a:pt x="260089" y="169045"/>
                </a:lnTo>
                <a:lnTo>
                  <a:pt x="260089" y="169150"/>
                </a:lnTo>
                <a:lnTo>
                  <a:pt x="260089" y="169203"/>
                </a:lnTo>
                <a:lnTo>
                  <a:pt x="260036" y="169256"/>
                </a:lnTo>
                <a:lnTo>
                  <a:pt x="259983" y="169256"/>
                </a:lnTo>
                <a:lnTo>
                  <a:pt x="259983" y="169309"/>
                </a:lnTo>
                <a:lnTo>
                  <a:pt x="259877" y="169573"/>
                </a:lnTo>
                <a:lnTo>
                  <a:pt x="259930" y="169626"/>
                </a:lnTo>
                <a:lnTo>
                  <a:pt x="260141" y="169678"/>
                </a:lnTo>
                <a:lnTo>
                  <a:pt x="260194" y="169784"/>
                </a:lnTo>
                <a:lnTo>
                  <a:pt x="260300" y="169943"/>
                </a:lnTo>
                <a:lnTo>
                  <a:pt x="260353" y="169995"/>
                </a:lnTo>
                <a:lnTo>
                  <a:pt x="260564" y="169995"/>
                </a:lnTo>
                <a:lnTo>
                  <a:pt x="260617" y="169943"/>
                </a:lnTo>
                <a:lnTo>
                  <a:pt x="260722" y="169837"/>
                </a:lnTo>
                <a:lnTo>
                  <a:pt x="260881" y="169837"/>
                </a:lnTo>
                <a:lnTo>
                  <a:pt x="260934" y="169784"/>
                </a:lnTo>
                <a:lnTo>
                  <a:pt x="260986" y="169573"/>
                </a:lnTo>
                <a:lnTo>
                  <a:pt x="260986" y="169520"/>
                </a:lnTo>
                <a:lnTo>
                  <a:pt x="261039" y="169573"/>
                </a:lnTo>
                <a:lnTo>
                  <a:pt x="261092" y="169784"/>
                </a:lnTo>
                <a:lnTo>
                  <a:pt x="261145" y="169837"/>
                </a:lnTo>
                <a:lnTo>
                  <a:pt x="261250" y="169890"/>
                </a:lnTo>
                <a:lnTo>
                  <a:pt x="261303" y="169731"/>
                </a:lnTo>
                <a:lnTo>
                  <a:pt x="261250" y="169520"/>
                </a:lnTo>
                <a:lnTo>
                  <a:pt x="261145" y="169362"/>
                </a:lnTo>
                <a:lnTo>
                  <a:pt x="261145" y="169309"/>
                </a:lnTo>
                <a:lnTo>
                  <a:pt x="261145" y="169203"/>
                </a:lnTo>
                <a:lnTo>
                  <a:pt x="261092" y="169098"/>
                </a:lnTo>
                <a:lnTo>
                  <a:pt x="261092" y="169045"/>
                </a:lnTo>
                <a:lnTo>
                  <a:pt x="261039" y="168992"/>
                </a:lnTo>
                <a:lnTo>
                  <a:pt x="261039" y="168939"/>
                </a:lnTo>
                <a:lnTo>
                  <a:pt x="261039" y="168834"/>
                </a:lnTo>
                <a:lnTo>
                  <a:pt x="260986" y="168675"/>
                </a:lnTo>
                <a:lnTo>
                  <a:pt x="260986" y="168569"/>
                </a:lnTo>
                <a:lnTo>
                  <a:pt x="261039" y="168569"/>
                </a:lnTo>
                <a:lnTo>
                  <a:pt x="261145" y="168675"/>
                </a:lnTo>
                <a:lnTo>
                  <a:pt x="261198" y="168675"/>
                </a:lnTo>
                <a:lnTo>
                  <a:pt x="261250" y="168622"/>
                </a:lnTo>
                <a:lnTo>
                  <a:pt x="261250" y="168569"/>
                </a:lnTo>
                <a:lnTo>
                  <a:pt x="261303" y="168517"/>
                </a:lnTo>
                <a:lnTo>
                  <a:pt x="261356" y="168569"/>
                </a:lnTo>
                <a:lnTo>
                  <a:pt x="261356" y="168517"/>
                </a:lnTo>
                <a:lnTo>
                  <a:pt x="261356" y="168464"/>
                </a:lnTo>
                <a:lnTo>
                  <a:pt x="261356" y="168411"/>
                </a:lnTo>
                <a:lnTo>
                  <a:pt x="261092" y="168094"/>
                </a:lnTo>
                <a:lnTo>
                  <a:pt x="260986" y="167989"/>
                </a:lnTo>
                <a:lnTo>
                  <a:pt x="260881" y="167830"/>
                </a:lnTo>
                <a:lnTo>
                  <a:pt x="260722" y="167725"/>
                </a:lnTo>
                <a:lnTo>
                  <a:pt x="260405" y="167725"/>
                </a:lnTo>
                <a:lnTo>
                  <a:pt x="260300" y="167619"/>
                </a:lnTo>
                <a:lnTo>
                  <a:pt x="260194" y="167513"/>
                </a:lnTo>
                <a:lnTo>
                  <a:pt x="260089" y="167460"/>
                </a:lnTo>
                <a:lnTo>
                  <a:pt x="259877" y="167672"/>
                </a:lnTo>
                <a:lnTo>
                  <a:pt x="259772" y="167725"/>
                </a:lnTo>
                <a:lnTo>
                  <a:pt x="259613" y="167725"/>
                </a:lnTo>
                <a:lnTo>
                  <a:pt x="259508" y="167619"/>
                </a:lnTo>
                <a:lnTo>
                  <a:pt x="259561" y="167566"/>
                </a:lnTo>
                <a:lnTo>
                  <a:pt x="259825" y="167460"/>
                </a:lnTo>
                <a:lnTo>
                  <a:pt x="259877" y="167408"/>
                </a:lnTo>
                <a:lnTo>
                  <a:pt x="259930" y="167302"/>
                </a:lnTo>
                <a:lnTo>
                  <a:pt x="259930" y="167196"/>
                </a:lnTo>
                <a:lnTo>
                  <a:pt x="259877" y="167091"/>
                </a:lnTo>
                <a:lnTo>
                  <a:pt x="259930" y="167091"/>
                </a:lnTo>
                <a:lnTo>
                  <a:pt x="260089" y="167038"/>
                </a:lnTo>
                <a:lnTo>
                  <a:pt x="260089" y="166880"/>
                </a:lnTo>
                <a:lnTo>
                  <a:pt x="260036" y="166774"/>
                </a:lnTo>
                <a:lnTo>
                  <a:pt x="260089" y="166668"/>
                </a:lnTo>
                <a:lnTo>
                  <a:pt x="260141" y="166615"/>
                </a:lnTo>
                <a:lnTo>
                  <a:pt x="260141" y="166510"/>
                </a:lnTo>
                <a:lnTo>
                  <a:pt x="260089" y="166457"/>
                </a:lnTo>
                <a:lnTo>
                  <a:pt x="260089" y="166351"/>
                </a:lnTo>
                <a:close/>
                <a:moveTo>
                  <a:pt x="255230" y="167936"/>
                </a:moveTo>
                <a:lnTo>
                  <a:pt x="255177" y="167989"/>
                </a:lnTo>
                <a:lnTo>
                  <a:pt x="255019" y="168041"/>
                </a:lnTo>
                <a:lnTo>
                  <a:pt x="254913" y="168147"/>
                </a:lnTo>
                <a:lnTo>
                  <a:pt x="254860" y="168200"/>
                </a:lnTo>
                <a:lnTo>
                  <a:pt x="254702" y="168200"/>
                </a:lnTo>
                <a:lnTo>
                  <a:pt x="254385" y="168094"/>
                </a:lnTo>
                <a:lnTo>
                  <a:pt x="254227" y="168094"/>
                </a:lnTo>
                <a:lnTo>
                  <a:pt x="254227" y="168253"/>
                </a:lnTo>
                <a:lnTo>
                  <a:pt x="254332" y="168358"/>
                </a:lnTo>
                <a:lnTo>
                  <a:pt x="254702" y="168358"/>
                </a:lnTo>
                <a:lnTo>
                  <a:pt x="254860" y="168411"/>
                </a:lnTo>
                <a:lnTo>
                  <a:pt x="254702" y="168517"/>
                </a:lnTo>
                <a:lnTo>
                  <a:pt x="254649" y="168675"/>
                </a:lnTo>
                <a:lnTo>
                  <a:pt x="254332" y="168675"/>
                </a:lnTo>
                <a:lnTo>
                  <a:pt x="253963" y="168728"/>
                </a:lnTo>
                <a:lnTo>
                  <a:pt x="253963" y="168781"/>
                </a:lnTo>
                <a:lnTo>
                  <a:pt x="253963" y="168886"/>
                </a:lnTo>
                <a:lnTo>
                  <a:pt x="253963" y="168939"/>
                </a:lnTo>
                <a:lnTo>
                  <a:pt x="253593" y="169467"/>
                </a:lnTo>
                <a:lnTo>
                  <a:pt x="253487" y="169784"/>
                </a:lnTo>
                <a:lnTo>
                  <a:pt x="253646" y="169995"/>
                </a:lnTo>
                <a:lnTo>
                  <a:pt x="253804" y="169995"/>
                </a:lnTo>
                <a:lnTo>
                  <a:pt x="253910" y="170101"/>
                </a:lnTo>
                <a:lnTo>
                  <a:pt x="253910" y="170048"/>
                </a:lnTo>
                <a:lnTo>
                  <a:pt x="254227" y="170048"/>
                </a:lnTo>
                <a:lnTo>
                  <a:pt x="254227" y="169995"/>
                </a:lnTo>
                <a:lnTo>
                  <a:pt x="254121" y="169890"/>
                </a:lnTo>
                <a:lnTo>
                  <a:pt x="254121" y="169784"/>
                </a:lnTo>
                <a:lnTo>
                  <a:pt x="254174" y="169678"/>
                </a:lnTo>
                <a:lnTo>
                  <a:pt x="254332" y="169678"/>
                </a:lnTo>
                <a:lnTo>
                  <a:pt x="254491" y="169520"/>
                </a:lnTo>
                <a:lnTo>
                  <a:pt x="254702" y="169414"/>
                </a:lnTo>
                <a:lnTo>
                  <a:pt x="254702" y="169362"/>
                </a:lnTo>
                <a:lnTo>
                  <a:pt x="254808" y="169203"/>
                </a:lnTo>
                <a:lnTo>
                  <a:pt x="254913" y="169150"/>
                </a:lnTo>
                <a:lnTo>
                  <a:pt x="255019" y="169256"/>
                </a:lnTo>
                <a:lnTo>
                  <a:pt x="255230" y="169045"/>
                </a:lnTo>
                <a:lnTo>
                  <a:pt x="255336" y="169098"/>
                </a:lnTo>
                <a:lnTo>
                  <a:pt x="255441" y="169203"/>
                </a:lnTo>
                <a:lnTo>
                  <a:pt x="255494" y="169309"/>
                </a:lnTo>
                <a:lnTo>
                  <a:pt x="255653" y="169309"/>
                </a:lnTo>
                <a:lnTo>
                  <a:pt x="255705" y="169203"/>
                </a:lnTo>
                <a:lnTo>
                  <a:pt x="255705" y="168834"/>
                </a:lnTo>
                <a:lnTo>
                  <a:pt x="255705" y="168728"/>
                </a:lnTo>
                <a:lnTo>
                  <a:pt x="255653" y="168622"/>
                </a:lnTo>
                <a:lnTo>
                  <a:pt x="255653" y="168517"/>
                </a:lnTo>
                <a:lnTo>
                  <a:pt x="255653" y="168411"/>
                </a:lnTo>
                <a:lnTo>
                  <a:pt x="255758" y="168147"/>
                </a:lnTo>
                <a:lnTo>
                  <a:pt x="255758" y="168041"/>
                </a:lnTo>
                <a:lnTo>
                  <a:pt x="255494" y="168041"/>
                </a:lnTo>
                <a:lnTo>
                  <a:pt x="255283" y="167936"/>
                </a:lnTo>
                <a:close/>
                <a:moveTo>
                  <a:pt x="125423" y="169731"/>
                </a:moveTo>
                <a:lnTo>
                  <a:pt x="125318" y="169943"/>
                </a:lnTo>
                <a:lnTo>
                  <a:pt x="125265" y="170048"/>
                </a:lnTo>
                <a:lnTo>
                  <a:pt x="125159" y="170101"/>
                </a:lnTo>
                <a:lnTo>
                  <a:pt x="125054" y="170101"/>
                </a:lnTo>
                <a:lnTo>
                  <a:pt x="124948" y="170207"/>
                </a:lnTo>
                <a:lnTo>
                  <a:pt x="124948" y="170207"/>
                </a:lnTo>
                <a:lnTo>
                  <a:pt x="125318" y="170101"/>
                </a:lnTo>
                <a:lnTo>
                  <a:pt x="125529" y="170101"/>
                </a:lnTo>
                <a:lnTo>
                  <a:pt x="125529" y="170048"/>
                </a:lnTo>
                <a:lnTo>
                  <a:pt x="125529" y="169943"/>
                </a:lnTo>
                <a:lnTo>
                  <a:pt x="125529" y="169890"/>
                </a:lnTo>
                <a:lnTo>
                  <a:pt x="125529" y="169731"/>
                </a:lnTo>
                <a:close/>
                <a:moveTo>
                  <a:pt x="253065" y="169731"/>
                </a:moveTo>
                <a:lnTo>
                  <a:pt x="253012" y="169784"/>
                </a:lnTo>
                <a:lnTo>
                  <a:pt x="252801" y="169943"/>
                </a:lnTo>
                <a:lnTo>
                  <a:pt x="252695" y="169995"/>
                </a:lnTo>
                <a:lnTo>
                  <a:pt x="252695" y="170154"/>
                </a:lnTo>
                <a:lnTo>
                  <a:pt x="252748" y="170312"/>
                </a:lnTo>
                <a:lnTo>
                  <a:pt x="252801" y="170418"/>
                </a:lnTo>
                <a:lnTo>
                  <a:pt x="253012" y="170576"/>
                </a:lnTo>
                <a:lnTo>
                  <a:pt x="253118" y="170418"/>
                </a:lnTo>
                <a:lnTo>
                  <a:pt x="253171" y="170101"/>
                </a:lnTo>
                <a:lnTo>
                  <a:pt x="253065" y="169731"/>
                </a:lnTo>
                <a:close/>
                <a:moveTo>
                  <a:pt x="250847" y="169943"/>
                </a:moveTo>
                <a:lnTo>
                  <a:pt x="250741" y="170048"/>
                </a:lnTo>
                <a:lnTo>
                  <a:pt x="250847" y="170207"/>
                </a:lnTo>
                <a:lnTo>
                  <a:pt x="251058" y="170312"/>
                </a:lnTo>
                <a:lnTo>
                  <a:pt x="251164" y="170365"/>
                </a:lnTo>
                <a:lnTo>
                  <a:pt x="250900" y="170523"/>
                </a:lnTo>
                <a:lnTo>
                  <a:pt x="250847" y="170576"/>
                </a:lnTo>
                <a:lnTo>
                  <a:pt x="250900" y="170735"/>
                </a:lnTo>
                <a:lnTo>
                  <a:pt x="251111" y="170735"/>
                </a:lnTo>
                <a:lnTo>
                  <a:pt x="251164" y="170840"/>
                </a:lnTo>
                <a:lnTo>
                  <a:pt x="251322" y="170629"/>
                </a:lnTo>
                <a:lnTo>
                  <a:pt x="251481" y="170365"/>
                </a:lnTo>
                <a:lnTo>
                  <a:pt x="251692" y="170207"/>
                </a:lnTo>
                <a:lnTo>
                  <a:pt x="251850" y="170154"/>
                </a:lnTo>
                <a:lnTo>
                  <a:pt x="251903" y="169995"/>
                </a:lnTo>
                <a:lnTo>
                  <a:pt x="251533" y="169995"/>
                </a:lnTo>
                <a:lnTo>
                  <a:pt x="251269" y="170101"/>
                </a:lnTo>
                <a:lnTo>
                  <a:pt x="251164" y="170101"/>
                </a:lnTo>
                <a:lnTo>
                  <a:pt x="251269" y="169943"/>
                </a:lnTo>
                <a:close/>
                <a:moveTo>
                  <a:pt x="134929" y="170154"/>
                </a:moveTo>
                <a:lnTo>
                  <a:pt x="134824" y="170207"/>
                </a:lnTo>
                <a:lnTo>
                  <a:pt x="134560" y="170365"/>
                </a:lnTo>
                <a:lnTo>
                  <a:pt x="134560" y="170471"/>
                </a:lnTo>
                <a:lnTo>
                  <a:pt x="134507" y="170629"/>
                </a:lnTo>
                <a:lnTo>
                  <a:pt x="134507" y="170787"/>
                </a:lnTo>
                <a:lnTo>
                  <a:pt x="134560" y="170893"/>
                </a:lnTo>
                <a:lnTo>
                  <a:pt x="134665" y="170946"/>
                </a:lnTo>
                <a:lnTo>
                  <a:pt x="134718" y="170946"/>
                </a:lnTo>
                <a:lnTo>
                  <a:pt x="134824" y="170893"/>
                </a:lnTo>
                <a:lnTo>
                  <a:pt x="134824" y="170787"/>
                </a:lnTo>
                <a:lnTo>
                  <a:pt x="134665" y="170787"/>
                </a:lnTo>
                <a:lnTo>
                  <a:pt x="134771" y="170523"/>
                </a:lnTo>
                <a:lnTo>
                  <a:pt x="135035" y="170523"/>
                </a:lnTo>
                <a:lnTo>
                  <a:pt x="135510" y="170735"/>
                </a:lnTo>
                <a:lnTo>
                  <a:pt x="135457" y="170629"/>
                </a:lnTo>
                <a:lnTo>
                  <a:pt x="135405" y="170471"/>
                </a:lnTo>
                <a:lnTo>
                  <a:pt x="135299" y="170418"/>
                </a:lnTo>
                <a:lnTo>
                  <a:pt x="135246" y="170418"/>
                </a:lnTo>
                <a:lnTo>
                  <a:pt x="135140" y="170312"/>
                </a:lnTo>
                <a:lnTo>
                  <a:pt x="135088" y="170207"/>
                </a:lnTo>
                <a:lnTo>
                  <a:pt x="134929" y="170154"/>
                </a:lnTo>
                <a:close/>
                <a:moveTo>
                  <a:pt x="150297" y="169890"/>
                </a:moveTo>
                <a:lnTo>
                  <a:pt x="150138" y="169943"/>
                </a:lnTo>
                <a:lnTo>
                  <a:pt x="150033" y="170101"/>
                </a:lnTo>
                <a:lnTo>
                  <a:pt x="149927" y="170259"/>
                </a:lnTo>
                <a:lnTo>
                  <a:pt x="149874" y="170418"/>
                </a:lnTo>
                <a:lnTo>
                  <a:pt x="149769" y="170523"/>
                </a:lnTo>
                <a:lnTo>
                  <a:pt x="149505" y="170735"/>
                </a:lnTo>
                <a:lnTo>
                  <a:pt x="149558" y="170787"/>
                </a:lnTo>
                <a:lnTo>
                  <a:pt x="149610" y="170787"/>
                </a:lnTo>
                <a:lnTo>
                  <a:pt x="149610" y="170840"/>
                </a:lnTo>
                <a:lnTo>
                  <a:pt x="149610" y="170946"/>
                </a:lnTo>
                <a:lnTo>
                  <a:pt x="149663" y="171104"/>
                </a:lnTo>
                <a:lnTo>
                  <a:pt x="149769" y="171104"/>
                </a:lnTo>
                <a:lnTo>
                  <a:pt x="149980" y="171052"/>
                </a:lnTo>
                <a:lnTo>
                  <a:pt x="150138" y="171157"/>
                </a:lnTo>
                <a:lnTo>
                  <a:pt x="150244" y="171157"/>
                </a:lnTo>
                <a:lnTo>
                  <a:pt x="150350" y="171104"/>
                </a:lnTo>
                <a:lnTo>
                  <a:pt x="150403" y="170946"/>
                </a:lnTo>
                <a:lnTo>
                  <a:pt x="150403" y="170787"/>
                </a:lnTo>
                <a:lnTo>
                  <a:pt x="150350" y="170471"/>
                </a:lnTo>
                <a:lnTo>
                  <a:pt x="150350" y="170365"/>
                </a:lnTo>
                <a:lnTo>
                  <a:pt x="150403" y="170207"/>
                </a:lnTo>
                <a:lnTo>
                  <a:pt x="150403" y="169995"/>
                </a:lnTo>
                <a:lnTo>
                  <a:pt x="150297" y="169890"/>
                </a:lnTo>
                <a:close/>
                <a:moveTo>
                  <a:pt x="132553" y="170893"/>
                </a:moveTo>
                <a:lnTo>
                  <a:pt x="132447" y="170999"/>
                </a:lnTo>
                <a:lnTo>
                  <a:pt x="132447" y="171104"/>
                </a:lnTo>
                <a:lnTo>
                  <a:pt x="132500" y="171104"/>
                </a:lnTo>
                <a:lnTo>
                  <a:pt x="132553" y="171157"/>
                </a:lnTo>
                <a:lnTo>
                  <a:pt x="132606" y="171263"/>
                </a:lnTo>
                <a:lnTo>
                  <a:pt x="132711" y="171316"/>
                </a:lnTo>
                <a:lnTo>
                  <a:pt x="132764" y="171263"/>
                </a:lnTo>
                <a:lnTo>
                  <a:pt x="132764" y="171157"/>
                </a:lnTo>
                <a:lnTo>
                  <a:pt x="132711" y="171052"/>
                </a:lnTo>
                <a:lnTo>
                  <a:pt x="132658" y="170893"/>
                </a:lnTo>
                <a:close/>
                <a:moveTo>
                  <a:pt x="254227" y="170682"/>
                </a:moveTo>
                <a:lnTo>
                  <a:pt x="254174" y="170735"/>
                </a:lnTo>
                <a:lnTo>
                  <a:pt x="254174" y="170840"/>
                </a:lnTo>
                <a:lnTo>
                  <a:pt x="254174" y="171052"/>
                </a:lnTo>
                <a:lnTo>
                  <a:pt x="253963" y="171052"/>
                </a:lnTo>
                <a:lnTo>
                  <a:pt x="254068" y="171316"/>
                </a:lnTo>
                <a:lnTo>
                  <a:pt x="254227" y="171580"/>
                </a:lnTo>
                <a:lnTo>
                  <a:pt x="254438" y="171791"/>
                </a:lnTo>
                <a:lnTo>
                  <a:pt x="254649" y="171844"/>
                </a:lnTo>
                <a:lnTo>
                  <a:pt x="254860" y="171738"/>
                </a:lnTo>
                <a:lnTo>
                  <a:pt x="254860" y="171527"/>
                </a:lnTo>
                <a:lnTo>
                  <a:pt x="254808" y="171263"/>
                </a:lnTo>
                <a:lnTo>
                  <a:pt x="254860" y="171052"/>
                </a:lnTo>
                <a:lnTo>
                  <a:pt x="254966" y="171210"/>
                </a:lnTo>
                <a:lnTo>
                  <a:pt x="255072" y="171368"/>
                </a:lnTo>
                <a:lnTo>
                  <a:pt x="255230" y="171474"/>
                </a:lnTo>
                <a:lnTo>
                  <a:pt x="255336" y="171421"/>
                </a:lnTo>
                <a:lnTo>
                  <a:pt x="255441" y="171316"/>
                </a:lnTo>
                <a:lnTo>
                  <a:pt x="255653" y="171104"/>
                </a:lnTo>
                <a:lnTo>
                  <a:pt x="255653" y="170999"/>
                </a:lnTo>
                <a:lnTo>
                  <a:pt x="255600" y="170840"/>
                </a:lnTo>
                <a:lnTo>
                  <a:pt x="255547" y="170946"/>
                </a:lnTo>
                <a:lnTo>
                  <a:pt x="255494" y="170999"/>
                </a:lnTo>
                <a:lnTo>
                  <a:pt x="254860" y="170999"/>
                </a:lnTo>
                <a:lnTo>
                  <a:pt x="254860" y="170946"/>
                </a:lnTo>
                <a:lnTo>
                  <a:pt x="254860" y="170893"/>
                </a:lnTo>
                <a:lnTo>
                  <a:pt x="254860" y="170840"/>
                </a:lnTo>
                <a:lnTo>
                  <a:pt x="254808" y="170787"/>
                </a:lnTo>
                <a:lnTo>
                  <a:pt x="254755" y="170787"/>
                </a:lnTo>
                <a:lnTo>
                  <a:pt x="254491" y="170735"/>
                </a:lnTo>
                <a:lnTo>
                  <a:pt x="254438" y="170787"/>
                </a:lnTo>
                <a:lnTo>
                  <a:pt x="254438" y="170946"/>
                </a:lnTo>
                <a:lnTo>
                  <a:pt x="254385" y="170893"/>
                </a:lnTo>
                <a:lnTo>
                  <a:pt x="254332" y="170787"/>
                </a:lnTo>
                <a:lnTo>
                  <a:pt x="254227" y="170682"/>
                </a:lnTo>
                <a:close/>
                <a:moveTo>
                  <a:pt x="253857" y="172953"/>
                </a:moveTo>
                <a:lnTo>
                  <a:pt x="253751" y="173006"/>
                </a:lnTo>
                <a:lnTo>
                  <a:pt x="253751" y="173058"/>
                </a:lnTo>
                <a:lnTo>
                  <a:pt x="253751" y="173111"/>
                </a:lnTo>
                <a:lnTo>
                  <a:pt x="253751" y="173164"/>
                </a:lnTo>
                <a:lnTo>
                  <a:pt x="253804" y="173217"/>
                </a:lnTo>
                <a:lnTo>
                  <a:pt x="253857" y="173322"/>
                </a:lnTo>
                <a:lnTo>
                  <a:pt x="253857" y="173375"/>
                </a:lnTo>
                <a:lnTo>
                  <a:pt x="253646" y="173481"/>
                </a:lnTo>
                <a:lnTo>
                  <a:pt x="253487" y="173745"/>
                </a:lnTo>
                <a:lnTo>
                  <a:pt x="253382" y="173798"/>
                </a:lnTo>
                <a:lnTo>
                  <a:pt x="253382" y="173850"/>
                </a:lnTo>
                <a:lnTo>
                  <a:pt x="253487" y="173850"/>
                </a:lnTo>
                <a:lnTo>
                  <a:pt x="253646" y="173745"/>
                </a:lnTo>
                <a:lnTo>
                  <a:pt x="253804" y="173745"/>
                </a:lnTo>
                <a:lnTo>
                  <a:pt x="254015" y="173850"/>
                </a:lnTo>
                <a:lnTo>
                  <a:pt x="254068" y="173903"/>
                </a:lnTo>
                <a:lnTo>
                  <a:pt x="254121" y="173850"/>
                </a:lnTo>
                <a:lnTo>
                  <a:pt x="254227" y="173586"/>
                </a:lnTo>
                <a:lnTo>
                  <a:pt x="254280" y="173534"/>
                </a:lnTo>
                <a:lnTo>
                  <a:pt x="254385" y="173481"/>
                </a:lnTo>
                <a:lnTo>
                  <a:pt x="254385" y="173375"/>
                </a:lnTo>
                <a:lnTo>
                  <a:pt x="254385" y="173217"/>
                </a:lnTo>
                <a:lnTo>
                  <a:pt x="254385" y="173111"/>
                </a:lnTo>
                <a:lnTo>
                  <a:pt x="254121" y="173111"/>
                </a:lnTo>
                <a:lnTo>
                  <a:pt x="253963" y="173058"/>
                </a:lnTo>
                <a:lnTo>
                  <a:pt x="253857" y="172953"/>
                </a:lnTo>
                <a:close/>
                <a:moveTo>
                  <a:pt x="255283" y="172953"/>
                </a:moveTo>
                <a:lnTo>
                  <a:pt x="255177" y="173006"/>
                </a:lnTo>
                <a:lnTo>
                  <a:pt x="255072" y="173111"/>
                </a:lnTo>
                <a:lnTo>
                  <a:pt x="255072" y="173217"/>
                </a:lnTo>
                <a:lnTo>
                  <a:pt x="255124" y="173322"/>
                </a:lnTo>
                <a:lnTo>
                  <a:pt x="255283" y="173428"/>
                </a:lnTo>
                <a:lnTo>
                  <a:pt x="255441" y="173798"/>
                </a:lnTo>
                <a:lnTo>
                  <a:pt x="255494" y="173903"/>
                </a:lnTo>
                <a:lnTo>
                  <a:pt x="255547" y="173745"/>
                </a:lnTo>
                <a:lnTo>
                  <a:pt x="255600" y="173692"/>
                </a:lnTo>
                <a:lnTo>
                  <a:pt x="255653" y="173692"/>
                </a:lnTo>
                <a:lnTo>
                  <a:pt x="255758" y="173586"/>
                </a:lnTo>
                <a:lnTo>
                  <a:pt x="255811" y="173534"/>
                </a:lnTo>
                <a:lnTo>
                  <a:pt x="255864" y="173481"/>
                </a:lnTo>
                <a:lnTo>
                  <a:pt x="255864" y="173217"/>
                </a:lnTo>
                <a:lnTo>
                  <a:pt x="255758" y="173111"/>
                </a:lnTo>
                <a:lnTo>
                  <a:pt x="255705" y="173006"/>
                </a:lnTo>
                <a:lnTo>
                  <a:pt x="255600" y="172953"/>
                </a:lnTo>
                <a:close/>
                <a:moveTo>
                  <a:pt x="117185" y="173850"/>
                </a:moveTo>
                <a:lnTo>
                  <a:pt x="117079" y="173903"/>
                </a:lnTo>
                <a:lnTo>
                  <a:pt x="117027" y="174062"/>
                </a:lnTo>
                <a:lnTo>
                  <a:pt x="117132" y="173956"/>
                </a:lnTo>
                <a:lnTo>
                  <a:pt x="117185" y="173850"/>
                </a:lnTo>
                <a:close/>
                <a:moveTo>
                  <a:pt x="254755" y="173270"/>
                </a:moveTo>
                <a:lnTo>
                  <a:pt x="254702" y="173322"/>
                </a:lnTo>
                <a:lnTo>
                  <a:pt x="254702" y="173481"/>
                </a:lnTo>
                <a:lnTo>
                  <a:pt x="254649" y="173586"/>
                </a:lnTo>
                <a:lnTo>
                  <a:pt x="254544" y="173692"/>
                </a:lnTo>
                <a:lnTo>
                  <a:pt x="254438" y="173692"/>
                </a:lnTo>
                <a:lnTo>
                  <a:pt x="254385" y="173745"/>
                </a:lnTo>
                <a:lnTo>
                  <a:pt x="254332" y="173903"/>
                </a:lnTo>
                <a:lnTo>
                  <a:pt x="254649" y="174062"/>
                </a:lnTo>
                <a:lnTo>
                  <a:pt x="254808" y="174062"/>
                </a:lnTo>
                <a:lnTo>
                  <a:pt x="255019" y="173956"/>
                </a:lnTo>
                <a:lnTo>
                  <a:pt x="255072" y="173956"/>
                </a:lnTo>
                <a:lnTo>
                  <a:pt x="255124" y="173903"/>
                </a:lnTo>
                <a:lnTo>
                  <a:pt x="255177" y="173798"/>
                </a:lnTo>
                <a:lnTo>
                  <a:pt x="255177" y="173692"/>
                </a:lnTo>
                <a:lnTo>
                  <a:pt x="255177" y="173586"/>
                </a:lnTo>
                <a:lnTo>
                  <a:pt x="255124" y="173481"/>
                </a:lnTo>
                <a:lnTo>
                  <a:pt x="254860" y="173322"/>
                </a:lnTo>
                <a:lnTo>
                  <a:pt x="254755" y="173270"/>
                </a:lnTo>
                <a:close/>
                <a:moveTo>
                  <a:pt x="114386" y="174009"/>
                </a:moveTo>
                <a:lnTo>
                  <a:pt x="114281" y="174115"/>
                </a:lnTo>
                <a:lnTo>
                  <a:pt x="114228" y="174220"/>
                </a:lnTo>
                <a:lnTo>
                  <a:pt x="114333" y="174273"/>
                </a:lnTo>
                <a:lnTo>
                  <a:pt x="114386" y="174326"/>
                </a:lnTo>
                <a:lnTo>
                  <a:pt x="114439" y="174379"/>
                </a:lnTo>
                <a:lnTo>
                  <a:pt x="114492" y="174273"/>
                </a:lnTo>
                <a:lnTo>
                  <a:pt x="114545" y="174220"/>
                </a:lnTo>
                <a:lnTo>
                  <a:pt x="114545" y="174115"/>
                </a:lnTo>
                <a:lnTo>
                  <a:pt x="114545" y="174062"/>
                </a:lnTo>
                <a:lnTo>
                  <a:pt x="114492" y="174009"/>
                </a:lnTo>
                <a:close/>
                <a:moveTo>
                  <a:pt x="128170" y="173798"/>
                </a:moveTo>
                <a:lnTo>
                  <a:pt x="128011" y="173850"/>
                </a:lnTo>
                <a:lnTo>
                  <a:pt x="127906" y="174009"/>
                </a:lnTo>
                <a:lnTo>
                  <a:pt x="127800" y="174220"/>
                </a:lnTo>
                <a:lnTo>
                  <a:pt x="127800" y="174326"/>
                </a:lnTo>
                <a:lnTo>
                  <a:pt x="127906" y="174379"/>
                </a:lnTo>
                <a:lnTo>
                  <a:pt x="128011" y="174379"/>
                </a:lnTo>
                <a:lnTo>
                  <a:pt x="128117" y="174220"/>
                </a:lnTo>
                <a:lnTo>
                  <a:pt x="128222" y="174167"/>
                </a:lnTo>
                <a:lnTo>
                  <a:pt x="128275" y="174220"/>
                </a:lnTo>
                <a:lnTo>
                  <a:pt x="128434" y="174273"/>
                </a:lnTo>
                <a:lnTo>
                  <a:pt x="128486" y="174273"/>
                </a:lnTo>
                <a:lnTo>
                  <a:pt x="128539" y="174379"/>
                </a:lnTo>
                <a:lnTo>
                  <a:pt x="128539" y="174431"/>
                </a:lnTo>
                <a:lnTo>
                  <a:pt x="128645" y="174431"/>
                </a:lnTo>
                <a:lnTo>
                  <a:pt x="128645" y="174326"/>
                </a:lnTo>
                <a:lnTo>
                  <a:pt x="128645" y="174167"/>
                </a:lnTo>
                <a:lnTo>
                  <a:pt x="128645" y="174062"/>
                </a:lnTo>
                <a:lnTo>
                  <a:pt x="128645" y="173956"/>
                </a:lnTo>
                <a:lnTo>
                  <a:pt x="128645" y="173903"/>
                </a:lnTo>
                <a:lnTo>
                  <a:pt x="128592" y="173850"/>
                </a:lnTo>
                <a:lnTo>
                  <a:pt x="128434" y="173850"/>
                </a:lnTo>
                <a:lnTo>
                  <a:pt x="128328" y="173903"/>
                </a:lnTo>
                <a:lnTo>
                  <a:pt x="128328" y="173798"/>
                </a:lnTo>
                <a:close/>
                <a:moveTo>
                  <a:pt x="116499" y="174220"/>
                </a:moveTo>
                <a:lnTo>
                  <a:pt x="116129" y="174431"/>
                </a:lnTo>
                <a:lnTo>
                  <a:pt x="115812" y="174695"/>
                </a:lnTo>
                <a:lnTo>
                  <a:pt x="115759" y="174801"/>
                </a:lnTo>
                <a:lnTo>
                  <a:pt x="115759" y="174907"/>
                </a:lnTo>
                <a:lnTo>
                  <a:pt x="115812" y="174748"/>
                </a:lnTo>
                <a:lnTo>
                  <a:pt x="116604" y="174273"/>
                </a:lnTo>
                <a:lnTo>
                  <a:pt x="116604" y="174220"/>
                </a:lnTo>
                <a:close/>
                <a:moveTo>
                  <a:pt x="254544" y="174907"/>
                </a:moveTo>
                <a:lnTo>
                  <a:pt x="254537" y="174940"/>
                </a:lnTo>
                <a:lnTo>
                  <a:pt x="254544" y="174959"/>
                </a:lnTo>
                <a:lnTo>
                  <a:pt x="254544" y="174907"/>
                </a:lnTo>
                <a:close/>
                <a:moveTo>
                  <a:pt x="129015" y="174801"/>
                </a:moveTo>
                <a:lnTo>
                  <a:pt x="128962" y="174854"/>
                </a:lnTo>
                <a:lnTo>
                  <a:pt x="128962" y="174907"/>
                </a:lnTo>
                <a:lnTo>
                  <a:pt x="129015" y="175012"/>
                </a:lnTo>
                <a:lnTo>
                  <a:pt x="129120" y="175065"/>
                </a:lnTo>
                <a:lnTo>
                  <a:pt x="129226" y="175118"/>
                </a:lnTo>
                <a:lnTo>
                  <a:pt x="129226" y="175065"/>
                </a:lnTo>
                <a:lnTo>
                  <a:pt x="129226" y="174959"/>
                </a:lnTo>
                <a:lnTo>
                  <a:pt x="129226" y="174907"/>
                </a:lnTo>
                <a:lnTo>
                  <a:pt x="129173" y="174854"/>
                </a:lnTo>
                <a:lnTo>
                  <a:pt x="129173" y="174801"/>
                </a:lnTo>
                <a:close/>
                <a:moveTo>
                  <a:pt x="115495" y="175065"/>
                </a:moveTo>
                <a:lnTo>
                  <a:pt x="115442" y="175118"/>
                </a:lnTo>
                <a:lnTo>
                  <a:pt x="115442" y="175136"/>
                </a:lnTo>
                <a:lnTo>
                  <a:pt x="115442" y="175136"/>
                </a:lnTo>
                <a:lnTo>
                  <a:pt x="115495" y="175065"/>
                </a:lnTo>
                <a:close/>
                <a:moveTo>
                  <a:pt x="127747" y="174537"/>
                </a:moveTo>
                <a:lnTo>
                  <a:pt x="127641" y="174590"/>
                </a:lnTo>
                <a:lnTo>
                  <a:pt x="127430" y="174748"/>
                </a:lnTo>
                <a:lnTo>
                  <a:pt x="127325" y="174748"/>
                </a:lnTo>
                <a:lnTo>
                  <a:pt x="127166" y="174695"/>
                </a:lnTo>
                <a:lnTo>
                  <a:pt x="127061" y="174695"/>
                </a:lnTo>
                <a:lnTo>
                  <a:pt x="126955" y="174801"/>
                </a:lnTo>
                <a:lnTo>
                  <a:pt x="127008" y="174854"/>
                </a:lnTo>
                <a:lnTo>
                  <a:pt x="127008" y="174907"/>
                </a:lnTo>
                <a:lnTo>
                  <a:pt x="126902" y="174907"/>
                </a:lnTo>
                <a:lnTo>
                  <a:pt x="127061" y="175118"/>
                </a:lnTo>
                <a:lnTo>
                  <a:pt x="127483" y="175224"/>
                </a:lnTo>
                <a:lnTo>
                  <a:pt x="127641" y="175435"/>
                </a:lnTo>
                <a:lnTo>
                  <a:pt x="127694" y="175488"/>
                </a:lnTo>
                <a:lnTo>
                  <a:pt x="127747" y="175540"/>
                </a:lnTo>
                <a:lnTo>
                  <a:pt x="127800" y="175540"/>
                </a:lnTo>
                <a:lnTo>
                  <a:pt x="127853" y="175329"/>
                </a:lnTo>
                <a:lnTo>
                  <a:pt x="127853" y="175012"/>
                </a:lnTo>
                <a:lnTo>
                  <a:pt x="127800" y="174695"/>
                </a:lnTo>
                <a:lnTo>
                  <a:pt x="127853" y="174643"/>
                </a:lnTo>
                <a:lnTo>
                  <a:pt x="127747" y="174537"/>
                </a:lnTo>
                <a:close/>
                <a:moveTo>
                  <a:pt x="254491" y="174115"/>
                </a:moveTo>
                <a:lnTo>
                  <a:pt x="254438" y="174167"/>
                </a:lnTo>
                <a:lnTo>
                  <a:pt x="254385" y="174379"/>
                </a:lnTo>
                <a:lnTo>
                  <a:pt x="254332" y="174431"/>
                </a:lnTo>
                <a:lnTo>
                  <a:pt x="254174" y="174484"/>
                </a:lnTo>
                <a:lnTo>
                  <a:pt x="254121" y="174537"/>
                </a:lnTo>
                <a:lnTo>
                  <a:pt x="254280" y="174643"/>
                </a:lnTo>
                <a:lnTo>
                  <a:pt x="254280" y="174695"/>
                </a:lnTo>
                <a:lnTo>
                  <a:pt x="254227" y="174907"/>
                </a:lnTo>
                <a:lnTo>
                  <a:pt x="254227" y="174959"/>
                </a:lnTo>
                <a:lnTo>
                  <a:pt x="254121" y="174959"/>
                </a:lnTo>
                <a:lnTo>
                  <a:pt x="254015" y="175012"/>
                </a:lnTo>
                <a:lnTo>
                  <a:pt x="254121" y="175012"/>
                </a:lnTo>
                <a:lnTo>
                  <a:pt x="254121" y="175065"/>
                </a:lnTo>
                <a:lnTo>
                  <a:pt x="254121" y="175224"/>
                </a:lnTo>
                <a:lnTo>
                  <a:pt x="254121" y="175276"/>
                </a:lnTo>
                <a:lnTo>
                  <a:pt x="254227" y="175488"/>
                </a:lnTo>
                <a:lnTo>
                  <a:pt x="254280" y="175593"/>
                </a:lnTo>
                <a:lnTo>
                  <a:pt x="254385" y="175646"/>
                </a:lnTo>
                <a:lnTo>
                  <a:pt x="254438" y="175540"/>
                </a:lnTo>
                <a:lnTo>
                  <a:pt x="254438" y="175435"/>
                </a:lnTo>
                <a:lnTo>
                  <a:pt x="254491" y="175171"/>
                </a:lnTo>
                <a:lnTo>
                  <a:pt x="254537" y="174940"/>
                </a:lnTo>
                <a:lnTo>
                  <a:pt x="254491" y="174801"/>
                </a:lnTo>
                <a:lnTo>
                  <a:pt x="254544" y="174801"/>
                </a:lnTo>
                <a:lnTo>
                  <a:pt x="254649" y="174854"/>
                </a:lnTo>
                <a:lnTo>
                  <a:pt x="254755" y="174854"/>
                </a:lnTo>
                <a:lnTo>
                  <a:pt x="254755" y="174801"/>
                </a:lnTo>
                <a:lnTo>
                  <a:pt x="254808" y="174748"/>
                </a:lnTo>
                <a:lnTo>
                  <a:pt x="254808" y="174643"/>
                </a:lnTo>
                <a:lnTo>
                  <a:pt x="255072" y="174643"/>
                </a:lnTo>
                <a:lnTo>
                  <a:pt x="255124" y="174484"/>
                </a:lnTo>
                <a:lnTo>
                  <a:pt x="255124" y="174431"/>
                </a:lnTo>
                <a:lnTo>
                  <a:pt x="255124" y="174273"/>
                </a:lnTo>
                <a:lnTo>
                  <a:pt x="255019" y="174220"/>
                </a:lnTo>
                <a:lnTo>
                  <a:pt x="254649" y="174220"/>
                </a:lnTo>
                <a:lnTo>
                  <a:pt x="254544" y="174115"/>
                </a:lnTo>
                <a:close/>
                <a:moveTo>
                  <a:pt x="269119" y="174907"/>
                </a:moveTo>
                <a:lnTo>
                  <a:pt x="269066" y="175065"/>
                </a:lnTo>
                <a:lnTo>
                  <a:pt x="268644" y="175804"/>
                </a:lnTo>
                <a:lnTo>
                  <a:pt x="268433" y="176016"/>
                </a:lnTo>
                <a:lnTo>
                  <a:pt x="268485" y="175752"/>
                </a:lnTo>
                <a:lnTo>
                  <a:pt x="268644" y="175329"/>
                </a:lnTo>
                <a:lnTo>
                  <a:pt x="268697" y="175276"/>
                </a:lnTo>
                <a:lnTo>
                  <a:pt x="268855" y="175118"/>
                </a:lnTo>
                <a:lnTo>
                  <a:pt x="268961" y="175012"/>
                </a:lnTo>
                <a:lnTo>
                  <a:pt x="268961" y="174959"/>
                </a:lnTo>
                <a:lnTo>
                  <a:pt x="269013" y="174907"/>
                </a:lnTo>
                <a:close/>
                <a:moveTo>
                  <a:pt x="121991" y="175540"/>
                </a:moveTo>
                <a:lnTo>
                  <a:pt x="121780" y="175646"/>
                </a:lnTo>
                <a:lnTo>
                  <a:pt x="121516" y="175646"/>
                </a:lnTo>
                <a:lnTo>
                  <a:pt x="121410" y="175752"/>
                </a:lnTo>
                <a:lnTo>
                  <a:pt x="121357" y="175910"/>
                </a:lnTo>
                <a:lnTo>
                  <a:pt x="121463" y="175963"/>
                </a:lnTo>
                <a:lnTo>
                  <a:pt x="121516" y="175963"/>
                </a:lnTo>
                <a:lnTo>
                  <a:pt x="121621" y="176016"/>
                </a:lnTo>
                <a:lnTo>
                  <a:pt x="121832" y="175910"/>
                </a:lnTo>
                <a:lnTo>
                  <a:pt x="121991" y="175910"/>
                </a:lnTo>
                <a:lnTo>
                  <a:pt x="122044" y="175857"/>
                </a:lnTo>
                <a:lnTo>
                  <a:pt x="122096" y="175646"/>
                </a:lnTo>
                <a:lnTo>
                  <a:pt x="122096" y="175540"/>
                </a:lnTo>
                <a:close/>
                <a:moveTo>
                  <a:pt x="255494" y="174801"/>
                </a:moveTo>
                <a:lnTo>
                  <a:pt x="255389" y="174854"/>
                </a:lnTo>
                <a:lnTo>
                  <a:pt x="255283" y="174854"/>
                </a:lnTo>
                <a:lnTo>
                  <a:pt x="255283" y="174959"/>
                </a:lnTo>
                <a:lnTo>
                  <a:pt x="255072" y="174959"/>
                </a:lnTo>
                <a:lnTo>
                  <a:pt x="255019" y="175118"/>
                </a:lnTo>
                <a:lnTo>
                  <a:pt x="255019" y="175224"/>
                </a:lnTo>
                <a:lnTo>
                  <a:pt x="255177" y="175329"/>
                </a:lnTo>
                <a:lnTo>
                  <a:pt x="255124" y="175382"/>
                </a:lnTo>
                <a:lnTo>
                  <a:pt x="255019" y="175382"/>
                </a:lnTo>
                <a:lnTo>
                  <a:pt x="254966" y="175329"/>
                </a:lnTo>
                <a:lnTo>
                  <a:pt x="254966" y="175593"/>
                </a:lnTo>
                <a:lnTo>
                  <a:pt x="254966" y="175752"/>
                </a:lnTo>
                <a:lnTo>
                  <a:pt x="255019" y="175910"/>
                </a:lnTo>
                <a:lnTo>
                  <a:pt x="255072" y="176016"/>
                </a:lnTo>
                <a:lnTo>
                  <a:pt x="255177" y="176016"/>
                </a:lnTo>
                <a:lnTo>
                  <a:pt x="255230" y="175963"/>
                </a:lnTo>
                <a:lnTo>
                  <a:pt x="255230" y="175857"/>
                </a:lnTo>
                <a:lnTo>
                  <a:pt x="255336" y="175857"/>
                </a:lnTo>
                <a:lnTo>
                  <a:pt x="255441" y="175910"/>
                </a:lnTo>
                <a:lnTo>
                  <a:pt x="255441" y="175963"/>
                </a:lnTo>
                <a:lnTo>
                  <a:pt x="255547" y="175963"/>
                </a:lnTo>
                <a:lnTo>
                  <a:pt x="255705" y="175857"/>
                </a:lnTo>
                <a:lnTo>
                  <a:pt x="255864" y="175857"/>
                </a:lnTo>
                <a:lnTo>
                  <a:pt x="255917" y="175699"/>
                </a:lnTo>
                <a:lnTo>
                  <a:pt x="255917" y="175593"/>
                </a:lnTo>
                <a:lnTo>
                  <a:pt x="256022" y="175435"/>
                </a:lnTo>
                <a:lnTo>
                  <a:pt x="256022" y="175329"/>
                </a:lnTo>
                <a:lnTo>
                  <a:pt x="255917" y="175276"/>
                </a:lnTo>
                <a:lnTo>
                  <a:pt x="255811" y="175276"/>
                </a:lnTo>
                <a:lnTo>
                  <a:pt x="255758" y="175435"/>
                </a:lnTo>
                <a:lnTo>
                  <a:pt x="255653" y="175382"/>
                </a:lnTo>
                <a:lnTo>
                  <a:pt x="255758" y="175118"/>
                </a:lnTo>
                <a:lnTo>
                  <a:pt x="255758" y="174959"/>
                </a:lnTo>
                <a:lnTo>
                  <a:pt x="255705" y="174854"/>
                </a:lnTo>
                <a:lnTo>
                  <a:pt x="255600" y="174801"/>
                </a:lnTo>
                <a:close/>
                <a:moveTo>
                  <a:pt x="122730" y="175857"/>
                </a:moveTo>
                <a:lnTo>
                  <a:pt x="122677" y="175910"/>
                </a:lnTo>
                <a:lnTo>
                  <a:pt x="122625" y="175963"/>
                </a:lnTo>
                <a:lnTo>
                  <a:pt x="122625" y="176016"/>
                </a:lnTo>
                <a:lnTo>
                  <a:pt x="122730" y="176121"/>
                </a:lnTo>
                <a:lnTo>
                  <a:pt x="122941" y="176280"/>
                </a:lnTo>
                <a:lnTo>
                  <a:pt x="123100" y="176280"/>
                </a:lnTo>
                <a:lnTo>
                  <a:pt x="123153" y="176227"/>
                </a:lnTo>
                <a:lnTo>
                  <a:pt x="123153" y="176068"/>
                </a:lnTo>
                <a:lnTo>
                  <a:pt x="123100" y="176068"/>
                </a:lnTo>
                <a:lnTo>
                  <a:pt x="123100" y="176016"/>
                </a:lnTo>
                <a:lnTo>
                  <a:pt x="123100" y="175963"/>
                </a:lnTo>
                <a:lnTo>
                  <a:pt x="123100" y="175910"/>
                </a:lnTo>
                <a:lnTo>
                  <a:pt x="123100" y="175857"/>
                </a:lnTo>
                <a:close/>
                <a:moveTo>
                  <a:pt x="262676" y="174115"/>
                </a:moveTo>
                <a:lnTo>
                  <a:pt x="262623" y="174167"/>
                </a:lnTo>
                <a:lnTo>
                  <a:pt x="262623" y="174379"/>
                </a:lnTo>
                <a:lnTo>
                  <a:pt x="262623" y="174537"/>
                </a:lnTo>
                <a:lnTo>
                  <a:pt x="262518" y="174537"/>
                </a:lnTo>
                <a:lnTo>
                  <a:pt x="262571" y="174643"/>
                </a:lnTo>
                <a:lnTo>
                  <a:pt x="262571" y="174801"/>
                </a:lnTo>
                <a:lnTo>
                  <a:pt x="262571" y="175171"/>
                </a:lnTo>
                <a:lnTo>
                  <a:pt x="262729" y="176016"/>
                </a:lnTo>
                <a:lnTo>
                  <a:pt x="262782" y="176121"/>
                </a:lnTo>
                <a:lnTo>
                  <a:pt x="262940" y="176227"/>
                </a:lnTo>
                <a:lnTo>
                  <a:pt x="263099" y="176438"/>
                </a:lnTo>
                <a:lnTo>
                  <a:pt x="263152" y="176438"/>
                </a:lnTo>
                <a:lnTo>
                  <a:pt x="263099" y="176333"/>
                </a:lnTo>
                <a:lnTo>
                  <a:pt x="263152" y="176227"/>
                </a:lnTo>
                <a:lnTo>
                  <a:pt x="263204" y="176121"/>
                </a:lnTo>
                <a:lnTo>
                  <a:pt x="263257" y="176016"/>
                </a:lnTo>
                <a:lnTo>
                  <a:pt x="263204" y="175910"/>
                </a:lnTo>
                <a:lnTo>
                  <a:pt x="263099" y="175804"/>
                </a:lnTo>
                <a:lnTo>
                  <a:pt x="262993" y="175540"/>
                </a:lnTo>
                <a:lnTo>
                  <a:pt x="263099" y="175540"/>
                </a:lnTo>
                <a:lnTo>
                  <a:pt x="263204" y="175646"/>
                </a:lnTo>
                <a:lnTo>
                  <a:pt x="263363" y="175699"/>
                </a:lnTo>
                <a:lnTo>
                  <a:pt x="263416" y="175488"/>
                </a:lnTo>
                <a:lnTo>
                  <a:pt x="263416" y="175224"/>
                </a:lnTo>
                <a:lnTo>
                  <a:pt x="263416" y="175171"/>
                </a:lnTo>
                <a:lnTo>
                  <a:pt x="263468" y="175171"/>
                </a:lnTo>
                <a:lnTo>
                  <a:pt x="263521" y="175224"/>
                </a:lnTo>
                <a:lnTo>
                  <a:pt x="263574" y="175329"/>
                </a:lnTo>
                <a:lnTo>
                  <a:pt x="263574" y="175118"/>
                </a:lnTo>
                <a:lnTo>
                  <a:pt x="263310" y="174801"/>
                </a:lnTo>
                <a:lnTo>
                  <a:pt x="262729" y="174220"/>
                </a:lnTo>
                <a:lnTo>
                  <a:pt x="262676" y="174115"/>
                </a:lnTo>
                <a:close/>
                <a:moveTo>
                  <a:pt x="125846" y="174273"/>
                </a:moveTo>
                <a:lnTo>
                  <a:pt x="125687" y="174431"/>
                </a:lnTo>
                <a:lnTo>
                  <a:pt x="125476" y="174643"/>
                </a:lnTo>
                <a:lnTo>
                  <a:pt x="125318" y="174907"/>
                </a:lnTo>
                <a:lnTo>
                  <a:pt x="125318" y="175012"/>
                </a:lnTo>
                <a:lnTo>
                  <a:pt x="125318" y="175118"/>
                </a:lnTo>
                <a:lnTo>
                  <a:pt x="125318" y="175224"/>
                </a:lnTo>
                <a:lnTo>
                  <a:pt x="125318" y="175382"/>
                </a:lnTo>
                <a:lnTo>
                  <a:pt x="125318" y="175435"/>
                </a:lnTo>
                <a:lnTo>
                  <a:pt x="125371" y="175540"/>
                </a:lnTo>
                <a:lnTo>
                  <a:pt x="125371" y="175593"/>
                </a:lnTo>
                <a:lnTo>
                  <a:pt x="125371" y="175646"/>
                </a:lnTo>
                <a:lnTo>
                  <a:pt x="125371" y="175752"/>
                </a:lnTo>
                <a:lnTo>
                  <a:pt x="125371" y="175910"/>
                </a:lnTo>
                <a:lnTo>
                  <a:pt x="125423" y="175963"/>
                </a:lnTo>
                <a:lnTo>
                  <a:pt x="125529" y="176121"/>
                </a:lnTo>
                <a:lnTo>
                  <a:pt x="125529" y="176227"/>
                </a:lnTo>
                <a:lnTo>
                  <a:pt x="125476" y="176491"/>
                </a:lnTo>
                <a:lnTo>
                  <a:pt x="125476" y="176649"/>
                </a:lnTo>
                <a:lnTo>
                  <a:pt x="125582" y="176491"/>
                </a:lnTo>
                <a:lnTo>
                  <a:pt x="125687" y="176227"/>
                </a:lnTo>
                <a:lnTo>
                  <a:pt x="125740" y="176121"/>
                </a:lnTo>
                <a:lnTo>
                  <a:pt x="125793" y="176068"/>
                </a:lnTo>
                <a:lnTo>
                  <a:pt x="126004" y="176068"/>
                </a:lnTo>
                <a:lnTo>
                  <a:pt x="126057" y="176016"/>
                </a:lnTo>
                <a:lnTo>
                  <a:pt x="126110" y="175910"/>
                </a:lnTo>
                <a:lnTo>
                  <a:pt x="126163" y="175910"/>
                </a:lnTo>
                <a:lnTo>
                  <a:pt x="126163" y="176016"/>
                </a:lnTo>
                <a:lnTo>
                  <a:pt x="126163" y="176068"/>
                </a:lnTo>
                <a:lnTo>
                  <a:pt x="126163" y="176121"/>
                </a:lnTo>
                <a:lnTo>
                  <a:pt x="126163" y="176174"/>
                </a:lnTo>
                <a:lnTo>
                  <a:pt x="126216" y="176280"/>
                </a:lnTo>
                <a:lnTo>
                  <a:pt x="126268" y="176333"/>
                </a:lnTo>
                <a:lnTo>
                  <a:pt x="126427" y="176385"/>
                </a:lnTo>
                <a:lnTo>
                  <a:pt x="126691" y="176333"/>
                </a:lnTo>
                <a:lnTo>
                  <a:pt x="126796" y="176385"/>
                </a:lnTo>
                <a:lnTo>
                  <a:pt x="126849" y="176544"/>
                </a:lnTo>
                <a:lnTo>
                  <a:pt x="127008" y="176280"/>
                </a:lnTo>
                <a:lnTo>
                  <a:pt x="127008" y="176227"/>
                </a:lnTo>
                <a:lnTo>
                  <a:pt x="126955" y="176227"/>
                </a:lnTo>
                <a:lnTo>
                  <a:pt x="126744" y="176121"/>
                </a:lnTo>
                <a:lnTo>
                  <a:pt x="126902" y="176121"/>
                </a:lnTo>
                <a:lnTo>
                  <a:pt x="127113" y="176174"/>
                </a:lnTo>
                <a:lnTo>
                  <a:pt x="127219" y="176121"/>
                </a:lnTo>
                <a:lnTo>
                  <a:pt x="127219" y="176068"/>
                </a:lnTo>
                <a:lnTo>
                  <a:pt x="127113" y="175963"/>
                </a:lnTo>
                <a:lnTo>
                  <a:pt x="127061" y="176016"/>
                </a:lnTo>
                <a:lnTo>
                  <a:pt x="127008" y="176016"/>
                </a:lnTo>
                <a:lnTo>
                  <a:pt x="127008" y="175963"/>
                </a:lnTo>
                <a:lnTo>
                  <a:pt x="127008" y="175804"/>
                </a:lnTo>
                <a:lnTo>
                  <a:pt x="126902" y="175752"/>
                </a:lnTo>
                <a:lnTo>
                  <a:pt x="126744" y="175752"/>
                </a:lnTo>
                <a:lnTo>
                  <a:pt x="126691" y="175699"/>
                </a:lnTo>
                <a:lnTo>
                  <a:pt x="126744" y="175593"/>
                </a:lnTo>
                <a:lnTo>
                  <a:pt x="126744" y="175540"/>
                </a:lnTo>
                <a:lnTo>
                  <a:pt x="126744" y="175435"/>
                </a:lnTo>
                <a:lnTo>
                  <a:pt x="126691" y="175382"/>
                </a:lnTo>
                <a:lnTo>
                  <a:pt x="126638" y="175329"/>
                </a:lnTo>
                <a:lnTo>
                  <a:pt x="126585" y="175276"/>
                </a:lnTo>
                <a:lnTo>
                  <a:pt x="126585" y="175118"/>
                </a:lnTo>
                <a:lnTo>
                  <a:pt x="126638" y="174907"/>
                </a:lnTo>
                <a:lnTo>
                  <a:pt x="126796" y="174748"/>
                </a:lnTo>
                <a:lnTo>
                  <a:pt x="126849" y="174590"/>
                </a:lnTo>
                <a:lnTo>
                  <a:pt x="126796" y="174431"/>
                </a:lnTo>
                <a:lnTo>
                  <a:pt x="126744" y="174379"/>
                </a:lnTo>
                <a:lnTo>
                  <a:pt x="126638" y="174379"/>
                </a:lnTo>
                <a:lnTo>
                  <a:pt x="126585" y="174431"/>
                </a:lnTo>
                <a:lnTo>
                  <a:pt x="126532" y="174537"/>
                </a:lnTo>
                <a:lnTo>
                  <a:pt x="126532" y="174643"/>
                </a:lnTo>
                <a:lnTo>
                  <a:pt x="126532" y="174854"/>
                </a:lnTo>
                <a:lnTo>
                  <a:pt x="126532" y="174907"/>
                </a:lnTo>
                <a:lnTo>
                  <a:pt x="126480" y="174854"/>
                </a:lnTo>
                <a:lnTo>
                  <a:pt x="126427" y="174854"/>
                </a:lnTo>
                <a:lnTo>
                  <a:pt x="126427" y="174907"/>
                </a:lnTo>
                <a:lnTo>
                  <a:pt x="126427" y="174959"/>
                </a:lnTo>
                <a:lnTo>
                  <a:pt x="126427" y="175012"/>
                </a:lnTo>
                <a:lnTo>
                  <a:pt x="126321" y="175065"/>
                </a:lnTo>
                <a:lnTo>
                  <a:pt x="126110" y="175065"/>
                </a:lnTo>
                <a:lnTo>
                  <a:pt x="126004" y="174959"/>
                </a:lnTo>
                <a:lnTo>
                  <a:pt x="126163" y="174748"/>
                </a:lnTo>
                <a:lnTo>
                  <a:pt x="126216" y="174590"/>
                </a:lnTo>
                <a:lnTo>
                  <a:pt x="126216" y="174431"/>
                </a:lnTo>
                <a:lnTo>
                  <a:pt x="126110" y="174273"/>
                </a:lnTo>
                <a:close/>
                <a:moveTo>
                  <a:pt x="113436" y="176808"/>
                </a:moveTo>
                <a:lnTo>
                  <a:pt x="113172" y="176913"/>
                </a:lnTo>
                <a:lnTo>
                  <a:pt x="113066" y="176966"/>
                </a:lnTo>
                <a:lnTo>
                  <a:pt x="113066" y="177072"/>
                </a:lnTo>
                <a:lnTo>
                  <a:pt x="113066" y="177125"/>
                </a:lnTo>
                <a:lnTo>
                  <a:pt x="113172" y="177125"/>
                </a:lnTo>
                <a:lnTo>
                  <a:pt x="113277" y="177072"/>
                </a:lnTo>
                <a:lnTo>
                  <a:pt x="113277" y="177019"/>
                </a:lnTo>
                <a:lnTo>
                  <a:pt x="113119" y="177019"/>
                </a:lnTo>
                <a:lnTo>
                  <a:pt x="113436" y="176808"/>
                </a:lnTo>
                <a:close/>
                <a:moveTo>
                  <a:pt x="120090" y="176966"/>
                </a:moveTo>
                <a:lnTo>
                  <a:pt x="120090" y="177019"/>
                </a:lnTo>
                <a:lnTo>
                  <a:pt x="120142" y="177125"/>
                </a:lnTo>
                <a:lnTo>
                  <a:pt x="120142" y="177019"/>
                </a:lnTo>
                <a:lnTo>
                  <a:pt x="120142" y="176966"/>
                </a:lnTo>
                <a:close/>
                <a:moveTo>
                  <a:pt x="120618" y="176227"/>
                </a:moveTo>
                <a:lnTo>
                  <a:pt x="120407" y="176333"/>
                </a:lnTo>
                <a:lnTo>
                  <a:pt x="120354" y="176333"/>
                </a:lnTo>
                <a:lnTo>
                  <a:pt x="120354" y="176438"/>
                </a:lnTo>
                <a:lnTo>
                  <a:pt x="120354" y="176491"/>
                </a:lnTo>
                <a:lnTo>
                  <a:pt x="120407" y="176491"/>
                </a:lnTo>
                <a:lnTo>
                  <a:pt x="120512" y="176597"/>
                </a:lnTo>
                <a:lnTo>
                  <a:pt x="120618" y="176649"/>
                </a:lnTo>
                <a:lnTo>
                  <a:pt x="120723" y="176755"/>
                </a:lnTo>
                <a:lnTo>
                  <a:pt x="120776" y="176544"/>
                </a:lnTo>
                <a:lnTo>
                  <a:pt x="120776" y="176385"/>
                </a:lnTo>
                <a:lnTo>
                  <a:pt x="120776" y="176280"/>
                </a:lnTo>
                <a:lnTo>
                  <a:pt x="120935" y="176385"/>
                </a:lnTo>
                <a:lnTo>
                  <a:pt x="120987" y="176491"/>
                </a:lnTo>
                <a:lnTo>
                  <a:pt x="120987" y="176597"/>
                </a:lnTo>
                <a:lnTo>
                  <a:pt x="120829" y="176808"/>
                </a:lnTo>
                <a:lnTo>
                  <a:pt x="120829" y="176861"/>
                </a:lnTo>
                <a:lnTo>
                  <a:pt x="120882" y="176966"/>
                </a:lnTo>
                <a:lnTo>
                  <a:pt x="120987" y="177019"/>
                </a:lnTo>
                <a:lnTo>
                  <a:pt x="121040" y="177125"/>
                </a:lnTo>
                <a:lnTo>
                  <a:pt x="121093" y="177125"/>
                </a:lnTo>
                <a:lnTo>
                  <a:pt x="121199" y="177072"/>
                </a:lnTo>
                <a:lnTo>
                  <a:pt x="121251" y="176966"/>
                </a:lnTo>
                <a:lnTo>
                  <a:pt x="121304" y="176966"/>
                </a:lnTo>
                <a:lnTo>
                  <a:pt x="121357" y="177019"/>
                </a:lnTo>
                <a:lnTo>
                  <a:pt x="121410" y="176861"/>
                </a:lnTo>
                <a:lnTo>
                  <a:pt x="121568" y="176755"/>
                </a:lnTo>
                <a:lnTo>
                  <a:pt x="121621" y="176649"/>
                </a:lnTo>
                <a:lnTo>
                  <a:pt x="121568" y="176544"/>
                </a:lnTo>
                <a:lnTo>
                  <a:pt x="121251" y="176438"/>
                </a:lnTo>
                <a:lnTo>
                  <a:pt x="121146" y="176333"/>
                </a:lnTo>
                <a:lnTo>
                  <a:pt x="121146" y="176280"/>
                </a:lnTo>
                <a:lnTo>
                  <a:pt x="120618" y="176227"/>
                </a:lnTo>
                <a:close/>
                <a:moveTo>
                  <a:pt x="121727" y="176649"/>
                </a:moveTo>
                <a:lnTo>
                  <a:pt x="121727" y="176702"/>
                </a:lnTo>
                <a:lnTo>
                  <a:pt x="121780" y="176755"/>
                </a:lnTo>
                <a:lnTo>
                  <a:pt x="121780" y="176913"/>
                </a:lnTo>
                <a:lnTo>
                  <a:pt x="121674" y="177019"/>
                </a:lnTo>
                <a:lnTo>
                  <a:pt x="121832" y="177125"/>
                </a:lnTo>
                <a:lnTo>
                  <a:pt x="121938" y="177125"/>
                </a:lnTo>
                <a:lnTo>
                  <a:pt x="121991" y="177072"/>
                </a:lnTo>
                <a:lnTo>
                  <a:pt x="121991" y="177019"/>
                </a:lnTo>
                <a:lnTo>
                  <a:pt x="121991" y="176913"/>
                </a:lnTo>
                <a:lnTo>
                  <a:pt x="121938" y="176808"/>
                </a:lnTo>
                <a:lnTo>
                  <a:pt x="121727" y="176649"/>
                </a:lnTo>
                <a:close/>
                <a:moveTo>
                  <a:pt x="120142" y="177125"/>
                </a:moveTo>
                <a:lnTo>
                  <a:pt x="120195" y="177230"/>
                </a:lnTo>
                <a:lnTo>
                  <a:pt x="120248" y="177230"/>
                </a:lnTo>
                <a:lnTo>
                  <a:pt x="120248" y="177125"/>
                </a:lnTo>
                <a:close/>
                <a:moveTo>
                  <a:pt x="131549" y="175593"/>
                </a:moveTo>
                <a:lnTo>
                  <a:pt x="131549" y="175646"/>
                </a:lnTo>
                <a:lnTo>
                  <a:pt x="131549" y="175699"/>
                </a:lnTo>
                <a:lnTo>
                  <a:pt x="131549" y="175804"/>
                </a:lnTo>
                <a:lnTo>
                  <a:pt x="131497" y="175857"/>
                </a:lnTo>
                <a:lnTo>
                  <a:pt x="131497" y="175910"/>
                </a:lnTo>
                <a:lnTo>
                  <a:pt x="131391" y="175910"/>
                </a:lnTo>
                <a:lnTo>
                  <a:pt x="131285" y="175963"/>
                </a:lnTo>
                <a:lnTo>
                  <a:pt x="131285" y="176068"/>
                </a:lnTo>
                <a:lnTo>
                  <a:pt x="131285" y="176227"/>
                </a:lnTo>
                <a:lnTo>
                  <a:pt x="131180" y="176280"/>
                </a:lnTo>
                <a:lnTo>
                  <a:pt x="131233" y="176333"/>
                </a:lnTo>
                <a:lnTo>
                  <a:pt x="131444" y="176333"/>
                </a:lnTo>
                <a:lnTo>
                  <a:pt x="131497" y="176438"/>
                </a:lnTo>
                <a:lnTo>
                  <a:pt x="131444" y="176491"/>
                </a:lnTo>
                <a:lnTo>
                  <a:pt x="131285" y="176491"/>
                </a:lnTo>
                <a:lnTo>
                  <a:pt x="131233" y="176544"/>
                </a:lnTo>
                <a:lnTo>
                  <a:pt x="131338" y="176649"/>
                </a:lnTo>
                <a:lnTo>
                  <a:pt x="131338" y="176702"/>
                </a:lnTo>
                <a:lnTo>
                  <a:pt x="131233" y="176702"/>
                </a:lnTo>
                <a:lnTo>
                  <a:pt x="131021" y="176544"/>
                </a:lnTo>
                <a:lnTo>
                  <a:pt x="130968" y="176597"/>
                </a:lnTo>
                <a:lnTo>
                  <a:pt x="130968" y="176702"/>
                </a:lnTo>
                <a:lnTo>
                  <a:pt x="131074" y="176755"/>
                </a:lnTo>
                <a:lnTo>
                  <a:pt x="131074" y="176808"/>
                </a:lnTo>
                <a:lnTo>
                  <a:pt x="131074" y="176861"/>
                </a:lnTo>
                <a:lnTo>
                  <a:pt x="131180" y="176913"/>
                </a:lnTo>
                <a:lnTo>
                  <a:pt x="131127" y="176913"/>
                </a:lnTo>
                <a:lnTo>
                  <a:pt x="131021" y="177019"/>
                </a:lnTo>
                <a:lnTo>
                  <a:pt x="131021" y="177072"/>
                </a:lnTo>
                <a:lnTo>
                  <a:pt x="131021" y="177177"/>
                </a:lnTo>
                <a:lnTo>
                  <a:pt x="131074" y="177177"/>
                </a:lnTo>
                <a:lnTo>
                  <a:pt x="131180" y="177230"/>
                </a:lnTo>
                <a:lnTo>
                  <a:pt x="131391" y="177230"/>
                </a:lnTo>
                <a:lnTo>
                  <a:pt x="131391" y="177125"/>
                </a:lnTo>
                <a:lnTo>
                  <a:pt x="131391" y="176966"/>
                </a:lnTo>
                <a:lnTo>
                  <a:pt x="131391" y="176861"/>
                </a:lnTo>
                <a:lnTo>
                  <a:pt x="131444" y="176913"/>
                </a:lnTo>
                <a:lnTo>
                  <a:pt x="131497" y="177019"/>
                </a:lnTo>
                <a:lnTo>
                  <a:pt x="131602" y="177230"/>
                </a:lnTo>
                <a:lnTo>
                  <a:pt x="131655" y="177283"/>
                </a:lnTo>
                <a:lnTo>
                  <a:pt x="131708" y="177283"/>
                </a:lnTo>
                <a:lnTo>
                  <a:pt x="131761" y="177230"/>
                </a:lnTo>
                <a:lnTo>
                  <a:pt x="131761" y="177177"/>
                </a:lnTo>
                <a:lnTo>
                  <a:pt x="131761" y="177125"/>
                </a:lnTo>
                <a:lnTo>
                  <a:pt x="131602" y="177072"/>
                </a:lnTo>
                <a:lnTo>
                  <a:pt x="131602" y="176649"/>
                </a:lnTo>
                <a:lnTo>
                  <a:pt x="131708" y="176333"/>
                </a:lnTo>
                <a:lnTo>
                  <a:pt x="131708" y="176227"/>
                </a:lnTo>
                <a:lnTo>
                  <a:pt x="131602" y="176227"/>
                </a:lnTo>
                <a:lnTo>
                  <a:pt x="131549" y="176174"/>
                </a:lnTo>
                <a:lnTo>
                  <a:pt x="131549" y="176068"/>
                </a:lnTo>
                <a:lnTo>
                  <a:pt x="131549" y="175963"/>
                </a:lnTo>
                <a:lnTo>
                  <a:pt x="131602" y="175910"/>
                </a:lnTo>
                <a:lnTo>
                  <a:pt x="131655" y="175804"/>
                </a:lnTo>
                <a:lnTo>
                  <a:pt x="131655" y="175699"/>
                </a:lnTo>
                <a:lnTo>
                  <a:pt x="131549" y="175593"/>
                </a:lnTo>
                <a:close/>
                <a:moveTo>
                  <a:pt x="263997" y="175329"/>
                </a:moveTo>
                <a:lnTo>
                  <a:pt x="264049" y="175382"/>
                </a:lnTo>
                <a:lnTo>
                  <a:pt x="263944" y="175435"/>
                </a:lnTo>
                <a:lnTo>
                  <a:pt x="263891" y="175435"/>
                </a:lnTo>
                <a:lnTo>
                  <a:pt x="263838" y="175488"/>
                </a:lnTo>
                <a:lnTo>
                  <a:pt x="263838" y="175646"/>
                </a:lnTo>
                <a:lnTo>
                  <a:pt x="263838" y="175804"/>
                </a:lnTo>
                <a:lnTo>
                  <a:pt x="263838" y="175910"/>
                </a:lnTo>
                <a:lnTo>
                  <a:pt x="263891" y="175963"/>
                </a:lnTo>
                <a:lnTo>
                  <a:pt x="263944" y="176016"/>
                </a:lnTo>
                <a:lnTo>
                  <a:pt x="263944" y="176121"/>
                </a:lnTo>
                <a:lnTo>
                  <a:pt x="263997" y="176174"/>
                </a:lnTo>
                <a:lnTo>
                  <a:pt x="264102" y="176280"/>
                </a:lnTo>
                <a:lnTo>
                  <a:pt x="264155" y="176438"/>
                </a:lnTo>
                <a:lnTo>
                  <a:pt x="264155" y="176544"/>
                </a:lnTo>
                <a:lnTo>
                  <a:pt x="264049" y="176544"/>
                </a:lnTo>
                <a:lnTo>
                  <a:pt x="263944" y="176491"/>
                </a:lnTo>
                <a:lnTo>
                  <a:pt x="263891" y="176491"/>
                </a:lnTo>
                <a:lnTo>
                  <a:pt x="263785" y="176702"/>
                </a:lnTo>
                <a:lnTo>
                  <a:pt x="263838" y="176755"/>
                </a:lnTo>
                <a:lnTo>
                  <a:pt x="263838" y="176808"/>
                </a:lnTo>
                <a:lnTo>
                  <a:pt x="263680" y="177230"/>
                </a:lnTo>
                <a:lnTo>
                  <a:pt x="263680" y="177389"/>
                </a:lnTo>
                <a:lnTo>
                  <a:pt x="263732" y="177442"/>
                </a:lnTo>
                <a:lnTo>
                  <a:pt x="263732" y="177494"/>
                </a:lnTo>
                <a:lnTo>
                  <a:pt x="263732" y="177547"/>
                </a:lnTo>
                <a:lnTo>
                  <a:pt x="263785" y="177547"/>
                </a:lnTo>
                <a:lnTo>
                  <a:pt x="263891" y="177442"/>
                </a:lnTo>
                <a:lnTo>
                  <a:pt x="263944" y="177389"/>
                </a:lnTo>
                <a:lnTo>
                  <a:pt x="263997" y="177336"/>
                </a:lnTo>
                <a:lnTo>
                  <a:pt x="263997" y="177177"/>
                </a:lnTo>
                <a:lnTo>
                  <a:pt x="263944" y="177019"/>
                </a:lnTo>
                <a:lnTo>
                  <a:pt x="263891" y="176913"/>
                </a:lnTo>
                <a:lnTo>
                  <a:pt x="263944" y="176913"/>
                </a:lnTo>
                <a:lnTo>
                  <a:pt x="264049" y="177019"/>
                </a:lnTo>
                <a:lnTo>
                  <a:pt x="264155" y="177177"/>
                </a:lnTo>
                <a:lnTo>
                  <a:pt x="264208" y="177283"/>
                </a:lnTo>
                <a:lnTo>
                  <a:pt x="264208" y="177336"/>
                </a:lnTo>
                <a:lnTo>
                  <a:pt x="264208" y="177442"/>
                </a:lnTo>
                <a:lnTo>
                  <a:pt x="264313" y="177494"/>
                </a:lnTo>
                <a:lnTo>
                  <a:pt x="264313" y="177547"/>
                </a:lnTo>
                <a:lnTo>
                  <a:pt x="264366" y="177547"/>
                </a:lnTo>
                <a:lnTo>
                  <a:pt x="264683" y="177494"/>
                </a:lnTo>
                <a:lnTo>
                  <a:pt x="264789" y="177442"/>
                </a:lnTo>
                <a:lnTo>
                  <a:pt x="264894" y="177336"/>
                </a:lnTo>
                <a:lnTo>
                  <a:pt x="264947" y="177125"/>
                </a:lnTo>
                <a:lnTo>
                  <a:pt x="264947" y="177019"/>
                </a:lnTo>
                <a:lnTo>
                  <a:pt x="264947" y="176966"/>
                </a:lnTo>
                <a:lnTo>
                  <a:pt x="264894" y="176861"/>
                </a:lnTo>
                <a:lnTo>
                  <a:pt x="264894" y="176808"/>
                </a:lnTo>
                <a:lnTo>
                  <a:pt x="264894" y="176755"/>
                </a:lnTo>
                <a:lnTo>
                  <a:pt x="264894" y="176649"/>
                </a:lnTo>
                <a:lnTo>
                  <a:pt x="264894" y="176597"/>
                </a:lnTo>
                <a:lnTo>
                  <a:pt x="264894" y="176438"/>
                </a:lnTo>
                <a:lnTo>
                  <a:pt x="264841" y="176280"/>
                </a:lnTo>
                <a:lnTo>
                  <a:pt x="264841" y="176121"/>
                </a:lnTo>
                <a:lnTo>
                  <a:pt x="264841" y="175963"/>
                </a:lnTo>
                <a:lnTo>
                  <a:pt x="264736" y="175804"/>
                </a:lnTo>
                <a:lnTo>
                  <a:pt x="264472" y="175752"/>
                </a:lnTo>
                <a:lnTo>
                  <a:pt x="264313" y="175540"/>
                </a:lnTo>
                <a:lnTo>
                  <a:pt x="264208" y="175435"/>
                </a:lnTo>
                <a:lnTo>
                  <a:pt x="264102" y="175329"/>
                </a:lnTo>
                <a:close/>
                <a:moveTo>
                  <a:pt x="258029" y="176016"/>
                </a:moveTo>
                <a:lnTo>
                  <a:pt x="257976" y="176068"/>
                </a:lnTo>
                <a:lnTo>
                  <a:pt x="257923" y="176121"/>
                </a:lnTo>
                <a:lnTo>
                  <a:pt x="257871" y="176227"/>
                </a:lnTo>
                <a:lnTo>
                  <a:pt x="257871" y="176597"/>
                </a:lnTo>
                <a:lnTo>
                  <a:pt x="257871" y="176702"/>
                </a:lnTo>
                <a:lnTo>
                  <a:pt x="257871" y="176755"/>
                </a:lnTo>
                <a:lnTo>
                  <a:pt x="257976" y="176808"/>
                </a:lnTo>
                <a:lnTo>
                  <a:pt x="258082" y="176808"/>
                </a:lnTo>
                <a:lnTo>
                  <a:pt x="258135" y="176861"/>
                </a:lnTo>
                <a:lnTo>
                  <a:pt x="258082" y="176913"/>
                </a:lnTo>
                <a:lnTo>
                  <a:pt x="258029" y="176966"/>
                </a:lnTo>
                <a:lnTo>
                  <a:pt x="257976" y="177072"/>
                </a:lnTo>
                <a:lnTo>
                  <a:pt x="257976" y="177177"/>
                </a:lnTo>
                <a:lnTo>
                  <a:pt x="257818" y="177177"/>
                </a:lnTo>
                <a:lnTo>
                  <a:pt x="257765" y="177283"/>
                </a:lnTo>
                <a:lnTo>
                  <a:pt x="258029" y="177442"/>
                </a:lnTo>
                <a:lnTo>
                  <a:pt x="258187" y="177442"/>
                </a:lnTo>
                <a:lnTo>
                  <a:pt x="258187" y="177283"/>
                </a:lnTo>
                <a:lnTo>
                  <a:pt x="258293" y="177389"/>
                </a:lnTo>
                <a:lnTo>
                  <a:pt x="258346" y="177494"/>
                </a:lnTo>
                <a:lnTo>
                  <a:pt x="258346" y="177600"/>
                </a:lnTo>
                <a:lnTo>
                  <a:pt x="258663" y="177283"/>
                </a:lnTo>
                <a:lnTo>
                  <a:pt x="258768" y="177125"/>
                </a:lnTo>
                <a:lnTo>
                  <a:pt x="258504" y="176491"/>
                </a:lnTo>
                <a:lnTo>
                  <a:pt x="258399" y="176333"/>
                </a:lnTo>
                <a:lnTo>
                  <a:pt x="258187" y="176174"/>
                </a:lnTo>
                <a:lnTo>
                  <a:pt x="258082" y="176016"/>
                </a:lnTo>
                <a:close/>
                <a:moveTo>
                  <a:pt x="120301" y="177442"/>
                </a:moveTo>
                <a:lnTo>
                  <a:pt x="120459" y="177706"/>
                </a:lnTo>
                <a:lnTo>
                  <a:pt x="120512" y="177706"/>
                </a:lnTo>
                <a:lnTo>
                  <a:pt x="120512" y="177653"/>
                </a:lnTo>
                <a:lnTo>
                  <a:pt x="120512" y="177600"/>
                </a:lnTo>
                <a:lnTo>
                  <a:pt x="120459" y="177547"/>
                </a:lnTo>
                <a:lnTo>
                  <a:pt x="120354" y="177442"/>
                </a:lnTo>
                <a:close/>
                <a:moveTo>
                  <a:pt x="131866" y="177230"/>
                </a:moveTo>
                <a:lnTo>
                  <a:pt x="131866" y="177283"/>
                </a:lnTo>
                <a:lnTo>
                  <a:pt x="131919" y="177336"/>
                </a:lnTo>
                <a:lnTo>
                  <a:pt x="131919" y="177442"/>
                </a:lnTo>
                <a:lnTo>
                  <a:pt x="132025" y="177389"/>
                </a:lnTo>
                <a:lnTo>
                  <a:pt x="132077" y="177389"/>
                </a:lnTo>
                <a:lnTo>
                  <a:pt x="132183" y="177706"/>
                </a:lnTo>
                <a:lnTo>
                  <a:pt x="132183" y="177811"/>
                </a:lnTo>
                <a:lnTo>
                  <a:pt x="131919" y="177811"/>
                </a:lnTo>
                <a:lnTo>
                  <a:pt x="131919" y="177917"/>
                </a:lnTo>
                <a:lnTo>
                  <a:pt x="131919" y="177970"/>
                </a:lnTo>
                <a:lnTo>
                  <a:pt x="131866" y="178075"/>
                </a:lnTo>
                <a:lnTo>
                  <a:pt x="132025" y="178128"/>
                </a:lnTo>
                <a:lnTo>
                  <a:pt x="132183" y="178022"/>
                </a:lnTo>
                <a:lnTo>
                  <a:pt x="132447" y="177811"/>
                </a:lnTo>
                <a:lnTo>
                  <a:pt x="132342" y="177600"/>
                </a:lnTo>
                <a:lnTo>
                  <a:pt x="132289" y="177494"/>
                </a:lnTo>
                <a:lnTo>
                  <a:pt x="132236" y="177442"/>
                </a:lnTo>
                <a:lnTo>
                  <a:pt x="132236" y="177389"/>
                </a:lnTo>
                <a:lnTo>
                  <a:pt x="132394" y="177389"/>
                </a:lnTo>
                <a:lnTo>
                  <a:pt x="132394" y="177336"/>
                </a:lnTo>
                <a:lnTo>
                  <a:pt x="132394" y="177230"/>
                </a:lnTo>
                <a:close/>
                <a:moveTo>
                  <a:pt x="115706" y="178392"/>
                </a:moveTo>
                <a:lnTo>
                  <a:pt x="115706" y="178445"/>
                </a:lnTo>
                <a:lnTo>
                  <a:pt x="115759" y="178498"/>
                </a:lnTo>
                <a:lnTo>
                  <a:pt x="115812" y="178498"/>
                </a:lnTo>
                <a:lnTo>
                  <a:pt x="115812" y="178445"/>
                </a:lnTo>
                <a:lnTo>
                  <a:pt x="115706" y="178392"/>
                </a:lnTo>
                <a:close/>
                <a:moveTo>
                  <a:pt x="132711" y="177970"/>
                </a:moveTo>
                <a:lnTo>
                  <a:pt x="132606" y="178022"/>
                </a:lnTo>
                <a:lnTo>
                  <a:pt x="132553" y="178075"/>
                </a:lnTo>
                <a:lnTo>
                  <a:pt x="132606" y="178075"/>
                </a:lnTo>
                <a:lnTo>
                  <a:pt x="132658" y="178181"/>
                </a:lnTo>
                <a:lnTo>
                  <a:pt x="132553" y="178286"/>
                </a:lnTo>
                <a:lnTo>
                  <a:pt x="132553" y="178445"/>
                </a:lnTo>
                <a:lnTo>
                  <a:pt x="132711" y="178551"/>
                </a:lnTo>
                <a:lnTo>
                  <a:pt x="132922" y="178392"/>
                </a:lnTo>
                <a:lnTo>
                  <a:pt x="133028" y="178286"/>
                </a:lnTo>
                <a:lnTo>
                  <a:pt x="133081" y="178181"/>
                </a:lnTo>
                <a:lnTo>
                  <a:pt x="133081" y="178075"/>
                </a:lnTo>
                <a:lnTo>
                  <a:pt x="133028" y="178181"/>
                </a:lnTo>
                <a:lnTo>
                  <a:pt x="132870" y="178181"/>
                </a:lnTo>
                <a:lnTo>
                  <a:pt x="132764" y="178075"/>
                </a:lnTo>
                <a:lnTo>
                  <a:pt x="132764" y="178022"/>
                </a:lnTo>
                <a:lnTo>
                  <a:pt x="132711" y="177970"/>
                </a:lnTo>
                <a:close/>
                <a:moveTo>
                  <a:pt x="129912" y="175171"/>
                </a:moveTo>
                <a:lnTo>
                  <a:pt x="129859" y="175276"/>
                </a:lnTo>
                <a:lnTo>
                  <a:pt x="129648" y="175540"/>
                </a:lnTo>
                <a:lnTo>
                  <a:pt x="129595" y="175540"/>
                </a:lnTo>
                <a:lnTo>
                  <a:pt x="129595" y="175646"/>
                </a:lnTo>
                <a:lnTo>
                  <a:pt x="129648" y="175699"/>
                </a:lnTo>
                <a:lnTo>
                  <a:pt x="129648" y="175752"/>
                </a:lnTo>
                <a:lnTo>
                  <a:pt x="129648" y="175857"/>
                </a:lnTo>
                <a:lnTo>
                  <a:pt x="129595" y="175910"/>
                </a:lnTo>
                <a:lnTo>
                  <a:pt x="129437" y="175910"/>
                </a:lnTo>
                <a:lnTo>
                  <a:pt x="129543" y="176174"/>
                </a:lnTo>
                <a:lnTo>
                  <a:pt x="129437" y="176174"/>
                </a:lnTo>
                <a:lnTo>
                  <a:pt x="129015" y="175963"/>
                </a:lnTo>
                <a:lnTo>
                  <a:pt x="129015" y="175963"/>
                </a:lnTo>
                <a:lnTo>
                  <a:pt x="129067" y="176121"/>
                </a:lnTo>
                <a:lnTo>
                  <a:pt x="129226" y="176544"/>
                </a:lnTo>
                <a:lnTo>
                  <a:pt x="129279" y="176649"/>
                </a:lnTo>
                <a:lnTo>
                  <a:pt x="129120" y="176649"/>
                </a:lnTo>
                <a:lnTo>
                  <a:pt x="129120" y="176597"/>
                </a:lnTo>
                <a:lnTo>
                  <a:pt x="129120" y="176544"/>
                </a:lnTo>
                <a:lnTo>
                  <a:pt x="129067" y="176438"/>
                </a:lnTo>
                <a:lnTo>
                  <a:pt x="129015" y="176333"/>
                </a:lnTo>
                <a:lnTo>
                  <a:pt x="128909" y="176333"/>
                </a:lnTo>
                <a:lnTo>
                  <a:pt x="128856" y="176385"/>
                </a:lnTo>
                <a:lnTo>
                  <a:pt x="128909" y="176491"/>
                </a:lnTo>
                <a:lnTo>
                  <a:pt x="129067" y="176702"/>
                </a:lnTo>
                <a:lnTo>
                  <a:pt x="129120" y="176808"/>
                </a:lnTo>
                <a:lnTo>
                  <a:pt x="128962" y="176808"/>
                </a:lnTo>
                <a:lnTo>
                  <a:pt x="128750" y="176649"/>
                </a:lnTo>
                <a:lnTo>
                  <a:pt x="128592" y="176649"/>
                </a:lnTo>
                <a:lnTo>
                  <a:pt x="128539" y="176702"/>
                </a:lnTo>
                <a:lnTo>
                  <a:pt x="128539" y="176755"/>
                </a:lnTo>
                <a:lnTo>
                  <a:pt x="128592" y="176808"/>
                </a:lnTo>
                <a:lnTo>
                  <a:pt x="128750" y="176861"/>
                </a:lnTo>
                <a:lnTo>
                  <a:pt x="128803" y="176913"/>
                </a:lnTo>
                <a:lnTo>
                  <a:pt x="128856" y="177019"/>
                </a:lnTo>
                <a:lnTo>
                  <a:pt x="128856" y="177072"/>
                </a:lnTo>
                <a:lnTo>
                  <a:pt x="128645" y="177072"/>
                </a:lnTo>
                <a:lnTo>
                  <a:pt x="128592" y="177125"/>
                </a:lnTo>
                <a:lnTo>
                  <a:pt x="128592" y="177177"/>
                </a:lnTo>
                <a:lnTo>
                  <a:pt x="128962" y="177230"/>
                </a:lnTo>
                <a:lnTo>
                  <a:pt x="128909" y="177389"/>
                </a:lnTo>
                <a:lnTo>
                  <a:pt x="128856" y="177494"/>
                </a:lnTo>
                <a:lnTo>
                  <a:pt x="128803" y="177547"/>
                </a:lnTo>
                <a:lnTo>
                  <a:pt x="128698" y="177600"/>
                </a:lnTo>
                <a:lnTo>
                  <a:pt x="128486" y="178075"/>
                </a:lnTo>
                <a:lnTo>
                  <a:pt x="128381" y="178181"/>
                </a:lnTo>
                <a:lnTo>
                  <a:pt x="128328" y="178181"/>
                </a:lnTo>
                <a:lnTo>
                  <a:pt x="128275" y="178234"/>
                </a:lnTo>
                <a:lnTo>
                  <a:pt x="128275" y="178445"/>
                </a:lnTo>
                <a:lnTo>
                  <a:pt x="128275" y="178551"/>
                </a:lnTo>
                <a:lnTo>
                  <a:pt x="128381" y="178656"/>
                </a:lnTo>
                <a:lnTo>
                  <a:pt x="128434" y="178656"/>
                </a:lnTo>
                <a:lnTo>
                  <a:pt x="128486" y="178392"/>
                </a:lnTo>
                <a:lnTo>
                  <a:pt x="128539" y="178286"/>
                </a:lnTo>
                <a:lnTo>
                  <a:pt x="128698" y="178128"/>
                </a:lnTo>
                <a:lnTo>
                  <a:pt x="128803" y="177917"/>
                </a:lnTo>
                <a:lnTo>
                  <a:pt x="129015" y="177653"/>
                </a:lnTo>
                <a:lnTo>
                  <a:pt x="129226" y="177389"/>
                </a:lnTo>
                <a:lnTo>
                  <a:pt x="129331" y="177230"/>
                </a:lnTo>
                <a:lnTo>
                  <a:pt x="129331" y="177177"/>
                </a:lnTo>
                <a:lnTo>
                  <a:pt x="129279" y="177019"/>
                </a:lnTo>
                <a:lnTo>
                  <a:pt x="129384" y="177019"/>
                </a:lnTo>
                <a:lnTo>
                  <a:pt x="129595" y="177125"/>
                </a:lnTo>
                <a:lnTo>
                  <a:pt x="129701" y="177072"/>
                </a:lnTo>
                <a:lnTo>
                  <a:pt x="129648" y="176966"/>
                </a:lnTo>
                <a:lnTo>
                  <a:pt x="129490" y="176808"/>
                </a:lnTo>
                <a:lnTo>
                  <a:pt x="129595" y="176755"/>
                </a:lnTo>
                <a:lnTo>
                  <a:pt x="129648" y="176544"/>
                </a:lnTo>
                <a:lnTo>
                  <a:pt x="129754" y="176544"/>
                </a:lnTo>
                <a:lnTo>
                  <a:pt x="129807" y="176597"/>
                </a:lnTo>
                <a:lnTo>
                  <a:pt x="129859" y="176702"/>
                </a:lnTo>
                <a:lnTo>
                  <a:pt x="129912" y="176755"/>
                </a:lnTo>
                <a:lnTo>
                  <a:pt x="129965" y="176755"/>
                </a:lnTo>
                <a:lnTo>
                  <a:pt x="129965" y="176702"/>
                </a:lnTo>
                <a:lnTo>
                  <a:pt x="129965" y="176597"/>
                </a:lnTo>
                <a:lnTo>
                  <a:pt x="130124" y="176544"/>
                </a:lnTo>
                <a:lnTo>
                  <a:pt x="130124" y="176438"/>
                </a:lnTo>
                <a:lnTo>
                  <a:pt x="130124" y="176227"/>
                </a:lnTo>
                <a:lnTo>
                  <a:pt x="130124" y="176121"/>
                </a:lnTo>
                <a:lnTo>
                  <a:pt x="130018" y="176068"/>
                </a:lnTo>
                <a:lnTo>
                  <a:pt x="129965" y="176174"/>
                </a:lnTo>
                <a:lnTo>
                  <a:pt x="129912" y="176385"/>
                </a:lnTo>
                <a:lnTo>
                  <a:pt x="129807" y="176438"/>
                </a:lnTo>
                <a:lnTo>
                  <a:pt x="129754" y="176333"/>
                </a:lnTo>
                <a:lnTo>
                  <a:pt x="129807" y="175910"/>
                </a:lnTo>
                <a:lnTo>
                  <a:pt x="129701" y="175752"/>
                </a:lnTo>
                <a:lnTo>
                  <a:pt x="129859" y="175699"/>
                </a:lnTo>
                <a:lnTo>
                  <a:pt x="129965" y="175646"/>
                </a:lnTo>
                <a:lnTo>
                  <a:pt x="130018" y="175540"/>
                </a:lnTo>
                <a:lnTo>
                  <a:pt x="129965" y="175276"/>
                </a:lnTo>
                <a:lnTo>
                  <a:pt x="129912" y="175171"/>
                </a:lnTo>
                <a:close/>
                <a:moveTo>
                  <a:pt x="265422" y="177653"/>
                </a:moveTo>
                <a:lnTo>
                  <a:pt x="265106" y="177970"/>
                </a:lnTo>
                <a:lnTo>
                  <a:pt x="265000" y="177864"/>
                </a:lnTo>
                <a:lnTo>
                  <a:pt x="264894" y="177917"/>
                </a:lnTo>
                <a:lnTo>
                  <a:pt x="264630" y="178022"/>
                </a:lnTo>
                <a:lnTo>
                  <a:pt x="264525" y="178022"/>
                </a:lnTo>
                <a:lnTo>
                  <a:pt x="264419" y="178075"/>
                </a:lnTo>
                <a:lnTo>
                  <a:pt x="264419" y="178234"/>
                </a:lnTo>
                <a:lnTo>
                  <a:pt x="264472" y="178339"/>
                </a:lnTo>
                <a:lnTo>
                  <a:pt x="264577" y="178286"/>
                </a:lnTo>
                <a:lnTo>
                  <a:pt x="264683" y="178392"/>
                </a:lnTo>
                <a:lnTo>
                  <a:pt x="264841" y="178603"/>
                </a:lnTo>
                <a:lnTo>
                  <a:pt x="264841" y="178656"/>
                </a:lnTo>
                <a:lnTo>
                  <a:pt x="264947" y="178762"/>
                </a:lnTo>
                <a:lnTo>
                  <a:pt x="265106" y="178762"/>
                </a:lnTo>
                <a:lnTo>
                  <a:pt x="265211" y="178709"/>
                </a:lnTo>
                <a:lnTo>
                  <a:pt x="265264" y="178603"/>
                </a:lnTo>
                <a:lnTo>
                  <a:pt x="265528" y="178603"/>
                </a:lnTo>
                <a:lnTo>
                  <a:pt x="265739" y="178498"/>
                </a:lnTo>
                <a:lnTo>
                  <a:pt x="265739" y="178445"/>
                </a:lnTo>
                <a:lnTo>
                  <a:pt x="265739" y="178339"/>
                </a:lnTo>
                <a:lnTo>
                  <a:pt x="265634" y="178234"/>
                </a:lnTo>
                <a:lnTo>
                  <a:pt x="265475" y="178181"/>
                </a:lnTo>
                <a:lnTo>
                  <a:pt x="265475" y="178128"/>
                </a:lnTo>
                <a:lnTo>
                  <a:pt x="265528" y="178022"/>
                </a:lnTo>
                <a:lnTo>
                  <a:pt x="265528" y="177970"/>
                </a:lnTo>
                <a:lnTo>
                  <a:pt x="265528" y="177811"/>
                </a:lnTo>
                <a:lnTo>
                  <a:pt x="265528" y="177706"/>
                </a:lnTo>
                <a:lnTo>
                  <a:pt x="265528" y="177653"/>
                </a:lnTo>
                <a:close/>
                <a:moveTo>
                  <a:pt x="146072" y="0"/>
                </a:moveTo>
                <a:lnTo>
                  <a:pt x="145914" y="106"/>
                </a:lnTo>
                <a:lnTo>
                  <a:pt x="145808" y="317"/>
                </a:lnTo>
                <a:lnTo>
                  <a:pt x="145491" y="687"/>
                </a:lnTo>
                <a:lnTo>
                  <a:pt x="145069" y="898"/>
                </a:lnTo>
                <a:lnTo>
                  <a:pt x="144382" y="1531"/>
                </a:lnTo>
                <a:lnTo>
                  <a:pt x="143432" y="3063"/>
                </a:lnTo>
                <a:lnTo>
                  <a:pt x="143115" y="3750"/>
                </a:lnTo>
                <a:lnTo>
                  <a:pt x="142481" y="5017"/>
                </a:lnTo>
                <a:lnTo>
                  <a:pt x="140897" y="6760"/>
                </a:lnTo>
                <a:lnTo>
                  <a:pt x="140791" y="6760"/>
                </a:lnTo>
                <a:lnTo>
                  <a:pt x="140738" y="6812"/>
                </a:lnTo>
                <a:lnTo>
                  <a:pt x="140580" y="7024"/>
                </a:lnTo>
                <a:lnTo>
                  <a:pt x="140369" y="7129"/>
                </a:lnTo>
                <a:lnTo>
                  <a:pt x="139471" y="7921"/>
                </a:lnTo>
                <a:lnTo>
                  <a:pt x="138626" y="8344"/>
                </a:lnTo>
                <a:lnTo>
                  <a:pt x="136989" y="8344"/>
                </a:lnTo>
                <a:lnTo>
                  <a:pt x="136566" y="8133"/>
                </a:lnTo>
                <a:lnTo>
                  <a:pt x="136355" y="8133"/>
                </a:lnTo>
                <a:lnTo>
                  <a:pt x="136514" y="8450"/>
                </a:lnTo>
                <a:lnTo>
                  <a:pt x="136725" y="8555"/>
                </a:lnTo>
                <a:lnTo>
                  <a:pt x="137200" y="8608"/>
                </a:lnTo>
                <a:lnTo>
                  <a:pt x="135405" y="9031"/>
                </a:lnTo>
                <a:lnTo>
                  <a:pt x="133820" y="8661"/>
                </a:lnTo>
                <a:lnTo>
                  <a:pt x="133662" y="8819"/>
                </a:lnTo>
                <a:lnTo>
                  <a:pt x="133926" y="8819"/>
                </a:lnTo>
                <a:lnTo>
                  <a:pt x="134084" y="8925"/>
                </a:lnTo>
                <a:lnTo>
                  <a:pt x="134137" y="9242"/>
                </a:lnTo>
                <a:lnTo>
                  <a:pt x="133503" y="9400"/>
                </a:lnTo>
                <a:lnTo>
                  <a:pt x="132975" y="9295"/>
                </a:lnTo>
                <a:lnTo>
                  <a:pt x="132764" y="9400"/>
                </a:lnTo>
                <a:lnTo>
                  <a:pt x="132817" y="9664"/>
                </a:lnTo>
                <a:lnTo>
                  <a:pt x="133081" y="10404"/>
                </a:lnTo>
                <a:lnTo>
                  <a:pt x="133081" y="10509"/>
                </a:lnTo>
                <a:lnTo>
                  <a:pt x="132922" y="10245"/>
                </a:lnTo>
                <a:lnTo>
                  <a:pt x="132658" y="9928"/>
                </a:lnTo>
                <a:lnTo>
                  <a:pt x="132553" y="9717"/>
                </a:lnTo>
                <a:lnTo>
                  <a:pt x="132606" y="9717"/>
                </a:lnTo>
                <a:lnTo>
                  <a:pt x="132658" y="9611"/>
                </a:lnTo>
                <a:lnTo>
                  <a:pt x="132658" y="9506"/>
                </a:lnTo>
                <a:lnTo>
                  <a:pt x="132553" y="9347"/>
                </a:lnTo>
                <a:lnTo>
                  <a:pt x="132500" y="9400"/>
                </a:lnTo>
                <a:lnTo>
                  <a:pt x="132394" y="9506"/>
                </a:lnTo>
                <a:lnTo>
                  <a:pt x="132289" y="9506"/>
                </a:lnTo>
                <a:lnTo>
                  <a:pt x="132236" y="9400"/>
                </a:lnTo>
                <a:lnTo>
                  <a:pt x="131972" y="9242"/>
                </a:lnTo>
                <a:lnTo>
                  <a:pt x="131972" y="9136"/>
                </a:lnTo>
                <a:lnTo>
                  <a:pt x="132130" y="9136"/>
                </a:lnTo>
                <a:lnTo>
                  <a:pt x="132606" y="8766"/>
                </a:lnTo>
                <a:lnTo>
                  <a:pt x="133239" y="8714"/>
                </a:lnTo>
                <a:lnTo>
                  <a:pt x="133398" y="8555"/>
                </a:lnTo>
                <a:lnTo>
                  <a:pt x="133345" y="8291"/>
                </a:lnTo>
                <a:lnTo>
                  <a:pt x="133239" y="8133"/>
                </a:lnTo>
                <a:lnTo>
                  <a:pt x="132342" y="8291"/>
                </a:lnTo>
                <a:lnTo>
                  <a:pt x="132553" y="8080"/>
                </a:lnTo>
                <a:lnTo>
                  <a:pt x="133134" y="7974"/>
                </a:lnTo>
                <a:lnTo>
                  <a:pt x="133345" y="7710"/>
                </a:lnTo>
                <a:lnTo>
                  <a:pt x="132447" y="8027"/>
                </a:lnTo>
                <a:lnTo>
                  <a:pt x="132289" y="8238"/>
                </a:lnTo>
                <a:lnTo>
                  <a:pt x="132130" y="8344"/>
                </a:lnTo>
                <a:lnTo>
                  <a:pt x="131602" y="8450"/>
                </a:lnTo>
                <a:lnTo>
                  <a:pt x="131497" y="8502"/>
                </a:lnTo>
                <a:lnTo>
                  <a:pt x="131285" y="8714"/>
                </a:lnTo>
                <a:lnTo>
                  <a:pt x="131021" y="8819"/>
                </a:lnTo>
                <a:lnTo>
                  <a:pt x="130916" y="8872"/>
                </a:lnTo>
                <a:lnTo>
                  <a:pt x="130863" y="8978"/>
                </a:lnTo>
                <a:lnTo>
                  <a:pt x="130704" y="9242"/>
                </a:lnTo>
                <a:lnTo>
                  <a:pt x="130229" y="9981"/>
                </a:lnTo>
                <a:lnTo>
                  <a:pt x="130071" y="10140"/>
                </a:lnTo>
                <a:lnTo>
                  <a:pt x="130229" y="10140"/>
                </a:lnTo>
                <a:lnTo>
                  <a:pt x="130124" y="10245"/>
                </a:lnTo>
                <a:lnTo>
                  <a:pt x="129859" y="10298"/>
                </a:lnTo>
                <a:lnTo>
                  <a:pt x="129754" y="10351"/>
                </a:lnTo>
                <a:lnTo>
                  <a:pt x="128909" y="11249"/>
                </a:lnTo>
                <a:lnTo>
                  <a:pt x="128750" y="11460"/>
                </a:lnTo>
                <a:lnTo>
                  <a:pt x="128750" y="11618"/>
                </a:lnTo>
                <a:lnTo>
                  <a:pt x="128750" y="11671"/>
                </a:lnTo>
                <a:lnTo>
                  <a:pt x="128750" y="11724"/>
                </a:lnTo>
                <a:lnTo>
                  <a:pt x="129015" y="11460"/>
                </a:lnTo>
                <a:lnTo>
                  <a:pt x="129279" y="11249"/>
                </a:lnTo>
                <a:lnTo>
                  <a:pt x="129543" y="11301"/>
                </a:lnTo>
                <a:lnTo>
                  <a:pt x="129859" y="11777"/>
                </a:lnTo>
                <a:lnTo>
                  <a:pt x="129912" y="11777"/>
                </a:lnTo>
                <a:lnTo>
                  <a:pt x="129965" y="11829"/>
                </a:lnTo>
                <a:lnTo>
                  <a:pt x="129965" y="11988"/>
                </a:lnTo>
                <a:lnTo>
                  <a:pt x="129965" y="12093"/>
                </a:lnTo>
                <a:lnTo>
                  <a:pt x="129965" y="12252"/>
                </a:lnTo>
                <a:lnTo>
                  <a:pt x="129965" y="12358"/>
                </a:lnTo>
                <a:lnTo>
                  <a:pt x="130018" y="12463"/>
                </a:lnTo>
                <a:lnTo>
                  <a:pt x="130071" y="12622"/>
                </a:lnTo>
                <a:lnTo>
                  <a:pt x="130388" y="12991"/>
                </a:lnTo>
                <a:lnTo>
                  <a:pt x="130493" y="13150"/>
                </a:lnTo>
                <a:lnTo>
                  <a:pt x="130493" y="13202"/>
                </a:lnTo>
                <a:lnTo>
                  <a:pt x="130599" y="13255"/>
                </a:lnTo>
                <a:lnTo>
                  <a:pt x="130757" y="13255"/>
                </a:lnTo>
                <a:lnTo>
                  <a:pt x="130863" y="13202"/>
                </a:lnTo>
                <a:lnTo>
                  <a:pt x="130916" y="13150"/>
                </a:lnTo>
                <a:lnTo>
                  <a:pt x="130968" y="13044"/>
                </a:lnTo>
                <a:lnTo>
                  <a:pt x="131021" y="12991"/>
                </a:lnTo>
                <a:lnTo>
                  <a:pt x="131391" y="12991"/>
                </a:lnTo>
                <a:lnTo>
                  <a:pt x="131391" y="12833"/>
                </a:lnTo>
                <a:lnTo>
                  <a:pt x="131391" y="12780"/>
                </a:lnTo>
                <a:lnTo>
                  <a:pt x="131549" y="12780"/>
                </a:lnTo>
                <a:lnTo>
                  <a:pt x="132077" y="12886"/>
                </a:lnTo>
                <a:lnTo>
                  <a:pt x="132711" y="12727"/>
                </a:lnTo>
                <a:lnTo>
                  <a:pt x="132658" y="12886"/>
                </a:lnTo>
                <a:lnTo>
                  <a:pt x="132553" y="12938"/>
                </a:lnTo>
                <a:lnTo>
                  <a:pt x="132342" y="12991"/>
                </a:lnTo>
                <a:lnTo>
                  <a:pt x="132077" y="13255"/>
                </a:lnTo>
                <a:lnTo>
                  <a:pt x="132025" y="13308"/>
                </a:lnTo>
                <a:lnTo>
                  <a:pt x="131972" y="13255"/>
                </a:lnTo>
                <a:lnTo>
                  <a:pt x="131813" y="13044"/>
                </a:lnTo>
                <a:lnTo>
                  <a:pt x="131761" y="13044"/>
                </a:lnTo>
                <a:lnTo>
                  <a:pt x="131497" y="13255"/>
                </a:lnTo>
                <a:lnTo>
                  <a:pt x="131285" y="13361"/>
                </a:lnTo>
                <a:lnTo>
                  <a:pt x="130916" y="13625"/>
                </a:lnTo>
                <a:lnTo>
                  <a:pt x="130704" y="13678"/>
                </a:lnTo>
                <a:lnTo>
                  <a:pt x="130652" y="13625"/>
                </a:lnTo>
                <a:lnTo>
                  <a:pt x="130282" y="13255"/>
                </a:lnTo>
                <a:lnTo>
                  <a:pt x="130229" y="13255"/>
                </a:lnTo>
                <a:lnTo>
                  <a:pt x="130176" y="13308"/>
                </a:lnTo>
                <a:lnTo>
                  <a:pt x="130176" y="13678"/>
                </a:lnTo>
                <a:lnTo>
                  <a:pt x="130071" y="13889"/>
                </a:lnTo>
                <a:lnTo>
                  <a:pt x="130018" y="14100"/>
                </a:lnTo>
                <a:lnTo>
                  <a:pt x="129965" y="14364"/>
                </a:lnTo>
                <a:lnTo>
                  <a:pt x="129965" y="14470"/>
                </a:lnTo>
                <a:lnTo>
                  <a:pt x="129965" y="14576"/>
                </a:lnTo>
                <a:lnTo>
                  <a:pt x="129965" y="14734"/>
                </a:lnTo>
                <a:lnTo>
                  <a:pt x="129965" y="14892"/>
                </a:lnTo>
                <a:lnTo>
                  <a:pt x="129965" y="15051"/>
                </a:lnTo>
                <a:lnTo>
                  <a:pt x="130176" y="15421"/>
                </a:lnTo>
                <a:lnTo>
                  <a:pt x="130176" y="15526"/>
                </a:lnTo>
                <a:lnTo>
                  <a:pt x="130176" y="15632"/>
                </a:lnTo>
                <a:lnTo>
                  <a:pt x="130176" y="15685"/>
                </a:lnTo>
                <a:lnTo>
                  <a:pt x="130176" y="15737"/>
                </a:lnTo>
                <a:lnTo>
                  <a:pt x="130176" y="15843"/>
                </a:lnTo>
                <a:lnTo>
                  <a:pt x="130176" y="15896"/>
                </a:lnTo>
                <a:lnTo>
                  <a:pt x="130176" y="16001"/>
                </a:lnTo>
                <a:lnTo>
                  <a:pt x="130176" y="16477"/>
                </a:lnTo>
                <a:lnTo>
                  <a:pt x="130176" y="16635"/>
                </a:lnTo>
                <a:lnTo>
                  <a:pt x="130282" y="16846"/>
                </a:lnTo>
                <a:lnTo>
                  <a:pt x="130440" y="16952"/>
                </a:lnTo>
                <a:lnTo>
                  <a:pt x="130493" y="17163"/>
                </a:lnTo>
                <a:lnTo>
                  <a:pt x="130493" y="17586"/>
                </a:lnTo>
                <a:lnTo>
                  <a:pt x="130335" y="17216"/>
                </a:lnTo>
                <a:lnTo>
                  <a:pt x="130229" y="16794"/>
                </a:lnTo>
                <a:lnTo>
                  <a:pt x="130071" y="16424"/>
                </a:lnTo>
                <a:lnTo>
                  <a:pt x="129859" y="16318"/>
                </a:lnTo>
                <a:lnTo>
                  <a:pt x="129859" y="16213"/>
                </a:lnTo>
                <a:lnTo>
                  <a:pt x="129859" y="16107"/>
                </a:lnTo>
                <a:lnTo>
                  <a:pt x="129859" y="16054"/>
                </a:lnTo>
                <a:lnTo>
                  <a:pt x="129859" y="15949"/>
                </a:lnTo>
                <a:lnTo>
                  <a:pt x="129859" y="15737"/>
                </a:lnTo>
                <a:lnTo>
                  <a:pt x="129859" y="15685"/>
                </a:lnTo>
                <a:lnTo>
                  <a:pt x="129807" y="15421"/>
                </a:lnTo>
                <a:lnTo>
                  <a:pt x="129754" y="15262"/>
                </a:lnTo>
                <a:lnTo>
                  <a:pt x="129701" y="15104"/>
                </a:lnTo>
                <a:lnTo>
                  <a:pt x="129595" y="15104"/>
                </a:lnTo>
                <a:lnTo>
                  <a:pt x="129384" y="15262"/>
                </a:lnTo>
                <a:lnTo>
                  <a:pt x="128962" y="15843"/>
                </a:lnTo>
                <a:lnTo>
                  <a:pt x="128803" y="15790"/>
                </a:lnTo>
                <a:lnTo>
                  <a:pt x="128909" y="15526"/>
                </a:lnTo>
                <a:lnTo>
                  <a:pt x="129173" y="15104"/>
                </a:lnTo>
                <a:lnTo>
                  <a:pt x="129173" y="14840"/>
                </a:lnTo>
                <a:lnTo>
                  <a:pt x="129279" y="14734"/>
                </a:lnTo>
                <a:lnTo>
                  <a:pt x="129331" y="14576"/>
                </a:lnTo>
                <a:lnTo>
                  <a:pt x="129490" y="14153"/>
                </a:lnTo>
                <a:lnTo>
                  <a:pt x="129543" y="13942"/>
                </a:lnTo>
                <a:lnTo>
                  <a:pt x="129701" y="13678"/>
                </a:lnTo>
                <a:lnTo>
                  <a:pt x="129807" y="13467"/>
                </a:lnTo>
                <a:lnTo>
                  <a:pt x="129648" y="13414"/>
                </a:lnTo>
                <a:lnTo>
                  <a:pt x="128803" y="13783"/>
                </a:lnTo>
                <a:lnTo>
                  <a:pt x="128645" y="13783"/>
                </a:lnTo>
                <a:lnTo>
                  <a:pt x="128486" y="13678"/>
                </a:lnTo>
                <a:lnTo>
                  <a:pt x="128856" y="13572"/>
                </a:lnTo>
                <a:lnTo>
                  <a:pt x="129067" y="13467"/>
                </a:lnTo>
                <a:lnTo>
                  <a:pt x="129226" y="13202"/>
                </a:lnTo>
                <a:lnTo>
                  <a:pt x="129384" y="13044"/>
                </a:lnTo>
                <a:lnTo>
                  <a:pt x="129701" y="13044"/>
                </a:lnTo>
                <a:lnTo>
                  <a:pt x="129807" y="12727"/>
                </a:lnTo>
                <a:lnTo>
                  <a:pt x="129648" y="12727"/>
                </a:lnTo>
                <a:lnTo>
                  <a:pt x="129648" y="12622"/>
                </a:lnTo>
                <a:lnTo>
                  <a:pt x="129701" y="12516"/>
                </a:lnTo>
                <a:lnTo>
                  <a:pt x="129754" y="12358"/>
                </a:lnTo>
                <a:lnTo>
                  <a:pt x="129754" y="12199"/>
                </a:lnTo>
                <a:lnTo>
                  <a:pt x="129754" y="12041"/>
                </a:lnTo>
                <a:lnTo>
                  <a:pt x="129648" y="11988"/>
                </a:lnTo>
                <a:lnTo>
                  <a:pt x="129226" y="12041"/>
                </a:lnTo>
                <a:lnTo>
                  <a:pt x="128909" y="12252"/>
                </a:lnTo>
                <a:lnTo>
                  <a:pt x="128803" y="12252"/>
                </a:lnTo>
                <a:lnTo>
                  <a:pt x="128750" y="12199"/>
                </a:lnTo>
                <a:lnTo>
                  <a:pt x="128645" y="12093"/>
                </a:lnTo>
                <a:lnTo>
                  <a:pt x="128645" y="11988"/>
                </a:lnTo>
                <a:lnTo>
                  <a:pt x="128698" y="11829"/>
                </a:lnTo>
                <a:lnTo>
                  <a:pt x="128592" y="11829"/>
                </a:lnTo>
                <a:lnTo>
                  <a:pt x="128539" y="11935"/>
                </a:lnTo>
                <a:lnTo>
                  <a:pt x="128381" y="12199"/>
                </a:lnTo>
                <a:lnTo>
                  <a:pt x="127272" y="13467"/>
                </a:lnTo>
                <a:lnTo>
                  <a:pt x="126110" y="14153"/>
                </a:lnTo>
                <a:lnTo>
                  <a:pt x="125687" y="14576"/>
                </a:lnTo>
                <a:lnTo>
                  <a:pt x="125476" y="14840"/>
                </a:lnTo>
                <a:lnTo>
                  <a:pt x="126004" y="14364"/>
                </a:lnTo>
                <a:lnTo>
                  <a:pt x="126216" y="14153"/>
                </a:lnTo>
                <a:lnTo>
                  <a:pt x="126532" y="14047"/>
                </a:lnTo>
                <a:lnTo>
                  <a:pt x="126427" y="14206"/>
                </a:lnTo>
                <a:lnTo>
                  <a:pt x="125265" y="15368"/>
                </a:lnTo>
                <a:lnTo>
                  <a:pt x="124790" y="15579"/>
                </a:lnTo>
                <a:lnTo>
                  <a:pt x="124684" y="15685"/>
                </a:lnTo>
                <a:lnTo>
                  <a:pt x="124737" y="15843"/>
                </a:lnTo>
                <a:lnTo>
                  <a:pt x="124843" y="16054"/>
                </a:lnTo>
                <a:lnTo>
                  <a:pt x="124843" y="16213"/>
                </a:lnTo>
                <a:lnTo>
                  <a:pt x="124526" y="16001"/>
                </a:lnTo>
                <a:lnTo>
                  <a:pt x="124420" y="16001"/>
                </a:lnTo>
                <a:lnTo>
                  <a:pt x="124420" y="15896"/>
                </a:lnTo>
                <a:lnTo>
                  <a:pt x="124420" y="15790"/>
                </a:lnTo>
                <a:lnTo>
                  <a:pt x="124209" y="15843"/>
                </a:lnTo>
                <a:lnTo>
                  <a:pt x="123575" y="16371"/>
                </a:lnTo>
                <a:lnTo>
                  <a:pt x="122941" y="16635"/>
                </a:lnTo>
                <a:lnTo>
                  <a:pt x="121568" y="16688"/>
                </a:lnTo>
                <a:lnTo>
                  <a:pt x="121516" y="16688"/>
                </a:lnTo>
                <a:lnTo>
                  <a:pt x="121463" y="16741"/>
                </a:lnTo>
                <a:lnTo>
                  <a:pt x="121463" y="16794"/>
                </a:lnTo>
                <a:lnTo>
                  <a:pt x="121463" y="16899"/>
                </a:lnTo>
                <a:lnTo>
                  <a:pt x="121463" y="17005"/>
                </a:lnTo>
                <a:lnTo>
                  <a:pt x="121357" y="17005"/>
                </a:lnTo>
                <a:lnTo>
                  <a:pt x="121251" y="17058"/>
                </a:lnTo>
                <a:lnTo>
                  <a:pt x="121146" y="17163"/>
                </a:lnTo>
                <a:lnTo>
                  <a:pt x="121146" y="17322"/>
                </a:lnTo>
                <a:lnTo>
                  <a:pt x="121199" y="17322"/>
                </a:lnTo>
                <a:lnTo>
                  <a:pt x="121304" y="17427"/>
                </a:lnTo>
                <a:lnTo>
                  <a:pt x="121304" y="17427"/>
                </a:lnTo>
                <a:lnTo>
                  <a:pt x="120882" y="17374"/>
                </a:lnTo>
                <a:lnTo>
                  <a:pt x="120776" y="17480"/>
                </a:lnTo>
                <a:lnTo>
                  <a:pt x="120618" y="17744"/>
                </a:lnTo>
                <a:lnTo>
                  <a:pt x="120512" y="17797"/>
                </a:lnTo>
                <a:lnTo>
                  <a:pt x="119297" y="18008"/>
                </a:lnTo>
                <a:lnTo>
                  <a:pt x="119297" y="17903"/>
                </a:lnTo>
                <a:lnTo>
                  <a:pt x="119509" y="17850"/>
                </a:lnTo>
                <a:lnTo>
                  <a:pt x="119562" y="17744"/>
                </a:lnTo>
                <a:lnTo>
                  <a:pt x="119667" y="17586"/>
                </a:lnTo>
                <a:lnTo>
                  <a:pt x="119773" y="17533"/>
                </a:lnTo>
                <a:lnTo>
                  <a:pt x="119826" y="17533"/>
                </a:lnTo>
                <a:lnTo>
                  <a:pt x="120354" y="17797"/>
                </a:lnTo>
                <a:lnTo>
                  <a:pt x="120512" y="17797"/>
                </a:lnTo>
                <a:lnTo>
                  <a:pt x="120618" y="17586"/>
                </a:lnTo>
                <a:lnTo>
                  <a:pt x="120512" y="17322"/>
                </a:lnTo>
                <a:lnTo>
                  <a:pt x="120671" y="17163"/>
                </a:lnTo>
                <a:lnTo>
                  <a:pt x="120882" y="17110"/>
                </a:lnTo>
                <a:lnTo>
                  <a:pt x="120987" y="17110"/>
                </a:lnTo>
                <a:lnTo>
                  <a:pt x="120882" y="16952"/>
                </a:lnTo>
                <a:lnTo>
                  <a:pt x="120512" y="16952"/>
                </a:lnTo>
                <a:lnTo>
                  <a:pt x="120354" y="16741"/>
                </a:lnTo>
                <a:lnTo>
                  <a:pt x="120512" y="16741"/>
                </a:lnTo>
                <a:lnTo>
                  <a:pt x="121146" y="16846"/>
                </a:lnTo>
                <a:lnTo>
                  <a:pt x="121251" y="16688"/>
                </a:lnTo>
                <a:lnTo>
                  <a:pt x="121199" y="16530"/>
                </a:lnTo>
                <a:lnTo>
                  <a:pt x="120512" y="16318"/>
                </a:lnTo>
                <a:lnTo>
                  <a:pt x="120618" y="16213"/>
                </a:lnTo>
                <a:lnTo>
                  <a:pt x="120671" y="16213"/>
                </a:lnTo>
                <a:lnTo>
                  <a:pt x="120671" y="16107"/>
                </a:lnTo>
                <a:lnTo>
                  <a:pt x="120512" y="16107"/>
                </a:lnTo>
                <a:lnTo>
                  <a:pt x="120512" y="15949"/>
                </a:lnTo>
                <a:lnTo>
                  <a:pt x="120512" y="15896"/>
                </a:lnTo>
                <a:lnTo>
                  <a:pt x="120407" y="15843"/>
                </a:lnTo>
                <a:lnTo>
                  <a:pt x="120248" y="15843"/>
                </a:lnTo>
                <a:lnTo>
                  <a:pt x="120037" y="16107"/>
                </a:lnTo>
                <a:lnTo>
                  <a:pt x="119826" y="16424"/>
                </a:lnTo>
                <a:lnTo>
                  <a:pt x="119720" y="16477"/>
                </a:lnTo>
                <a:lnTo>
                  <a:pt x="119562" y="16952"/>
                </a:lnTo>
                <a:lnTo>
                  <a:pt x="119350" y="17269"/>
                </a:lnTo>
                <a:lnTo>
                  <a:pt x="119245" y="17533"/>
                </a:lnTo>
                <a:lnTo>
                  <a:pt x="118981" y="17744"/>
                </a:lnTo>
                <a:lnTo>
                  <a:pt x="118928" y="17797"/>
                </a:lnTo>
                <a:lnTo>
                  <a:pt x="118928" y="17850"/>
                </a:lnTo>
                <a:lnTo>
                  <a:pt x="118928" y="17955"/>
                </a:lnTo>
                <a:lnTo>
                  <a:pt x="118928" y="18061"/>
                </a:lnTo>
                <a:lnTo>
                  <a:pt x="118875" y="18114"/>
                </a:lnTo>
                <a:lnTo>
                  <a:pt x="118717" y="18219"/>
                </a:lnTo>
                <a:lnTo>
                  <a:pt x="118347" y="18589"/>
                </a:lnTo>
                <a:lnTo>
                  <a:pt x="118188" y="18853"/>
                </a:lnTo>
                <a:lnTo>
                  <a:pt x="118241" y="19064"/>
                </a:lnTo>
                <a:lnTo>
                  <a:pt x="118083" y="19170"/>
                </a:lnTo>
                <a:lnTo>
                  <a:pt x="118083" y="19223"/>
                </a:lnTo>
                <a:lnTo>
                  <a:pt x="118136" y="19434"/>
                </a:lnTo>
                <a:lnTo>
                  <a:pt x="118136" y="19540"/>
                </a:lnTo>
                <a:lnTo>
                  <a:pt x="117660" y="19540"/>
                </a:lnTo>
                <a:lnTo>
                  <a:pt x="117502" y="19645"/>
                </a:lnTo>
                <a:lnTo>
                  <a:pt x="117555" y="19909"/>
                </a:lnTo>
                <a:lnTo>
                  <a:pt x="117555" y="20015"/>
                </a:lnTo>
                <a:lnTo>
                  <a:pt x="117502" y="20332"/>
                </a:lnTo>
                <a:lnTo>
                  <a:pt x="117396" y="20649"/>
                </a:lnTo>
                <a:lnTo>
                  <a:pt x="117238" y="20966"/>
                </a:lnTo>
                <a:lnTo>
                  <a:pt x="117027" y="21177"/>
                </a:lnTo>
                <a:lnTo>
                  <a:pt x="116657" y="21652"/>
                </a:lnTo>
                <a:lnTo>
                  <a:pt x="116446" y="22022"/>
                </a:lnTo>
                <a:lnTo>
                  <a:pt x="116235" y="22127"/>
                </a:lnTo>
                <a:lnTo>
                  <a:pt x="116076" y="22391"/>
                </a:lnTo>
                <a:lnTo>
                  <a:pt x="115390" y="23131"/>
                </a:lnTo>
                <a:lnTo>
                  <a:pt x="115284" y="23395"/>
                </a:lnTo>
                <a:lnTo>
                  <a:pt x="115284" y="23500"/>
                </a:lnTo>
                <a:lnTo>
                  <a:pt x="115231" y="23553"/>
                </a:lnTo>
                <a:lnTo>
                  <a:pt x="115126" y="23606"/>
                </a:lnTo>
                <a:lnTo>
                  <a:pt x="115073" y="23712"/>
                </a:lnTo>
                <a:lnTo>
                  <a:pt x="115073" y="23976"/>
                </a:lnTo>
                <a:lnTo>
                  <a:pt x="115231" y="23976"/>
                </a:lnTo>
                <a:lnTo>
                  <a:pt x="115390" y="24029"/>
                </a:lnTo>
                <a:lnTo>
                  <a:pt x="115495" y="24187"/>
                </a:lnTo>
                <a:lnTo>
                  <a:pt x="115390" y="24504"/>
                </a:lnTo>
                <a:lnTo>
                  <a:pt x="115231" y="24609"/>
                </a:lnTo>
                <a:lnTo>
                  <a:pt x="114967" y="24504"/>
                </a:lnTo>
                <a:lnTo>
                  <a:pt x="114861" y="24715"/>
                </a:lnTo>
                <a:lnTo>
                  <a:pt x="114967" y="24821"/>
                </a:lnTo>
                <a:lnTo>
                  <a:pt x="115020" y="24821"/>
                </a:lnTo>
                <a:lnTo>
                  <a:pt x="114861" y="25085"/>
                </a:lnTo>
                <a:lnTo>
                  <a:pt x="115020" y="25296"/>
                </a:lnTo>
                <a:lnTo>
                  <a:pt x="115073" y="25349"/>
                </a:lnTo>
                <a:lnTo>
                  <a:pt x="114914" y="25507"/>
                </a:lnTo>
                <a:lnTo>
                  <a:pt x="114756" y="25613"/>
                </a:lnTo>
                <a:lnTo>
                  <a:pt x="114492" y="25613"/>
                </a:lnTo>
                <a:lnTo>
                  <a:pt x="114492" y="25771"/>
                </a:lnTo>
                <a:lnTo>
                  <a:pt x="114756" y="25877"/>
                </a:lnTo>
                <a:lnTo>
                  <a:pt x="114809" y="25930"/>
                </a:lnTo>
                <a:lnTo>
                  <a:pt x="114809" y="26035"/>
                </a:lnTo>
                <a:lnTo>
                  <a:pt x="114809" y="26194"/>
                </a:lnTo>
                <a:lnTo>
                  <a:pt x="114809" y="26352"/>
                </a:lnTo>
                <a:lnTo>
                  <a:pt x="114809" y="26405"/>
                </a:lnTo>
                <a:lnTo>
                  <a:pt x="114809" y="26827"/>
                </a:lnTo>
                <a:lnTo>
                  <a:pt x="114756" y="27092"/>
                </a:lnTo>
                <a:lnTo>
                  <a:pt x="114597" y="27144"/>
                </a:lnTo>
                <a:lnTo>
                  <a:pt x="114650" y="27303"/>
                </a:lnTo>
                <a:lnTo>
                  <a:pt x="114650" y="27461"/>
                </a:lnTo>
                <a:lnTo>
                  <a:pt x="114650" y="27567"/>
                </a:lnTo>
                <a:lnTo>
                  <a:pt x="114597" y="27725"/>
                </a:lnTo>
                <a:lnTo>
                  <a:pt x="114597" y="27831"/>
                </a:lnTo>
                <a:lnTo>
                  <a:pt x="114597" y="27936"/>
                </a:lnTo>
                <a:lnTo>
                  <a:pt x="114597" y="28042"/>
                </a:lnTo>
                <a:lnTo>
                  <a:pt x="114545" y="28148"/>
                </a:lnTo>
                <a:lnTo>
                  <a:pt x="114597" y="28359"/>
                </a:lnTo>
                <a:lnTo>
                  <a:pt x="114597" y="28570"/>
                </a:lnTo>
                <a:lnTo>
                  <a:pt x="114545" y="28781"/>
                </a:lnTo>
                <a:lnTo>
                  <a:pt x="114439" y="28887"/>
                </a:lnTo>
                <a:lnTo>
                  <a:pt x="114439" y="28993"/>
                </a:lnTo>
                <a:lnTo>
                  <a:pt x="114017" y="29732"/>
                </a:lnTo>
                <a:lnTo>
                  <a:pt x="113858" y="29785"/>
                </a:lnTo>
                <a:lnTo>
                  <a:pt x="113858" y="29732"/>
                </a:lnTo>
                <a:lnTo>
                  <a:pt x="114017" y="29362"/>
                </a:lnTo>
                <a:lnTo>
                  <a:pt x="114386" y="28148"/>
                </a:lnTo>
                <a:lnTo>
                  <a:pt x="114333" y="28042"/>
                </a:lnTo>
                <a:lnTo>
                  <a:pt x="114228" y="28201"/>
                </a:lnTo>
                <a:lnTo>
                  <a:pt x="113911" y="29415"/>
                </a:lnTo>
                <a:lnTo>
                  <a:pt x="113805" y="29626"/>
                </a:lnTo>
                <a:lnTo>
                  <a:pt x="112221" y="32161"/>
                </a:lnTo>
                <a:lnTo>
                  <a:pt x="111270" y="33112"/>
                </a:lnTo>
                <a:lnTo>
                  <a:pt x="111006" y="33217"/>
                </a:lnTo>
                <a:lnTo>
                  <a:pt x="110742" y="33587"/>
                </a:lnTo>
                <a:lnTo>
                  <a:pt x="110584" y="33693"/>
                </a:lnTo>
                <a:lnTo>
                  <a:pt x="110003" y="34010"/>
                </a:lnTo>
                <a:lnTo>
                  <a:pt x="109633" y="34326"/>
                </a:lnTo>
                <a:lnTo>
                  <a:pt x="109211" y="34432"/>
                </a:lnTo>
                <a:lnTo>
                  <a:pt x="108788" y="34696"/>
                </a:lnTo>
                <a:lnTo>
                  <a:pt x="106676" y="34855"/>
                </a:lnTo>
                <a:lnTo>
                  <a:pt x="105514" y="35277"/>
                </a:lnTo>
                <a:lnTo>
                  <a:pt x="104194" y="35383"/>
                </a:lnTo>
                <a:lnTo>
                  <a:pt x="102557" y="35541"/>
                </a:lnTo>
                <a:lnTo>
                  <a:pt x="101870" y="35330"/>
                </a:lnTo>
                <a:lnTo>
                  <a:pt x="100920" y="35435"/>
                </a:lnTo>
                <a:lnTo>
                  <a:pt x="100550" y="35171"/>
                </a:lnTo>
                <a:lnTo>
                  <a:pt x="99916" y="35224"/>
                </a:lnTo>
                <a:lnTo>
                  <a:pt x="99811" y="35383"/>
                </a:lnTo>
                <a:lnTo>
                  <a:pt x="99863" y="35700"/>
                </a:lnTo>
                <a:lnTo>
                  <a:pt x="100022" y="36333"/>
                </a:lnTo>
                <a:lnTo>
                  <a:pt x="100022" y="36650"/>
                </a:lnTo>
                <a:lnTo>
                  <a:pt x="100022" y="36914"/>
                </a:lnTo>
                <a:lnTo>
                  <a:pt x="99969" y="37125"/>
                </a:lnTo>
                <a:lnTo>
                  <a:pt x="99969" y="37442"/>
                </a:lnTo>
                <a:lnTo>
                  <a:pt x="99969" y="37706"/>
                </a:lnTo>
                <a:lnTo>
                  <a:pt x="99969" y="37812"/>
                </a:lnTo>
                <a:lnTo>
                  <a:pt x="99969" y="38023"/>
                </a:lnTo>
                <a:lnTo>
                  <a:pt x="99916" y="38076"/>
                </a:lnTo>
                <a:lnTo>
                  <a:pt x="99916" y="38182"/>
                </a:lnTo>
                <a:lnTo>
                  <a:pt x="99916" y="38234"/>
                </a:lnTo>
                <a:lnTo>
                  <a:pt x="99969" y="38340"/>
                </a:lnTo>
                <a:lnTo>
                  <a:pt x="99863" y="38763"/>
                </a:lnTo>
                <a:lnTo>
                  <a:pt x="99863" y="38921"/>
                </a:lnTo>
                <a:lnTo>
                  <a:pt x="99863" y="39079"/>
                </a:lnTo>
                <a:lnTo>
                  <a:pt x="99863" y="39132"/>
                </a:lnTo>
                <a:lnTo>
                  <a:pt x="99863" y="39238"/>
                </a:lnTo>
                <a:lnTo>
                  <a:pt x="99811" y="39449"/>
                </a:lnTo>
                <a:lnTo>
                  <a:pt x="99758" y="39607"/>
                </a:lnTo>
                <a:lnTo>
                  <a:pt x="99599" y="39766"/>
                </a:lnTo>
                <a:lnTo>
                  <a:pt x="99494" y="39977"/>
                </a:lnTo>
                <a:lnTo>
                  <a:pt x="99494" y="40241"/>
                </a:lnTo>
                <a:lnTo>
                  <a:pt x="99441" y="40505"/>
                </a:lnTo>
                <a:lnTo>
                  <a:pt x="99388" y="40664"/>
                </a:lnTo>
                <a:lnTo>
                  <a:pt x="99177" y="41033"/>
                </a:lnTo>
                <a:lnTo>
                  <a:pt x="99283" y="41086"/>
                </a:lnTo>
                <a:lnTo>
                  <a:pt x="99388" y="41403"/>
                </a:lnTo>
                <a:lnTo>
                  <a:pt x="99441" y="41456"/>
                </a:lnTo>
                <a:lnTo>
                  <a:pt x="99335" y="41561"/>
                </a:lnTo>
                <a:lnTo>
                  <a:pt x="98913" y="41350"/>
                </a:lnTo>
                <a:lnTo>
                  <a:pt x="99019" y="41509"/>
                </a:lnTo>
                <a:lnTo>
                  <a:pt x="99124" y="41561"/>
                </a:lnTo>
                <a:lnTo>
                  <a:pt x="99177" y="41720"/>
                </a:lnTo>
                <a:lnTo>
                  <a:pt x="98913" y="41561"/>
                </a:lnTo>
                <a:lnTo>
                  <a:pt x="98807" y="41561"/>
                </a:lnTo>
                <a:lnTo>
                  <a:pt x="98332" y="42090"/>
                </a:lnTo>
                <a:lnTo>
                  <a:pt x="97804" y="42195"/>
                </a:lnTo>
                <a:lnTo>
                  <a:pt x="97381" y="42037"/>
                </a:lnTo>
                <a:lnTo>
                  <a:pt x="97540" y="41931"/>
                </a:lnTo>
                <a:lnTo>
                  <a:pt x="98490" y="41403"/>
                </a:lnTo>
                <a:lnTo>
                  <a:pt x="98860" y="41297"/>
                </a:lnTo>
                <a:lnTo>
                  <a:pt x="98543" y="41297"/>
                </a:lnTo>
                <a:lnTo>
                  <a:pt x="98121" y="41509"/>
                </a:lnTo>
                <a:lnTo>
                  <a:pt x="97117" y="42142"/>
                </a:lnTo>
                <a:lnTo>
                  <a:pt x="97012" y="42248"/>
                </a:lnTo>
                <a:lnTo>
                  <a:pt x="97065" y="42248"/>
                </a:lnTo>
                <a:lnTo>
                  <a:pt x="97170" y="42354"/>
                </a:lnTo>
                <a:lnTo>
                  <a:pt x="97909" y="42301"/>
                </a:lnTo>
                <a:lnTo>
                  <a:pt x="99547" y="42882"/>
                </a:lnTo>
                <a:lnTo>
                  <a:pt x="99969" y="43357"/>
                </a:lnTo>
                <a:lnTo>
                  <a:pt x="100444" y="43674"/>
                </a:lnTo>
                <a:lnTo>
                  <a:pt x="100550" y="43832"/>
                </a:lnTo>
                <a:lnTo>
                  <a:pt x="100603" y="43938"/>
                </a:lnTo>
                <a:lnTo>
                  <a:pt x="100814" y="44255"/>
                </a:lnTo>
                <a:lnTo>
                  <a:pt x="100972" y="44572"/>
                </a:lnTo>
                <a:lnTo>
                  <a:pt x="101289" y="44941"/>
                </a:lnTo>
                <a:lnTo>
                  <a:pt x="102029" y="45364"/>
                </a:lnTo>
                <a:lnTo>
                  <a:pt x="102715" y="45522"/>
                </a:lnTo>
                <a:lnTo>
                  <a:pt x="103613" y="45945"/>
                </a:lnTo>
                <a:lnTo>
                  <a:pt x="104564" y="46737"/>
                </a:lnTo>
                <a:lnTo>
                  <a:pt x="105408" y="47529"/>
                </a:lnTo>
                <a:lnTo>
                  <a:pt x="106359" y="48585"/>
                </a:lnTo>
                <a:lnTo>
                  <a:pt x="106623" y="48744"/>
                </a:lnTo>
                <a:lnTo>
                  <a:pt x="106834" y="49113"/>
                </a:lnTo>
                <a:lnTo>
                  <a:pt x="106993" y="49166"/>
                </a:lnTo>
                <a:lnTo>
                  <a:pt x="106940" y="49060"/>
                </a:lnTo>
                <a:lnTo>
                  <a:pt x="106834" y="49008"/>
                </a:lnTo>
                <a:lnTo>
                  <a:pt x="106782" y="48902"/>
                </a:lnTo>
                <a:lnTo>
                  <a:pt x="106729" y="48744"/>
                </a:lnTo>
                <a:lnTo>
                  <a:pt x="106782" y="48744"/>
                </a:lnTo>
                <a:lnTo>
                  <a:pt x="106940" y="48796"/>
                </a:lnTo>
                <a:lnTo>
                  <a:pt x="107098" y="48902"/>
                </a:lnTo>
                <a:lnTo>
                  <a:pt x="107574" y="49589"/>
                </a:lnTo>
                <a:lnTo>
                  <a:pt x="107891" y="49853"/>
                </a:lnTo>
                <a:lnTo>
                  <a:pt x="108260" y="50381"/>
                </a:lnTo>
                <a:lnTo>
                  <a:pt x="109686" y="51490"/>
                </a:lnTo>
                <a:lnTo>
                  <a:pt x="110161" y="52176"/>
                </a:lnTo>
                <a:lnTo>
                  <a:pt x="110584" y="52968"/>
                </a:lnTo>
                <a:lnTo>
                  <a:pt x="111218" y="54711"/>
                </a:lnTo>
                <a:lnTo>
                  <a:pt x="111323" y="54975"/>
                </a:lnTo>
                <a:lnTo>
                  <a:pt x="111376" y="55556"/>
                </a:lnTo>
                <a:lnTo>
                  <a:pt x="111376" y="55767"/>
                </a:lnTo>
                <a:lnTo>
                  <a:pt x="111429" y="56295"/>
                </a:lnTo>
                <a:lnTo>
                  <a:pt x="111429" y="56876"/>
                </a:lnTo>
                <a:lnTo>
                  <a:pt x="111482" y="57352"/>
                </a:lnTo>
                <a:lnTo>
                  <a:pt x="111693" y="57721"/>
                </a:lnTo>
                <a:lnTo>
                  <a:pt x="111851" y="57827"/>
                </a:lnTo>
                <a:lnTo>
                  <a:pt x="113066" y="58038"/>
                </a:lnTo>
                <a:lnTo>
                  <a:pt x="113172" y="58144"/>
                </a:lnTo>
                <a:lnTo>
                  <a:pt x="114439" y="58355"/>
                </a:lnTo>
                <a:lnTo>
                  <a:pt x="114756" y="58619"/>
                </a:lnTo>
                <a:lnTo>
                  <a:pt x="115706" y="58989"/>
                </a:lnTo>
                <a:lnTo>
                  <a:pt x="115812" y="58936"/>
                </a:lnTo>
                <a:lnTo>
                  <a:pt x="115706" y="58883"/>
                </a:lnTo>
                <a:lnTo>
                  <a:pt x="115548" y="58778"/>
                </a:lnTo>
                <a:lnTo>
                  <a:pt x="115442" y="58672"/>
                </a:lnTo>
                <a:lnTo>
                  <a:pt x="115337" y="58461"/>
                </a:lnTo>
                <a:lnTo>
                  <a:pt x="115390" y="58408"/>
                </a:lnTo>
                <a:lnTo>
                  <a:pt x="115654" y="58513"/>
                </a:lnTo>
                <a:lnTo>
                  <a:pt x="116393" y="58408"/>
                </a:lnTo>
                <a:lnTo>
                  <a:pt x="116604" y="58566"/>
                </a:lnTo>
                <a:lnTo>
                  <a:pt x="116604" y="58619"/>
                </a:lnTo>
                <a:lnTo>
                  <a:pt x="116604" y="58778"/>
                </a:lnTo>
                <a:lnTo>
                  <a:pt x="116710" y="58830"/>
                </a:lnTo>
                <a:lnTo>
                  <a:pt x="117132" y="58830"/>
                </a:lnTo>
                <a:lnTo>
                  <a:pt x="117238" y="58725"/>
                </a:lnTo>
                <a:lnTo>
                  <a:pt x="117608" y="58249"/>
                </a:lnTo>
                <a:lnTo>
                  <a:pt x="118030" y="57352"/>
                </a:lnTo>
                <a:lnTo>
                  <a:pt x="118136" y="57299"/>
                </a:lnTo>
                <a:lnTo>
                  <a:pt x="118083" y="57140"/>
                </a:lnTo>
                <a:lnTo>
                  <a:pt x="118030" y="57035"/>
                </a:lnTo>
                <a:lnTo>
                  <a:pt x="117819" y="57035"/>
                </a:lnTo>
                <a:lnTo>
                  <a:pt x="117924" y="56982"/>
                </a:lnTo>
                <a:lnTo>
                  <a:pt x="118083" y="56929"/>
                </a:lnTo>
                <a:lnTo>
                  <a:pt x="118188" y="56929"/>
                </a:lnTo>
                <a:lnTo>
                  <a:pt x="118294" y="57035"/>
                </a:lnTo>
                <a:lnTo>
                  <a:pt x="118294" y="57140"/>
                </a:lnTo>
                <a:lnTo>
                  <a:pt x="118294" y="57193"/>
                </a:lnTo>
                <a:lnTo>
                  <a:pt x="118188" y="57352"/>
                </a:lnTo>
                <a:lnTo>
                  <a:pt x="118030" y="57880"/>
                </a:lnTo>
                <a:lnTo>
                  <a:pt x="117977" y="58091"/>
                </a:lnTo>
                <a:lnTo>
                  <a:pt x="117872" y="58197"/>
                </a:lnTo>
                <a:lnTo>
                  <a:pt x="117872" y="58249"/>
                </a:lnTo>
                <a:lnTo>
                  <a:pt x="117660" y="58830"/>
                </a:lnTo>
                <a:lnTo>
                  <a:pt x="117660" y="58936"/>
                </a:lnTo>
                <a:lnTo>
                  <a:pt x="117713" y="59042"/>
                </a:lnTo>
                <a:lnTo>
                  <a:pt x="117819" y="59094"/>
                </a:lnTo>
                <a:lnTo>
                  <a:pt x="118136" y="58830"/>
                </a:lnTo>
                <a:lnTo>
                  <a:pt x="118400" y="58936"/>
                </a:lnTo>
                <a:lnTo>
                  <a:pt x="118505" y="58830"/>
                </a:lnTo>
                <a:lnTo>
                  <a:pt x="118400" y="58619"/>
                </a:lnTo>
                <a:lnTo>
                  <a:pt x="118400" y="58461"/>
                </a:lnTo>
                <a:lnTo>
                  <a:pt x="118453" y="58355"/>
                </a:lnTo>
                <a:lnTo>
                  <a:pt x="118400" y="58091"/>
                </a:lnTo>
                <a:lnTo>
                  <a:pt x="118558" y="58091"/>
                </a:lnTo>
                <a:lnTo>
                  <a:pt x="118611" y="58197"/>
                </a:lnTo>
                <a:lnTo>
                  <a:pt x="118664" y="58302"/>
                </a:lnTo>
                <a:lnTo>
                  <a:pt x="118664" y="58408"/>
                </a:lnTo>
                <a:lnTo>
                  <a:pt x="118664" y="58513"/>
                </a:lnTo>
                <a:lnTo>
                  <a:pt x="118664" y="58778"/>
                </a:lnTo>
                <a:lnTo>
                  <a:pt x="118717" y="58830"/>
                </a:lnTo>
                <a:lnTo>
                  <a:pt x="119931" y="58408"/>
                </a:lnTo>
                <a:lnTo>
                  <a:pt x="120671" y="58355"/>
                </a:lnTo>
                <a:lnTo>
                  <a:pt x="120829" y="58408"/>
                </a:lnTo>
                <a:lnTo>
                  <a:pt x="120987" y="58619"/>
                </a:lnTo>
                <a:lnTo>
                  <a:pt x="121040" y="58725"/>
                </a:lnTo>
                <a:lnTo>
                  <a:pt x="121093" y="58778"/>
                </a:lnTo>
                <a:lnTo>
                  <a:pt x="121251" y="58778"/>
                </a:lnTo>
                <a:lnTo>
                  <a:pt x="121251" y="58725"/>
                </a:lnTo>
                <a:lnTo>
                  <a:pt x="121304" y="58672"/>
                </a:lnTo>
                <a:lnTo>
                  <a:pt x="121357" y="58672"/>
                </a:lnTo>
                <a:lnTo>
                  <a:pt x="121621" y="58830"/>
                </a:lnTo>
                <a:lnTo>
                  <a:pt x="121674" y="58936"/>
                </a:lnTo>
                <a:lnTo>
                  <a:pt x="121727" y="59042"/>
                </a:lnTo>
                <a:lnTo>
                  <a:pt x="121780" y="59094"/>
                </a:lnTo>
                <a:lnTo>
                  <a:pt x="121991" y="59094"/>
                </a:lnTo>
                <a:lnTo>
                  <a:pt x="122096" y="59147"/>
                </a:lnTo>
                <a:lnTo>
                  <a:pt x="122202" y="59411"/>
                </a:lnTo>
                <a:lnTo>
                  <a:pt x="122149" y="59517"/>
                </a:lnTo>
                <a:lnTo>
                  <a:pt x="121938" y="59570"/>
                </a:lnTo>
                <a:lnTo>
                  <a:pt x="121621" y="59464"/>
                </a:lnTo>
                <a:lnTo>
                  <a:pt x="121463" y="59464"/>
                </a:lnTo>
                <a:lnTo>
                  <a:pt x="121146" y="59570"/>
                </a:lnTo>
                <a:lnTo>
                  <a:pt x="121146" y="59622"/>
                </a:lnTo>
                <a:lnTo>
                  <a:pt x="121146" y="59675"/>
                </a:lnTo>
                <a:lnTo>
                  <a:pt x="121146" y="59728"/>
                </a:lnTo>
                <a:lnTo>
                  <a:pt x="121146" y="59781"/>
                </a:lnTo>
                <a:lnTo>
                  <a:pt x="121040" y="59939"/>
                </a:lnTo>
                <a:lnTo>
                  <a:pt x="120776" y="60098"/>
                </a:lnTo>
                <a:lnTo>
                  <a:pt x="120723" y="60256"/>
                </a:lnTo>
                <a:lnTo>
                  <a:pt x="120723" y="60467"/>
                </a:lnTo>
                <a:lnTo>
                  <a:pt x="120723" y="60626"/>
                </a:lnTo>
                <a:lnTo>
                  <a:pt x="120723" y="60784"/>
                </a:lnTo>
                <a:lnTo>
                  <a:pt x="120618" y="60996"/>
                </a:lnTo>
                <a:lnTo>
                  <a:pt x="120459" y="61207"/>
                </a:lnTo>
                <a:lnTo>
                  <a:pt x="120354" y="61260"/>
                </a:lnTo>
                <a:lnTo>
                  <a:pt x="120354" y="61312"/>
                </a:lnTo>
                <a:lnTo>
                  <a:pt x="120354" y="61576"/>
                </a:lnTo>
                <a:lnTo>
                  <a:pt x="120407" y="61840"/>
                </a:lnTo>
                <a:lnTo>
                  <a:pt x="120407" y="61946"/>
                </a:lnTo>
                <a:lnTo>
                  <a:pt x="120407" y="61999"/>
                </a:lnTo>
                <a:lnTo>
                  <a:pt x="120248" y="62210"/>
                </a:lnTo>
                <a:lnTo>
                  <a:pt x="120407" y="62580"/>
                </a:lnTo>
                <a:lnTo>
                  <a:pt x="121463" y="63689"/>
                </a:lnTo>
                <a:lnTo>
                  <a:pt x="121674" y="63794"/>
                </a:lnTo>
                <a:lnTo>
                  <a:pt x="121938" y="63847"/>
                </a:lnTo>
                <a:lnTo>
                  <a:pt x="121832" y="64111"/>
                </a:lnTo>
                <a:lnTo>
                  <a:pt x="121832" y="64217"/>
                </a:lnTo>
                <a:lnTo>
                  <a:pt x="122044" y="64428"/>
                </a:lnTo>
                <a:lnTo>
                  <a:pt x="122149" y="64587"/>
                </a:lnTo>
                <a:lnTo>
                  <a:pt x="122202" y="64587"/>
                </a:lnTo>
                <a:lnTo>
                  <a:pt x="122413" y="64481"/>
                </a:lnTo>
                <a:lnTo>
                  <a:pt x="122466" y="64481"/>
                </a:lnTo>
                <a:lnTo>
                  <a:pt x="122625" y="64534"/>
                </a:lnTo>
                <a:lnTo>
                  <a:pt x="122994" y="64534"/>
                </a:lnTo>
                <a:lnTo>
                  <a:pt x="123205" y="64428"/>
                </a:lnTo>
                <a:lnTo>
                  <a:pt x="123364" y="64217"/>
                </a:lnTo>
                <a:lnTo>
                  <a:pt x="123364" y="64111"/>
                </a:lnTo>
                <a:lnTo>
                  <a:pt x="123364" y="64006"/>
                </a:lnTo>
                <a:lnTo>
                  <a:pt x="123364" y="63900"/>
                </a:lnTo>
                <a:lnTo>
                  <a:pt x="123364" y="63794"/>
                </a:lnTo>
                <a:lnTo>
                  <a:pt x="123469" y="63794"/>
                </a:lnTo>
                <a:lnTo>
                  <a:pt x="123469" y="63742"/>
                </a:lnTo>
                <a:lnTo>
                  <a:pt x="123469" y="63530"/>
                </a:lnTo>
                <a:lnTo>
                  <a:pt x="123628" y="63266"/>
                </a:lnTo>
                <a:lnTo>
                  <a:pt x="123786" y="63161"/>
                </a:lnTo>
                <a:lnTo>
                  <a:pt x="124156" y="63161"/>
                </a:lnTo>
                <a:lnTo>
                  <a:pt x="125001" y="62949"/>
                </a:lnTo>
                <a:lnTo>
                  <a:pt x="125318" y="63055"/>
                </a:lnTo>
                <a:lnTo>
                  <a:pt x="125846" y="63636"/>
                </a:lnTo>
                <a:lnTo>
                  <a:pt x="126163" y="63847"/>
                </a:lnTo>
                <a:lnTo>
                  <a:pt x="126532" y="63900"/>
                </a:lnTo>
                <a:lnTo>
                  <a:pt x="126638" y="63900"/>
                </a:lnTo>
                <a:lnTo>
                  <a:pt x="126691" y="63847"/>
                </a:lnTo>
                <a:lnTo>
                  <a:pt x="126691" y="63689"/>
                </a:lnTo>
                <a:lnTo>
                  <a:pt x="126691" y="63583"/>
                </a:lnTo>
                <a:lnTo>
                  <a:pt x="126849" y="63425"/>
                </a:lnTo>
                <a:lnTo>
                  <a:pt x="127061" y="63425"/>
                </a:lnTo>
                <a:lnTo>
                  <a:pt x="127272" y="63478"/>
                </a:lnTo>
                <a:lnTo>
                  <a:pt x="127377" y="63636"/>
                </a:lnTo>
                <a:lnTo>
                  <a:pt x="127483" y="63319"/>
                </a:lnTo>
                <a:lnTo>
                  <a:pt x="127641" y="63214"/>
                </a:lnTo>
                <a:lnTo>
                  <a:pt x="128064" y="63214"/>
                </a:lnTo>
                <a:lnTo>
                  <a:pt x="128222" y="63319"/>
                </a:lnTo>
                <a:lnTo>
                  <a:pt x="128117" y="63372"/>
                </a:lnTo>
                <a:lnTo>
                  <a:pt x="127958" y="63372"/>
                </a:lnTo>
                <a:lnTo>
                  <a:pt x="127853" y="63425"/>
                </a:lnTo>
                <a:lnTo>
                  <a:pt x="127906" y="63689"/>
                </a:lnTo>
                <a:lnTo>
                  <a:pt x="127906" y="63742"/>
                </a:lnTo>
                <a:lnTo>
                  <a:pt x="128222" y="64270"/>
                </a:lnTo>
                <a:lnTo>
                  <a:pt x="128381" y="64639"/>
                </a:lnTo>
                <a:lnTo>
                  <a:pt x="128381" y="65062"/>
                </a:lnTo>
                <a:lnTo>
                  <a:pt x="128381" y="65590"/>
                </a:lnTo>
                <a:lnTo>
                  <a:pt x="128381" y="65801"/>
                </a:lnTo>
                <a:lnTo>
                  <a:pt x="128328" y="66065"/>
                </a:lnTo>
                <a:lnTo>
                  <a:pt x="128222" y="66171"/>
                </a:lnTo>
                <a:lnTo>
                  <a:pt x="127272" y="66277"/>
                </a:lnTo>
                <a:lnTo>
                  <a:pt x="126480" y="66541"/>
                </a:lnTo>
                <a:lnTo>
                  <a:pt x="126057" y="66435"/>
                </a:lnTo>
                <a:lnTo>
                  <a:pt x="125793" y="66541"/>
                </a:lnTo>
                <a:lnTo>
                  <a:pt x="125687" y="66488"/>
                </a:lnTo>
                <a:lnTo>
                  <a:pt x="124737" y="65696"/>
                </a:lnTo>
                <a:lnTo>
                  <a:pt x="124526" y="65273"/>
                </a:lnTo>
                <a:lnTo>
                  <a:pt x="124367" y="65168"/>
                </a:lnTo>
                <a:lnTo>
                  <a:pt x="123998" y="65009"/>
                </a:lnTo>
                <a:lnTo>
                  <a:pt x="123945" y="64956"/>
                </a:lnTo>
                <a:lnTo>
                  <a:pt x="123734" y="64587"/>
                </a:lnTo>
                <a:lnTo>
                  <a:pt x="123575" y="64587"/>
                </a:lnTo>
                <a:lnTo>
                  <a:pt x="123417" y="64639"/>
                </a:lnTo>
                <a:lnTo>
                  <a:pt x="123205" y="65009"/>
                </a:lnTo>
                <a:lnTo>
                  <a:pt x="123047" y="65062"/>
                </a:lnTo>
                <a:lnTo>
                  <a:pt x="123047" y="65115"/>
                </a:lnTo>
                <a:lnTo>
                  <a:pt x="122994" y="65168"/>
                </a:lnTo>
                <a:lnTo>
                  <a:pt x="122836" y="65220"/>
                </a:lnTo>
                <a:lnTo>
                  <a:pt x="122625" y="65379"/>
                </a:lnTo>
                <a:lnTo>
                  <a:pt x="121780" y="65537"/>
                </a:lnTo>
                <a:lnTo>
                  <a:pt x="121674" y="65484"/>
                </a:lnTo>
                <a:lnTo>
                  <a:pt x="120565" y="64639"/>
                </a:lnTo>
                <a:lnTo>
                  <a:pt x="120354" y="64323"/>
                </a:lnTo>
                <a:lnTo>
                  <a:pt x="119984" y="63530"/>
                </a:lnTo>
                <a:lnTo>
                  <a:pt x="119826" y="63372"/>
                </a:lnTo>
                <a:lnTo>
                  <a:pt x="119562" y="63161"/>
                </a:lnTo>
                <a:lnTo>
                  <a:pt x="119509" y="63002"/>
                </a:lnTo>
                <a:lnTo>
                  <a:pt x="119509" y="62738"/>
                </a:lnTo>
                <a:lnTo>
                  <a:pt x="119562" y="62527"/>
                </a:lnTo>
                <a:lnTo>
                  <a:pt x="119667" y="62157"/>
                </a:lnTo>
                <a:lnTo>
                  <a:pt x="119826" y="61735"/>
                </a:lnTo>
                <a:lnTo>
                  <a:pt x="119826" y="61629"/>
                </a:lnTo>
                <a:lnTo>
                  <a:pt x="119773" y="61576"/>
                </a:lnTo>
                <a:lnTo>
                  <a:pt x="119456" y="61471"/>
                </a:lnTo>
                <a:lnTo>
                  <a:pt x="119350" y="61312"/>
                </a:lnTo>
                <a:lnTo>
                  <a:pt x="118928" y="60573"/>
                </a:lnTo>
                <a:lnTo>
                  <a:pt x="118558" y="59728"/>
                </a:lnTo>
                <a:lnTo>
                  <a:pt x="118453" y="59570"/>
                </a:lnTo>
                <a:lnTo>
                  <a:pt x="118347" y="59464"/>
                </a:lnTo>
                <a:lnTo>
                  <a:pt x="118241" y="59570"/>
                </a:lnTo>
                <a:lnTo>
                  <a:pt x="118083" y="59781"/>
                </a:lnTo>
                <a:lnTo>
                  <a:pt x="117924" y="59887"/>
                </a:lnTo>
                <a:lnTo>
                  <a:pt x="117766" y="59834"/>
                </a:lnTo>
                <a:lnTo>
                  <a:pt x="117713" y="59570"/>
                </a:lnTo>
                <a:lnTo>
                  <a:pt x="117660" y="59517"/>
                </a:lnTo>
                <a:lnTo>
                  <a:pt x="117608" y="59464"/>
                </a:lnTo>
                <a:lnTo>
                  <a:pt x="117555" y="59517"/>
                </a:lnTo>
                <a:lnTo>
                  <a:pt x="117555" y="59622"/>
                </a:lnTo>
                <a:lnTo>
                  <a:pt x="117555" y="59728"/>
                </a:lnTo>
                <a:lnTo>
                  <a:pt x="117502" y="59834"/>
                </a:lnTo>
                <a:lnTo>
                  <a:pt x="117502" y="59887"/>
                </a:lnTo>
                <a:lnTo>
                  <a:pt x="117238" y="59887"/>
                </a:lnTo>
                <a:lnTo>
                  <a:pt x="117132" y="59939"/>
                </a:lnTo>
                <a:lnTo>
                  <a:pt x="116921" y="60151"/>
                </a:lnTo>
                <a:lnTo>
                  <a:pt x="116921" y="60309"/>
                </a:lnTo>
                <a:lnTo>
                  <a:pt x="116974" y="60626"/>
                </a:lnTo>
                <a:lnTo>
                  <a:pt x="117079" y="60837"/>
                </a:lnTo>
                <a:lnTo>
                  <a:pt x="117185" y="60784"/>
                </a:lnTo>
                <a:lnTo>
                  <a:pt x="117238" y="60996"/>
                </a:lnTo>
                <a:lnTo>
                  <a:pt x="117396" y="61260"/>
                </a:lnTo>
                <a:lnTo>
                  <a:pt x="117449" y="61471"/>
                </a:lnTo>
                <a:lnTo>
                  <a:pt x="117449" y="61576"/>
                </a:lnTo>
                <a:lnTo>
                  <a:pt x="117449" y="61735"/>
                </a:lnTo>
                <a:lnTo>
                  <a:pt x="117449" y="61840"/>
                </a:lnTo>
                <a:lnTo>
                  <a:pt x="117502" y="61946"/>
                </a:lnTo>
                <a:lnTo>
                  <a:pt x="117555" y="61999"/>
                </a:lnTo>
                <a:lnTo>
                  <a:pt x="117608" y="61999"/>
                </a:lnTo>
                <a:lnTo>
                  <a:pt x="117660" y="62052"/>
                </a:lnTo>
                <a:lnTo>
                  <a:pt x="117819" y="62157"/>
                </a:lnTo>
                <a:lnTo>
                  <a:pt x="118664" y="62263"/>
                </a:lnTo>
                <a:lnTo>
                  <a:pt x="118928" y="62421"/>
                </a:lnTo>
                <a:lnTo>
                  <a:pt x="119139" y="62738"/>
                </a:lnTo>
                <a:lnTo>
                  <a:pt x="119509" y="63425"/>
                </a:lnTo>
                <a:lnTo>
                  <a:pt x="120195" y="64217"/>
                </a:lnTo>
                <a:lnTo>
                  <a:pt x="120407" y="64587"/>
                </a:lnTo>
                <a:lnTo>
                  <a:pt x="120512" y="65115"/>
                </a:lnTo>
                <a:lnTo>
                  <a:pt x="120512" y="65379"/>
                </a:lnTo>
                <a:lnTo>
                  <a:pt x="120512" y="65590"/>
                </a:lnTo>
                <a:lnTo>
                  <a:pt x="120459" y="65801"/>
                </a:lnTo>
                <a:lnTo>
                  <a:pt x="120407" y="65960"/>
                </a:lnTo>
                <a:lnTo>
                  <a:pt x="120142" y="66488"/>
                </a:lnTo>
                <a:lnTo>
                  <a:pt x="120090" y="66646"/>
                </a:lnTo>
                <a:lnTo>
                  <a:pt x="120090" y="66805"/>
                </a:lnTo>
                <a:lnTo>
                  <a:pt x="120142" y="66910"/>
                </a:lnTo>
                <a:lnTo>
                  <a:pt x="120195" y="66910"/>
                </a:lnTo>
                <a:lnTo>
                  <a:pt x="120195" y="67016"/>
                </a:lnTo>
                <a:lnTo>
                  <a:pt x="120195" y="67121"/>
                </a:lnTo>
                <a:lnTo>
                  <a:pt x="120195" y="67280"/>
                </a:lnTo>
                <a:lnTo>
                  <a:pt x="120195" y="67386"/>
                </a:lnTo>
                <a:lnTo>
                  <a:pt x="120248" y="67491"/>
                </a:lnTo>
                <a:lnTo>
                  <a:pt x="120301" y="67597"/>
                </a:lnTo>
                <a:lnTo>
                  <a:pt x="120407" y="67597"/>
                </a:lnTo>
                <a:lnTo>
                  <a:pt x="120459" y="67491"/>
                </a:lnTo>
                <a:lnTo>
                  <a:pt x="120459" y="67333"/>
                </a:lnTo>
                <a:lnTo>
                  <a:pt x="120407" y="67227"/>
                </a:lnTo>
                <a:lnTo>
                  <a:pt x="120354" y="67174"/>
                </a:lnTo>
                <a:lnTo>
                  <a:pt x="120354" y="67069"/>
                </a:lnTo>
                <a:lnTo>
                  <a:pt x="120407" y="67016"/>
                </a:lnTo>
                <a:lnTo>
                  <a:pt x="120248" y="66963"/>
                </a:lnTo>
                <a:lnTo>
                  <a:pt x="120248" y="66752"/>
                </a:lnTo>
                <a:lnTo>
                  <a:pt x="120301" y="66488"/>
                </a:lnTo>
                <a:lnTo>
                  <a:pt x="120459" y="66329"/>
                </a:lnTo>
                <a:lnTo>
                  <a:pt x="120776" y="66329"/>
                </a:lnTo>
                <a:lnTo>
                  <a:pt x="120882" y="66277"/>
                </a:lnTo>
                <a:lnTo>
                  <a:pt x="121040" y="66065"/>
                </a:lnTo>
                <a:lnTo>
                  <a:pt x="122202" y="66065"/>
                </a:lnTo>
                <a:lnTo>
                  <a:pt x="122572" y="66382"/>
                </a:lnTo>
                <a:lnTo>
                  <a:pt x="122994" y="66382"/>
                </a:lnTo>
                <a:lnTo>
                  <a:pt x="123153" y="66488"/>
                </a:lnTo>
                <a:lnTo>
                  <a:pt x="123364" y="66541"/>
                </a:lnTo>
                <a:lnTo>
                  <a:pt x="123945" y="66857"/>
                </a:lnTo>
                <a:lnTo>
                  <a:pt x="124050" y="66963"/>
                </a:lnTo>
                <a:lnTo>
                  <a:pt x="124156" y="67121"/>
                </a:lnTo>
                <a:lnTo>
                  <a:pt x="124262" y="67333"/>
                </a:lnTo>
                <a:lnTo>
                  <a:pt x="124314" y="67544"/>
                </a:lnTo>
                <a:lnTo>
                  <a:pt x="124526" y="67808"/>
                </a:lnTo>
                <a:lnTo>
                  <a:pt x="124631" y="68019"/>
                </a:lnTo>
                <a:lnTo>
                  <a:pt x="124578" y="68125"/>
                </a:lnTo>
                <a:lnTo>
                  <a:pt x="124526" y="68600"/>
                </a:lnTo>
                <a:lnTo>
                  <a:pt x="124526" y="68706"/>
                </a:lnTo>
                <a:lnTo>
                  <a:pt x="124367" y="69023"/>
                </a:lnTo>
                <a:lnTo>
                  <a:pt x="124314" y="69234"/>
                </a:lnTo>
                <a:lnTo>
                  <a:pt x="124262" y="69340"/>
                </a:lnTo>
                <a:lnTo>
                  <a:pt x="124209" y="69392"/>
                </a:lnTo>
                <a:lnTo>
                  <a:pt x="124103" y="69445"/>
                </a:lnTo>
                <a:lnTo>
                  <a:pt x="123892" y="69445"/>
                </a:lnTo>
                <a:lnTo>
                  <a:pt x="123786" y="69392"/>
                </a:lnTo>
                <a:lnTo>
                  <a:pt x="123786" y="69340"/>
                </a:lnTo>
                <a:lnTo>
                  <a:pt x="124050" y="69340"/>
                </a:lnTo>
                <a:lnTo>
                  <a:pt x="124156" y="69234"/>
                </a:lnTo>
                <a:lnTo>
                  <a:pt x="124103" y="69128"/>
                </a:lnTo>
                <a:lnTo>
                  <a:pt x="124103" y="69023"/>
                </a:lnTo>
                <a:lnTo>
                  <a:pt x="124156" y="68917"/>
                </a:lnTo>
                <a:lnTo>
                  <a:pt x="124209" y="68811"/>
                </a:lnTo>
                <a:lnTo>
                  <a:pt x="124156" y="68759"/>
                </a:lnTo>
                <a:lnTo>
                  <a:pt x="124156" y="68653"/>
                </a:lnTo>
                <a:lnTo>
                  <a:pt x="124156" y="68547"/>
                </a:lnTo>
                <a:lnTo>
                  <a:pt x="124156" y="68442"/>
                </a:lnTo>
                <a:lnTo>
                  <a:pt x="124209" y="68442"/>
                </a:lnTo>
                <a:lnTo>
                  <a:pt x="124262" y="68336"/>
                </a:lnTo>
                <a:lnTo>
                  <a:pt x="124262" y="68178"/>
                </a:lnTo>
                <a:lnTo>
                  <a:pt x="124262" y="68072"/>
                </a:lnTo>
                <a:lnTo>
                  <a:pt x="124209" y="67914"/>
                </a:lnTo>
                <a:lnTo>
                  <a:pt x="124103" y="67966"/>
                </a:lnTo>
                <a:lnTo>
                  <a:pt x="123839" y="68230"/>
                </a:lnTo>
                <a:lnTo>
                  <a:pt x="123575" y="68283"/>
                </a:lnTo>
                <a:lnTo>
                  <a:pt x="123258" y="68230"/>
                </a:lnTo>
                <a:lnTo>
                  <a:pt x="123153" y="68125"/>
                </a:lnTo>
                <a:lnTo>
                  <a:pt x="122941" y="67808"/>
                </a:lnTo>
                <a:lnTo>
                  <a:pt x="122941" y="67702"/>
                </a:lnTo>
                <a:lnTo>
                  <a:pt x="122308" y="67650"/>
                </a:lnTo>
                <a:lnTo>
                  <a:pt x="122096" y="67861"/>
                </a:lnTo>
                <a:lnTo>
                  <a:pt x="121938" y="67861"/>
                </a:lnTo>
                <a:lnTo>
                  <a:pt x="121938" y="67966"/>
                </a:lnTo>
                <a:lnTo>
                  <a:pt x="121938" y="68072"/>
                </a:lnTo>
                <a:lnTo>
                  <a:pt x="121780" y="68495"/>
                </a:lnTo>
                <a:lnTo>
                  <a:pt x="121780" y="68547"/>
                </a:lnTo>
                <a:lnTo>
                  <a:pt x="121727" y="68600"/>
                </a:lnTo>
                <a:lnTo>
                  <a:pt x="121674" y="68706"/>
                </a:lnTo>
                <a:lnTo>
                  <a:pt x="121621" y="68970"/>
                </a:lnTo>
                <a:lnTo>
                  <a:pt x="121621" y="69075"/>
                </a:lnTo>
                <a:lnTo>
                  <a:pt x="121516" y="69234"/>
                </a:lnTo>
                <a:lnTo>
                  <a:pt x="121146" y="69815"/>
                </a:lnTo>
                <a:lnTo>
                  <a:pt x="121040" y="69868"/>
                </a:lnTo>
                <a:lnTo>
                  <a:pt x="121040" y="69973"/>
                </a:lnTo>
                <a:lnTo>
                  <a:pt x="121251" y="69815"/>
                </a:lnTo>
                <a:lnTo>
                  <a:pt x="121304" y="69815"/>
                </a:lnTo>
                <a:lnTo>
                  <a:pt x="121304" y="69920"/>
                </a:lnTo>
                <a:lnTo>
                  <a:pt x="121251" y="70026"/>
                </a:lnTo>
                <a:lnTo>
                  <a:pt x="121093" y="70132"/>
                </a:lnTo>
                <a:lnTo>
                  <a:pt x="120987" y="70237"/>
                </a:lnTo>
                <a:lnTo>
                  <a:pt x="120882" y="70396"/>
                </a:lnTo>
                <a:lnTo>
                  <a:pt x="120829" y="70554"/>
                </a:lnTo>
                <a:lnTo>
                  <a:pt x="120776" y="70765"/>
                </a:lnTo>
                <a:lnTo>
                  <a:pt x="121040" y="70924"/>
                </a:lnTo>
                <a:lnTo>
                  <a:pt x="121040" y="70977"/>
                </a:lnTo>
                <a:lnTo>
                  <a:pt x="120882" y="71082"/>
                </a:lnTo>
                <a:lnTo>
                  <a:pt x="120723" y="71135"/>
                </a:lnTo>
                <a:lnTo>
                  <a:pt x="120512" y="71135"/>
                </a:lnTo>
                <a:lnTo>
                  <a:pt x="120407" y="71029"/>
                </a:lnTo>
                <a:lnTo>
                  <a:pt x="120459" y="70924"/>
                </a:lnTo>
                <a:lnTo>
                  <a:pt x="120512" y="70818"/>
                </a:lnTo>
                <a:lnTo>
                  <a:pt x="120512" y="70713"/>
                </a:lnTo>
                <a:lnTo>
                  <a:pt x="120459" y="70607"/>
                </a:lnTo>
                <a:lnTo>
                  <a:pt x="120354" y="70554"/>
                </a:lnTo>
                <a:lnTo>
                  <a:pt x="120195" y="70713"/>
                </a:lnTo>
                <a:lnTo>
                  <a:pt x="120142" y="70713"/>
                </a:lnTo>
                <a:lnTo>
                  <a:pt x="120248" y="70501"/>
                </a:lnTo>
                <a:lnTo>
                  <a:pt x="120354" y="70396"/>
                </a:lnTo>
                <a:lnTo>
                  <a:pt x="120407" y="70396"/>
                </a:lnTo>
                <a:lnTo>
                  <a:pt x="119192" y="70026"/>
                </a:lnTo>
                <a:lnTo>
                  <a:pt x="119033" y="70079"/>
                </a:lnTo>
                <a:lnTo>
                  <a:pt x="118558" y="70396"/>
                </a:lnTo>
                <a:lnTo>
                  <a:pt x="118400" y="70449"/>
                </a:lnTo>
                <a:lnTo>
                  <a:pt x="118136" y="70449"/>
                </a:lnTo>
                <a:lnTo>
                  <a:pt x="117977" y="70343"/>
                </a:lnTo>
                <a:lnTo>
                  <a:pt x="117924" y="70343"/>
                </a:lnTo>
                <a:lnTo>
                  <a:pt x="117924" y="70290"/>
                </a:lnTo>
                <a:lnTo>
                  <a:pt x="117924" y="70184"/>
                </a:lnTo>
                <a:lnTo>
                  <a:pt x="117872" y="70132"/>
                </a:lnTo>
                <a:lnTo>
                  <a:pt x="117819" y="70132"/>
                </a:lnTo>
                <a:lnTo>
                  <a:pt x="117819" y="70184"/>
                </a:lnTo>
                <a:lnTo>
                  <a:pt x="117766" y="70184"/>
                </a:lnTo>
                <a:lnTo>
                  <a:pt x="117555" y="70290"/>
                </a:lnTo>
                <a:lnTo>
                  <a:pt x="117132" y="70396"/>
                </a:lnTo>
                <a:lnTo>
                  <a:pt x="117027" y="70449"/>
                </a:lnTo>
                <a:lnTo>
                  <a:pt x="117027" y="70554"/>
                </a:lnTo>
                <a:lnTo>
                  <a:pt x="117027" y="70713"/>
                </a:lnTo>
                <a:lnTo>
                  <a:pt x="117027" y="70765"/>
                </a:lnTo>
                <a:lnTo>
                  <a:pt x="116974" y="70818"/>
                </a:lnTo>
                <a:lnTo>
                  <a:pt x="116974" y="70660"/>
                </a:lnTo>
                <a:lnTo>
                  <a:pt x="116974" y="70449"/>
                </a:lnTo>
                <a:lnTo>
                  <a:pt x="116974" y="70396"/>
                </a:lnTo>
                <a:lnTo>
                  <a:pt x="116974" y="70290"/>
                </a:lnTo>
                <a:lnTo>
                  <a:pt x="116974" y="70079"/>
                </a:lnTo>
                <a:lnTo>
                  <a:pt x="116815" y="69920"/>
                </a:lnTo>
                <a:lnTo>
                  <a:pt x="116551" y="69709"/>
                </a:lnTo>
                <a:lnTo>
                  <a:pt x="116551" y="69604"/>
                </a:lnTo>
                <a:lnTo>
                  <a:pt x="116446" y="69709"/>
                </a:lnTo>
                <a:lnTo>
                  <a:pt x="116076" y="69762"/>
                </a:lnTo>
                <a:lnTo>
                  <a:pt x="115654" y="69709"/>
                </a:lnTo>
                <a:lnTo>
                  <a:pt x="115601" y="69709"/>
                </a:lnTo>
                <a:lnTo>
                  <a:pt x="115390" y="69868"/>
                </a:lnTo>
                <a:lnTo>
                  <a:pt x="115231" y="69973"/>
                </a:lnTo>
                <a:lnTo>
                  <a:pt x="114861" y="70079"/>
                </a:lnTo>
                <a:lnTo>
                  <a:pt x="114069" y="70026"/>
                </a:lnTo>
                <a:lnTo>
                  <a:pt x="113964" y="70026"/>
                </a:lnTo>
                <a:lnTo>
                  <a:pt x="113805" y="69815"/>
                </a:lnTo>
                <a:lnTo>
                  <a:pt x="113752" y="69762"/>
                </a:lnTo>
                <a:lnTo>
                  <a:pt x="112221" y="70026"/>
                </a:lnTo>
                <a:lnTo>
                  <a:pt x="111798" y="69868"/>
                </a:lnTo>
                <a:lnTo>
                  <a:pt x="111587" y="69656"/>
                </a:lnTo>
                <a:lnTo>
                  <a:pt x="111376" y="69340"/>
                </a:lnTo>
                <a:lnTo>
                  <a:pt x="111218" y="68970"/>
                </a:lnTo>
                <a:lnTo>
                  <a:pt x="111165" y="68495"/>
                </a:lnTo>
                <a:lnTo>
                  <a:pt x="111059" y="68442"/>
                </a:lnTo>
                <a:lnTo>
                  <a:pt x="111006" y="68442"/>
                </a:lnTo>
                <a:lnTo>
                  <a:pt x="110954" y="68495"/>
                </a:lnTo>
                <a:lnTo>
                  <a:pt x="110954" y="68653"/>
                </a:lnTo>
                <a:lnTo>
                  <a:pt x="110901" y="68759"/>
                </a:lnTo>
                <a:lnTo>
                  <a:pt x="110795" y="68811"/>
                </a:lnTo>
                <a:lnTo>
                  <a:pt x="110742" y="68759"/>
                </a:lnTo>
                <a:lnTo>
                  <a:pt x="110742" y="68547"/>
                </a:lnTo>
                <a:lnTo>
                  <a:pt x="110267" y="68653"/>
                </a:lnTo>
                <a:lnTo>
                  <a:pt x="109475" y="68653"/>
                </a:lnTo>
                <a:lnTo>
                  <a:pt x="109580" y="68495"/>
                </a:lnTo>
                <a:lnTo>
                  <a:pt x="109845" y="68547"/>
                </a:lnTo>
                <a:lnTo>
                  <a:pt x="109950" y="68442"/>
                </a:lnTo>
                <a:lnTo>
                  <a:pt x="110003" y="68336"/>
                </a:lnTo>
                <a:lnTo>
                  <a:pt x="110161" y="68283"/>
                </a:lnTo>
                <a:lnTo>
                  <a:pt x="110425" y="68283"/>
                </a:lnTo>
                <a:lnTo>
                  <a:pt x="110584" y="68178"/>
                </a:lnTo>
                <a:lnTo>
                  <a:pt x="110795" y="68019"/>
                </a:lnTo>
                <a:lnTo>
                  <a:pt x="110954" y="67808"/>
                </a:lnTo>
                <a:lnTo>
                  <a:pt x="111059" y="67544"/>
                </a:lnTo>
                <a:lnTo>
                  <a:pt x="111006" y="67438"/>
                </a:lnTo>
                <a:lnTo>
                  <a:pt x="111006" y="67386"/>
                </a:lnTo>
                <a:lnTo>
                  <a:pt x="111006" y="67333"/>
                </a:lnTo>
                <a:lnTo>
                  <a:pt x="110901" y="66963"/>
                </a:lnTo>
                <a:lnTo>
                  <a:pt x="110901" y="66752"/>
                </a:lnTo>
                <a:lnTo>
                  <a:pt x="110901" y="66646"/>
                </a:lnTo>
                <a:lnTo>
                  <a:pt x="110901" y="66488"/>
                </a:lnTo>
                <a:lnTo>
                  <a:pt x="110848" y="66224"/>
                </a:lnTo>
                <a:lnTo>
                  <a:pt x="110848" y="66171"/>
                </a:lnTo>
                <a:lnTo>
                  <a:pt x="110901" y="66118"/>
                </a:lnTo>
                <a:lnTo>
                  <a:pt x="110954" y="66012"/>
                </a:lnTo>
                <a:lnTo>
                  <a:pt x="110954" y="65907"/>
                </a:lnTo>
                <a:lnTo>
                  <a:pt x="110954" y="65801"/>
                </a:lnTo>
                <a:lnTo>
                  <a:pt x="111323" y="65379"/>
                </a:lnTo>
                <a:lnTo>
                  <a:pt x="111376" y="65220"/>
                </a:lnTo>
                <a:lnTo>
                  <a:pt x="111429" y="65009"/>
                </a:lnTo>
                <a:lnTo>
                  <a:pt x="111429" y="64745"/>
                </a:lnTo>
                <a:lnTo>
                  <a:pt x="111376" y="64534"/>
                </a:lnTo>
                <a:lnTo>
                  <a:pt x="111323" y="64323"/>
                </a:lnTo>
                <a:lnTo>
                  <a:pt x="111218" y="64217"/>
                </a:lnTo>
                <a:lnTo>
                  <a:pt x="110848" y="64217"/>
                </a:lnTo>
                <a:lnTo>
                  <a:pt x="110689" y="64164"/>
                </a:lnTo>
                <a:lnTo>
                  <a:pt x="110637" y="64006"/>
                </a:lnTo>
                <a:lnTo>
                  <a:pt x="110742" y="64006"/>
                </a:lnTo>
                <a:lnTo>
                  <a:pt x="112063" y="64217"/>
                </a:lnTo>
                <a:lnTo>
                  <a:pt x="111851" y="63953"/>
                </a:lnTo>
                <a:lnTo>
                  <a:pt x="111534" y="63794"/>
                </a:lnTo>
                <a:lnTo>
                  <a:pt x="110373" y="63689"/>
                </a:lnTo>
                <a:lnTo>
                  <a:pt x="109000" y="63794"/>
                </a:lnTo>
                <a:lnTo>
                  <a:pt x="107838" y="64059"/>
                </a:lnTo>
                <a:lnTo>
                  <a:pt x="106887" y="64375"/>
                </a:lnTo>
                <a:lnTo>
                  <a:pt x="106834" y="64639"/>
                </a:lnTo>
                <a:lnTo>
                  <a:pt x="106042" y="65273"/>
                </a:lnTo>
                <a:lnTo>
                  <a:pt x="105884" y="65379"/>
                </a:lnTo>
                <a:lnTo>
                  <a:pt x="105831" y="65432"/>
                </a:lnTo>
                <a:lnTo>
                  <a:pt x="105831" y="65537"/>
                </a:lnTo>
                <a:lnTo>
                  <a:pt x="105831" y="65696"/>
                </a:lnTo>
                <a:lnTo>
                  <a:pt x="105831" y="65748"/>
                </a:lnTo>
                <a:lnTo>
                  <a:pt x="105725" y="65801"/>
                </a:lnTo>
                <a:lnTo>
                  <a:pt x="105567" y="65801"/>
                </a:lnTo>
                <a:lnTo>
                  <a:pt x="105461" y="65907"/>
                </a:lnTo>
                <a:lnTo>
                  <a:pt x="105461" y="66224"/>
                </a:lnTo>
                <a:lnTo>
                  <a:pt x="105408" y="66171"/>
                </a:lnTo>
                <a:lnTo>
                  <a:pt x="105356" y="66118"/>
                </a:lnTo>
                <a:lnTo>
                  <a:pt x="105303" y="66012"/>
                </a:lnTo>
                <a:lnTo>
                  <a:pt x="105250" y="65907"/>
                </a:lnTo>
                <a:lnTo>
                  <a:pt x="105250" y="65854"/>
                </a:lnTo>
                <a:lnTo>
                  <a:pt x="105250" y="65696"/>
                </a:lnTo>
                <a:lnTo>
                  <a:pt x="105092" y="65643"/>
                </a:lnTo>
                <a:lnTo>
                  <a:pt x="104426" y="65717"/>
                </a:lnTo>
                <a:lnTo>
                  <a:pt x="104426" y="65717"/>
                </a:lnTo>
                <a:lnTo>
                  <a:pt x="104696" y="65537"/>
                </a:lnTo>
                <a:lnTo>
                  <a:pt x="104696" y="65537"/>
                </a:lnTo>
                <a:lnTo>
                  <a:pt x="104290" y="65732"/>
                </a:lnTo>
                <a:lnTo>
                  <a:pt x="104290" y="65732"/>
                </a:lnTo>
                <a:lnTo>
                  <a:pt x="104141" y="65748"/>
                </a:lnTo>
                <a:lnTo>
                  <a:pt x="104035" y="65854"/>
                </a:lnTo>
                <a:lnTo>
                  <a:pt x="103877" y="65960"/>
                </a:lnTo>
                <a:lnTo>
                  <a:pt x="103296" y="66171"/>
                </a:lnTo>
                <a:lnTo>
                  <a:pt x="101976" y="67069"/>
                </a:lnTo>
                <a:lnTo>
                  <a:pt x="101659" y="67491"/>
                </a:lnTo>
                <a:lnTo>
                  <a:pt x="101501" y="67808"/>
                </a:lnTo>
                <a:lnTo>
                  <a:pt x="101395" y="68072"/>
                </a:lnTo>
                <a:lnTo>
                  <a:pt x="101448" y="68230"/>
                </a:lnTo>
                <a:lnTo>
                  <a:pt x="101606" y="68283"/>
                </a:lnTo>
                <a:lnTo>
                  <a:pt x="101976" y="68283"/>
                </a:lnTo>
                <a:lnTo>
                  <a:pt x="102240" y="68389"/>
                </a:lnTo>
                <a:lnTo>
                  <a:pt x="102715" y="68759"/>
                </a:lnTo>
                <a:lnTo>
                  <a:pt x="103032" y="68864"/>
                </a:lnTo>
                <a:lnTo>
                  <a:pt x="103190" y="68970"/>
                </a:lnTo>
                <a:lnTo>
                  <a:pt x="103243" y="69075"/>
                </a:lnTo>
                <a:lnTo>
                  <a:pt x="102029" y="69656"/>
                </a:lnTo>
                <a:lnTo>
                  <a:pt x="100444" y="69392"/>
                </a:lnTo>
                <a:lnTo>
                  <a:pt x="100075" y="69075"/>
                </a:lnTo>
                <a:lnTo>
                  <a:pt x="100180" y="69075"/>
                </a:lnTo>
                <a:lnTo>
                  <a:pt x="100339" y="69128"/>
                </a:lnTo>
                <a:lnTo>
                  <a:pt x="100444" y="69128"/>
                </a:lnTo>
                <a:lnTo>
                  <a:pt x="100233" y="68917"/>
                </a:lnTo>
                <a:lnTo>
                  <a:pt x="100022" y="68864"/>
                </a:lnTo>
                <a:lnTo>
                  <a:pt x="99494" y="68811"/>
                </a:lnTo>
                <a:lnTo>
                  <a:pt x="99388" y="68864"/>
                </a:lnTo>
                <a:lnTo>
                  <a:pt x="99177" y="69075"/>
                </a:lnTo>
                <a:lnTo>
                  <a:pt x="98966" y="69181"/>
                </a:lnTo>
                <a:lnTo>
                  <a:pt x="98702" y="69392"/>
                </a:lnTo>
                <a:lnTo>
                  <a:pt x="98332" y="69498"/>
                </a:lnTo>
                <a:lnTo>
                  <a:pt x="98220" y="69577"/>
                </a:lnTo>
                <a:lnTo>
                  <a:pt x="98220" y="69577"/>
                </a:lnTo>
                <a:lnTo>
                  <a:pt x="98385" y="69445"/>
                </a:lnTo>
                <a:lnTo>
                  <a:pt x="98543" y="69340"/>
                </a:lnTo>
                <a:lnTo>
                  <a:pt x="98649" y="69234"/>
                </a:lnTo>
                <a:lnTo>
                  <a:pt x="98754" y="69181"/>
                </a:lnTo>
                <a:lnTo>
                  <a:pt x="99124" y="68970"/>
                </a:lnTo>
                <a:lnTo>
                  <a:pt x="99441" y="68706"/>
                </a:lnTo>
                <a:lnTo>
                  <a:pt x="99705" y="68653"/>
                </a:lnTo>
                <a:lnTo>
                  <a:pt x="99811" y="68600"/>
                </a:lnTo>
                <a:lnTo>
                  <a:pt x="99916" y="68495"/>
                </a:lnTo>
                <a:lnTo>
                  <a:pt x="100075" y="68389"/>
                </a:lnTo>
                <a:lnTo>
                  <a:pt x="100075" y="68389"/>
                </a:lnTo>
                <a:lnTo>
                  <a:pt x="99652" y="68495"/>
                </a:lnTo>
                <a:lnTo>
                  <a:pt x="99441" y="68600"/>
                </a:lnTo>
                <a:lnTo>
                  <a:pt x="97381" y="70026"/>
                </a:lnTo>
                <a:lnTo>
                  <a:pt x="97223" y="70132"/>
                </a:lnTo>
                <a:lnTo>
                  <a:pt x="97223" y="70237"/>
                </a:lnTo>
                <a:lnTo>
                  <a:pt x="97540" y="70026"/>
                </a:lnTo>
                <a:lnTo>
                  <a:pt x="97698" y="69868"/>
                </a:lnTo>
                <a:lnTo>
                  <a:pt x="98075" y="69679"/>
                </a:lnTo>
                <a:lnTo>
                  <a:pt x="97434" y="70132"/>
                </a:lnTo>
                <a:lnTo>
                  <a:pt x="97276" y="70396"/>
                </a:lnTo>
                <a:lnTo>
                  <a:pt x="97065" y="70713"/>
                </a:lnTo>
                <a:lnTo>
                  <a:pt x="97012" y="70765"/>
                </a:lnTo>
                <a:lnTo>
                  <a:pt x="97012" y="70818"/>
                </a:lnTo>
                <a:lnTo>
                  <a:pt x="97065" y="70977"/>
                </a:lnTo>
                <a:lnTo>
                  <a:pt x="97065" y="71029"/>
                </a:lnTo>
                <a:lnTo>
                  <a:pt x="96959" y="71082"/>
                </a:lnTo>
                <a:lnTo>
                  <a:pt x="96748" y="71029"/>
                </a:lnTo>
                <a:lnTo>
                  <a:pt x="96695" y="71029"/>
                </a:lnTo>
                <a:lnTo>
                  <a:pt x="96695" y="70871"/>
                </a:lnTo>
                <a:lnTo>
                  <a:pt x="96748" y="70818"/>
                </a:lnTo>
                <a:lnTo>
                  <a:pt x="96800" y="70765"/>
                </a:lnTo>
                <a:lnTo>
                  <a:pt x="96800" y="70765"/>
                </a:lnTo>
                <a:lnTo>
                  <a:pt x="96589" y="70924"/>
                </a:lnTo>
                <a:lnTo>
                  <a:pt x="96431" y="70977"/>
                </a:lnTo>
                <a:lnTo>
                  <a:pt x="96220" y="71188"/>
                </a:lnTo>
                <a:lnTo>
                  <a:pt x="96695" y="71505"/>
                </a:lnTo>
                <a:lnTo>
                  <a:pt x="96589" y="71716"/>
                </a:lnTo>
                <a:lnTo>
                  <a:pt x="96167" y="71927"/>
                </a:lnTo>
                <a:lnTo>
                  <a:pt x="95797" y="72297"/>
                </a:lnTo>
                <a:lnTo>
                  <a:pt x="95375" y="72508"/>
                </a:lnTo>
                <a:lnTo>
                  <a:pt x="95216" y="72508"/>
                </a:lnTo>
                <a:lnTo>
                  <a:pt x="95058" y="72455"/>
                </a:lnTo>
                <a:lnTo>
                  <a:pt x="94847" y="72191"/>
                </a:lnTo>
                <a:lnTo>
                  <a:pt x="94741" y="72086"/>
                </a:lnTo>
                <a:lnTo>
                  <a:pt x="94741" y="71980"/>
                </a:lnTo>
                <a:lnTo>
                  <a:pt x="94477" y="72033"/>
                </a:lnTo>
                <a:lnTo>
                  <a:pt x="93738" y="72825"/>
                </a:lnTo>
                <a:lnTo>
                  <a:pt x="93738" y="72931"/>
                </a:lnTo>
                <a:lnTo>
                  <a:pt x="93896" y="72931"/>
                </a:lnTo>
                <a:lnTo>
                  <a:pt x="94002" y="72983"/>
                </a:lnTo>
                <a:lnTo>
                  <a:pt x="94054" y="73036"/>
                </a:lnTo>
                <a:lnTo>
                  <a:pt x="93738" y="72983"/>
                </a:lnTo>
                <a:lnTo>
                  <a:pt x="93526" y="73036"/>
                </a:lnTo>
                <a:lnTo>
                  <a:pt x="93473" y="73247"/>
                </a:lnTo>
                <a:lnTo>
                  <a:pt x="93579" y="73406"/>
                </a:lnTo>
                <a:lnTo>
                  <a:pt x="93738" y="73459"/>
                </a:lnTo>
                <a:lnTo>
                  <a:pt x="93843" y="73564"/>
                </a:lnTo>
                <a:lnTo>
                  <a:pt x="93843" y="73828"/>
                </a:lnTo>
                <a:lnTo>
                  <a:pt x="93685" y="73987"/>
                </a:lnTo>
                <a:lnTo>
                  <a:pt x="93473" y="74092"/>
                </a:lnTo>
                <a:lnTo>
                  <a:pt x="92312" y="74092"/>
                </a:lnTo>
                <a:lnTo>
                  <a:pt x="92312" y="74304"/>
                </a:lnTo>
                <a:lnTo>
                  <a:pt x="92206" y="74515"/>
                </a:lnTo>
                <a:lnTo>
                  <a:pt x="91995" y="74673"/>
                </a:lnTo>
                <a:lnTo>
                  <a:pt x="91836" y="74726"/>
                </a:lnTo>
                <a:lnTo>
                  <a:pt x="91520" y="74990"/>
                </a:lnTo>
                <a:lnTo>
                  <a:pt x="91308" y="75043"/>
                </a:lnTo>
                <a:lnTo>
                  <a:pt x="91203" y="74885"/>
                </a:lnTo>
                <a:lnTo>
                  <a:pt x="91203" y="74568"/>
                </a:lnTo>
                <a:lnTo>
                  <a:pt x="91361" y="74356"/>
                </a:lnTo>
                <a:lnTo>
                  <a:pt x="91520" y="74198"/>
                </a:lnTo>
                <a:lnTo>
                  <a:pt x="91784" y="74092"/>
                </a:lnTo>
                <a:lnTo>
                  <a:pt x="91889" y="73934"/>
                </a:lnTo>
                <a:lnTo>
                  <a:pt x="91995" y="73934"/>
                </a:lnTo>
                <a:lnTo>
                  <a:pt x="92048" y="73881"/>
                </a:lnTo>
                <a:lnTo>
                  <a:pt x="92100" y="73723"/>
                </a:lnTo>
                <a:lnTo>
                  <a:pt x="92206" y="73511"/>
                </a:lnTo>
                <a:lnTo>
                  <a:pt x="91784" y="73670"/>
                </a:lnTo>
                <a:lnTo>
                  <a:pt x="91572" y="73934"/>
                </a:lnTo>
                <a:lnTo>
                  <a:pt x="91150" y="74198"/>
                </a:lnTo>
                <a:lnTo>
                  <a:pt x="90939" y="74462"/>
                </a:lnTo>
                <a:lnTo>
                  <a:pt x="90886" y="74568"/>
                </a:lnTo>
                <a:lnTo>
                  <a:pt x="90833" y="74621"/>
                </a:lnTo>
                <a:lnTo>
                  <a:pt x="90833" y="74673"/>
                </a:lnTo>
                <a:lnTo>
                  <a:pt x="90833" y="74832"/>
                </a:lnTo>
                <a:lnTo>
                  <a:pt x="90833" y="74885"/>
                </a:lnTo>
                <a:lnTo>
                  <a:pt x="90833" y="74937"/>
                </a:lnTo>
                <a:lnTo>
                  <a:pt x="90991" y="75149"/>
                </a:lnTo>
                <a:lnTo>
                  <a:pt x="90991" y="75201"/>
                </a:lnTo>
                <a:lnTo>
                  <a:pt x="90991" y="75360"/>
                </a:lnTo>
                <a:lnTo>
                  <a:pt x="90991" y="75465"/>
                </a:lnTo>
                <a:lnTo>
                  <a:pt x="90991" y="75518"/>
                </a:lnTo>
                <a:lnTo>
                  <a:pt x="91097" y="75571"/>
                </a:lnTo>
                <a:lnTo>
                  <a:pt x="91150" y="75624"/>
                </a:lnTo>
                <a:lnTo>
                  <a:pt x="91255" y="75730"/>
                </a:lnTo>
                <a:lnTo>
                  <a:pt x="91678" y="75782"/>
                </a:lnTo>
                <a:lnTo>
                  <a:pt x="92998" y="76627"/>
                </a:lnTo>
                <a:lnTo>
                  <a:pt x="93157" y="76680"/>
                </a:lnTo>
                <a:lnTo>
                  <a:pt x="93209" y="76733"/>
                </a:lnTo>
                <a:lnTo>
                  <a:pt x="93368" y="77103"/>
                </a:lnTo>
                <a:lnTo>
                  <a:pt x="94318" y="77525"/>
                </a:lnTo>
                <a:lnTo>
                  <a:pt x="95111" y="77631"/>
                </a:lnTo>
                <a:lnTo>
                  <a:pt x="96853" y="78159"/>
                </a:lnTo>
                <a:lnTo>
                  <a:pt x="97329" y="78317"/>
                </a:lnTo>
                <a:lnTo>
                  <a:pt x="97804" y="78423"/>
                </a:lnTo>
                <a:lnTo>
                  <a:pt x="97487" y="78264"/>
                </a:lnTo>
                <a:lnTo>
                  <a:pt x="97012" y="78159"/>
                </a:lnTo>
                <a:lnTo>
                  <a:pt x="96800" y="78053"/>
                </a:lnTo>
                <a:lnTo>
                  <a:pt x="96642" y="78000"/>
                </a:lnTo>
                <a:lnTo>
                  <a:pt x="96484" y="77948"/>
                </a:lnTo>
                <a:lnTo>
                  <a:pt x="96431" y="77842"/>
                </a:lnTo>
                <a:lnTo>
                  <a:pt x="97962" y="78106"/>
                </a:lnTo>
                <a:lnTo>
                  <a:pt x="98490" y="78423"/>
                </a:lnTo>
                <a:lnTo>
                  <a:pt x="98754" y="78476"/>
                </a:lnTo>
                <a:lnTo>
                  <a:pt x="99071" y="78792"/>
                </a:lnTo>
                <a:lnTo>
                  <a:pt x="99124" y="78687"/>
                </a:lnTo>
                <a:lnTo>
                  <a:pt x="99230" y="78581"/>
                </a:lnTo>
                <a:lnTo>
                  <a:pt x="99705" y="78634"/>
                </a:lnTo>
                <a:lnTo>
                  <a:pt x="100180" y="78898"/>
                </a:lnTo>
                <a:lnTo>
                  <a:pt x="100444" y="79109"/>
                </a:lnTo>
                <a:lnTo>
                  <a:pt x="100656" y="79426"/>
                </a:lnTo>
                <a:lnTo>
                  <a:pt x="100550" y="79479"/>
                </a:lnTo>
                <a:lnTo>
                  <a:pt x="100286" y="79479"/>
                </a:lnTo>
                <a:lnTo>
                  <a:pt x="99441" y="79215"/>
                </a:lnTo>
                <a:lnTo>
                  <a:pt x="99230" y="79109"/>
                </a:lnTo>
                <a:lnTo>
                  <a:pt x="99124" y="79109"/>
                </a:lnTo>
                <a:lnTo>
                  <a:pt x="99071" y="79162"/>
                </a:lnTo>
                <a:lnTo>
                  <a:pt x="99019" y="79268"/>
                </a:lnTo>
                <a:lnTo>
                  <a:pt x="98966" y="79321"/>
                </a:lnTo>
                <a:lnTo>
                  <a:pt x="98649" y="79426"/>
                </a:lnTo>
                <a:lnTo>
                  <a:pt x="98543" y="79532"/>
                </a:lnTo>
                <a:lnTo>
                  <a:pt x="98596" y="79796"/>
                </a:lnTo>
                <a:lnTo>
                  <a:pt x="98649" y="80060"/>
                </a:lnTo>
                <a:lnTo>
                  <a:pt x="98543" y="80218"/>
                </a:lnTo>
                <a:lnTo>
                  <a:pt x="98332" y="80482"/>
                </a:lnTo>
                <a:lnTo>
                  <a:pt x="98332" y="80641"/>
                </a:lnTo>
                <a:lnTo>
                  <a:pt x="98385" y="80641"/>
                </a:lnTo>
                <a:lnTo>
                  <a:pt x="98279" y="80694"/>
                </a:lnTo>
                <a:lnTo>
                  <a:pt x="98226" y="80694"/>
                </a:lnTo>
                <a:lnTo>
                  <a:pt x="98068" y="80799"/>
                </a:lnTo>
                <a:lnTo>
                  <a:pt x="97857" y="80746"/>
                </a:lnTo>
                <a:lnTo>
                  <a:pt x="97593" y="80905"/>
                </a:lnTo>
                <a:lnTo>
                  <a:pt x="97381" y="80905"/>
                </a:lnTo>
                <a:lnTo>
                  <a:pt x="96959" y="80641"/>
                </a:lnTo>
                <a:lnTo>
                  <a:pt x="96800" y="80535"/>
                </a:lnTo>
                <a:lnTo>
                  <a:pt x="96589" y="80535"/>
                </a:lnTo>
                <a:lnTo>
                  <a:pt x="96536" y="80482"/>
                </a:lnTo>
                <a:lnTo>
                  <a:pt x="96536" y="80324"/>
                </a:lnTo>
                <a:lnTo>
                  <a:pt x="96536" y="79849"/>
                </a:lnTo>
                <a:lnTo>
                  <a:pt x="96536" y="79690"/>
                </a:lnTo>
                <a:lnTo>
                  <a:pt x="96642" y="79479"/>
                </a:lnTo>
                <a:lnTo>
                  <a:pt x="96853" y="79215"/>
                </a:lnTo>
                <a:lnTo>
                  <a:pt x="96906" y="79109"/>
                </a:lnTo>
                <a:lnTo>
                  <a:pt x="96800" y="79057"/>
                </a:lnTo>
                <a:lnTo>
                  <a:pt x="96695" y="79109"/>
                </a:lnTo>
                <a:lnTo>
                  <a:pt x="96589" y="79268"/>
                </a:lnTo>
                <a:lnTo>
                  <a:pt x="96484" y="79479"/>
                </a:lnTo>
                <a:lnTo>
                  <a:pt x="96431" y="79690"/>
                </a:lnTo>
                <a:lnTo>
                  <a:pt x="96431" y="80218"/>
                </a:lnTo>
                <a:lnTo>
                  <a:pt x="96589" y="80694"/>
                </a:lnTo>
                <a:lnTo>
                  <a:pt x="96800" y="81063"/>
                </a:lnTo>
                <a:lnTo>
                  <a:pt x="97065" y="81275"/>
                </a:lnTo>
                <a:lnTo>
                  <a:pt x="97487" y="81433"/>
                </a:lnTo>
                <a:lnTo>
                  <a:pt x="97593" y="81644"/>
                </a:lnTo>
                <a:lnTo>
                  <a:pt x="97645" y="81855"/>
                </a:lnTo>
                <a:lnTo>
                  <a:pt x="97645" y="82067"/>
                </a:lnTo>
                <a:lnTo>
                  <a:pt x="97698" y="82225"/>
                </a:lnTo>
                <a:lnTo>
                  <a:pt x="97804" y="82384"/>
                </a:lnTo>
                <a:lnTo>
                  <a:pt x="98279" y="82648"/>
                </a:lnTo>
                <a:lnTo>
                  <a:pt x="98490" y="82912"/>
                </a:lnTo>
                <a:lnTo>
                  <a:pt x="98754" y="83229"/>
                </a:lnTo>
                <a:lnTo>
                  <a:pt x="98860" y="83334"/>
                </a:lnTo>
                <a:lnTo>
                  <a:pt x="98543" y="82912"/>
                </a:lnTo>
                <a:lnTo>
                  <a:pt x="98490" y="82753"/>
                </a:lnTo>
                <a:lnTo>
                  <a:pt x="98596" y="82753"/>
                </a:lnTo>
                <a:lnTo>
                  <a:pt x="98754" y="82964"/>
                </a:lnTo>
                <a:lnTo>
                  <a:pt x="98913" y="83070"/>
                </a:lnTo>
                <a:lnTo>
                  <a:pt x="99019" y="83229"/>
                </a:lnTo>
                <a:lnTo>
                  <a:pt x="99124" y="83334"/>
                </a:lnTo>
                <a:lnTo>
                  <a:pt x="99019" y="83651"/>
                </a:lnTo>
                <a:lnTo>
                  <a:pt x="99019" y="83862"/>
                </a:lnTo>
                <a:lnTo>
                  <a:pt x="99071" y="84021"/>
                </a:lnTo>
                <a:lnTo>
                  <a:pt x="99124" y="83968"/>
                </a:lnTo>
                <a:lnTo>
                  <a:pt x="99124" y="84021"/>
                </a:lnTo>
                <a:lnTo>
                  <a:pt x="99124" y="84126"/>
                </a:lnTo>
                <a:lnTo>
                  <a:pt x="99124" y="84179"/>
                </a:lnTo>
                <a:lnTo>
                  <a:pt x="98807" y="84179"/>
                </a:lnTo>
                <a:lnTo>
                  <a:pt x="98702" y="84338"/>
                </a:lnTo>
                <a:lnTo>
                  <a:pt x="98702" y="84496"/>
                </a:lnTo>
                <a:lnTo>
                  <a:pt x="98702" y="84654"/>
                </a:lnTo>
                <a:lnTo>
                  <a:pt x="98702" y="84866"/>
                </a:lnTo>
                <a:lnTo>
                  <a:pt x="98702" y="85183"/>
                </a:lnTo>
                <a:lnTo>
                  <a:pt x="98860" y="85605"/>
                </a:lnTo>
                <a:lnTo>
                  <a:pt x="99230" y="86186"/>
                </a:lnTo>
                <a:lnTo>
                  <a:pt x="100075" y="86767"/>
                </a:lnTo>
                <a:lnTo>
                  <a:pt x="100972" y="86925"/>
                </a:lnTo>
                <a:lnTo>
                  <a:pt x="101553" y="87189"/>
                </a:lnTo>
                <a:lnTo>
                  <a:pt x="103613" y="87559"/>
                </a:lnTo>
                <a:lnTo>
                  <a:pt x="105514" y="88245"/>
                </a:lnTo>
                <a:lnTo>
                  <a:pt x="106465" y="88193"/>
                </a:lnTo>
                <a:lnTo>
                  <a:pt x="106676" y="88087"/>
                </a:lnTo>
                <a:lnTo>
                  <a:pt x="106834" y="87929"/>
                </a:lnTo>
                <a:lnTo>
                  <a:pt x="106834" y="87929"/>
                </a:lnTo>
                <a:lnTo>
                  <a:pt x="106623" y="88034"/>
                </a:lnTo>
                <a:lnTo>
                  <a:pt x="106465" y="88140"/>
                </a:lnTo>
                <a:lnTo>
                  <a:pt x="106042" y="88140"/>
                </a:lnTo>
                <a:lnTo>
                  <a:pt x="106201" y="87981"/>
                </a:lnTo>
                <a:lnTo>
                  <a:pt x="106095" y="87876"/>
                </a:lnTo>
                <a:lnTo>
                  <a:pt x="105989" y="87823"/>
                </a:lnTo>
                <a:lnTo>
                  <a:pt x="105937" y="87717"/>
                </a:lnTo>
                <a:lnTo>
                  <a:pt x="105884" y="87612"/>
                </a:lnTo>
                <a:lnTo>
                  <a:pt x="105989" y="87612"/>
                </a:lnTo>
                <a:lnTo>
                  <a:pt x="106042" y="87559"/>
                </a:lnTo>
                <a:lnTo>
                  <a:pt x="106042" y="87453"/>
                </a:lnTo>
                <a:lnTo>
                  <a:pt x="106042" y="87401"/>
                </a:lnTo>
                <a:lnTo>
                  <a:pt x="106042" y="87348"/>
                </a:lnTo>
                <a:lnTo>
                  <a:pt x="106095" y="87348"/>
                </a:lnTo>
                <a:lnTo>
                  <a:pt x="106201" y="87401"/>
                </a:lnTo>
                <a:lnTo>
                  <a:pt x="106201" y="87559"/>
                </a:lnTo>
                <a:lnTo>
                  <a:pt x="106148" y="87770"/>
                </a:lnTo>
                <a:lnTo>
                  <a:pt x="106253" y="87770"/>
                </a:lnTo>
                <a:lnTo>
                  <a:pt x="106518" y="87506"/>
                </a:lnTo>
                <a:lnTo>
                  <a:pt x="106623" y="87453"/>
                </a:lnTo>
                <a:lnTo>
                  <a:pt x="107151" y="87295"/>
                </a:lnTo>
                <a:lnTo>
                  <a:pt x="107362" y="87453"/>
                </a:lnTo>
                <a:lnTo>
                  <a:pt x="106993" y="87612"/>
                </a:lnTo>
                <a:lnTo>
                  <a:pt x="106940" y="87717"/>
                </a:lnTo>
                <a:lnTo>
                  <a:pt x="107362" y="87665"/>
                </a:lnTo>
                <a:lnTo>
                  <a:pt x="108841" y="86661"/>
                </a:lnTo>
                <a:lnTo>
                  <a:pt x="109211" y="86820"/>
                </a:lnTo>
                <a:lnTo>
                  <a:pt x="108630" y="86925"/>
                </a:lnTo>
                <a:lnTo>
                  <a:pt x="110584" y="86925"/>
                </a:lnTo>
                <a:lnTo>
                  <a:pt x="111323" y="86661"/>
                </a:lnTo>
                <a:lnTo>
                  <a:pt x="111957" y="86714"/>
                </a:lnTo>
                <a:lnTo>
                  <a:pt x="112643" y="86978"/>
                </a:lnTo>
                <a:lnTo>
                  <a:pt x="113224" y="87348"/>
                </a:lnTo>
                <a:lnTo>
                  <a:pt x="113488" y="87612"/>
                </a:lnTo>
                <a:lnTo>
                  <a:pt x="113594" y="87717"/>
                </a:lnTo>
                <a:lnTo>
                  <a:pt x="113752" y="87717"/>
                </a:lnTo>
                <a:lnTo>
                  <a:pt x="113858" y="87823"/>
                </a:lnTo>
                <a:lnTo>
                  <a:pt x="114122" y="88404"/>
                </a:lnTo>
                <a:lnTo>
                  <a:pt x="114228" y="88562"/>
                </a:lnTo>
                <a:lnTo>
                  <a:pt x="114386" y="88668"/>
                </a:lnTo>
                <a:lnTo>
                  <a:pt x="114545" y="88668"/>
                </a:lnTo>
                <a:lnTo>
                  <a:pt x="114597" y="88404"/>
                </a:lnTo>
                <a:lnTo>
                  <a:pt x="114650" y="88140"/>
                </a:lnTo>
                <a:lnTo>
                  <a:pt x="114703" y="87981"/>
                </a:lnTo>
                <a:lnTo>
                  <a:pt x="114967" y="87770"/>
                </a:lnTo>
                <a:lnTo>
                  <a:pt x="114914" y="87665"/>
                </a:lnTo>
                <a:lnTo>
                  <a:pt x="114914" y="87612"/>
                </a:lnTo>
                <a:lnTo>
                  <a:pt x="114914" y="87506"/>
                </a:lnTo>
                <a:lnTo>
                  <a:pt x="114967" y="87453"/>
                </a:lnTo>
                <a:lnTo>
                  <a:pt x="114597" y="87559"/>
                </a:lnTo>
                <a:lnTo>
                  <a:pt x="114492" y="87559"/>
                </a:lnTo>
                <a:lnTo>
                  <a:pt x="114386" y="87453"/>
                </a:lnTo>
                <a:lnTo>
                  <a:pt x="114228" y="87189"/>
                </a:lnTo>
                <a:lnTo>
                  <a:pt x="114175" y="87084"/>
                </a:lnTo>
                <a:lnTo>
                  <a:pt x="113752" y="87084"/>
                </a:lnTo>
                <a:lnTo>
                  <a:pt x="113647" y="87031"/>
                </a:lnTo>
                <a:lnTo>
                  <a:pt x="113436" y="86767"/>
                </a:lnTo>
                <a:lnTo>
                  <a:pt x="113330" y="86767"/>
                </a:lnTo>
                <a:lnTo>
                  <a:pt x="113330" y="86714"/>
                </a:lnTo>
                <a:lnTo>
                  <a:pt x="113436" y="86608"/>
                </a:lnTo>
                <a:lnTo>
                  <a:pt x="114017" y="86133"/>
                </a:lnTo>
                <a:lnTo>
                  <a:pt x="114122" y="86027"/>
                </a:lnTo>
                <a:lnTo>
                  <a:pt x="114439" y="86027"/>
                </a:lnTo>
                <a:lnTo>
                  <a:pt x="114439" y="86344"/>
                </a:lnTo>
                <a:lnTo>
                  <a:pt x="114650" y="86556"/>
                </a:lnTo>
                <a:lnTo>
                  <a:pt x="114861" y="86767"/>
                </a:lnTo>
                <a:lnTo>
                  <a:pt x="115020" y="86978"/>
                </a:lnTo>
                <a:lnTo>
                  <a:pt x="114914" y="87084"/>
                </a:lnTo>
                <a:lnTo>
                  <a:pt x="114914" y="87136"/>
                </a:lnTo>
                <a:lnTo>
                  <a:pt x="115284" y="87136"/>
                </a:lnTo>
                <a:lnTo>
                  <a:pt x="115337" y="87189"/>
                </a:lnTo>
                <a:lnTo>
                  <a:pt x="115442" y="87348"/>
                </a:lnTo>
                <a:lnTo>
                  <a:pt x="115495" y="87348"/>
                </a:lnTo>
                <a:lnTo>
                  <a:pt x="115601" y="87506"/>
                </a:lnTo>
                <a:lnTo>
                  <a:pt x="115706" y="87559"/>
                </a:lnTo>
                <a:lnTo>
                  <a:pt x="115918" y="87665"/>
                </a:lnTo>
                <a:lnTo>
                  <a:pt x="115918" y="87770"/>
                </a:lnTo>
                <a:lnTo>
                  <a:pt x="115812" y="87770"/>
                </a:lnTo>
                <a:lnTo>
                  <a:pt x="115759" y="87823"/>
                </a:lnTo>
                <a:lnTo>
                  <a:pt x="115706" y="88140"/>
                </a:lnTo>
                <a:lnTo>
                  <a:pt x="115812" y="88193"/>
                </a:lnTo>
                <a:lnTo>
                  <a:pt x="115865" y="88298"/>
                </a:lnTo>
                <a:lnTo>
                  <a:pt x="115970" y="88562"/>
                </a:lnTo>
                <a:lnTo>
                  <a:pt x="115970" y="88668"/>
                </a:lnTo>
                <a:lnTo>
                  <a:pt x="115970" y="88826"/>
                </a:lnTo>
                <a:lnTo>
                  <a:pt x="115970" y="88932"/>
                </a:lnTo>
                <a:lnTo>
                  <a:pt x="115970" y="89090"/>
                </a:lnTo>
                <a:lnTo>
                  <a:pt x="116076" y="89354"/>
                </a:lnTo>
                <a:lnTo>
                  <a:pt x="116182" y="89407"/>
                </a:lnTo>
                <a:lnTo>
                  <a:pt x="116287" y="89302"/>
                </a:lnTo>
                <a:lnTo>
                  <a:pt x="116393" y="89143"/>
                </a:lnTo>
                <a:lnTo>
                  <a:pt x="116815" y="88826"/>
                </a:lnTo>
                <a:lnTo>
                  <a:pt x="116815" y="88721"/>
                </a:lnTo>
                <a:lnTo>
                  <a:pt x="116815" y="88562"/>
                </a:lnTo>
                <a:lnTo>
                  <a:pt x="116868" y="88457"/>
                </a:lnTo>
                <a:lnTo>
                  <a:pt x="116921" y="88351"/>
                </a:lnTo>
                <a:lnTo>
                  <a:pt x="116974" y="88298"/>
                </a:lnTo>
                <a:lnTo>
                  <a:pt x="116974" y="88193"/>
                </a:lnTo>
                <a:lnTo>
                  <a:pt x="116921" y="87981"/>
                </a:lnTo>
                <a:lnTo>
                  <a:pt x="116921" y="87823"/>
                </a:lnTo>
                <a:lnTo>
                  <a:pt x="116974" y="87612"/>
                </a:lnTo>
                <a:lnTo>
                  <a:pt x="117079" y="87453"/>
                </a:lnTo>
                <a:lnTo>
                  <a:pt x="117238" y="87348"/>
                </a:lnTo>
                <a:lnTo>
                  <a:pt x="117502" y="87136"/>
                </a:lnTo>
                <a:lnTo>
                  <a:pt x="118400" y="86556"/>
                </a:lnTo>
                <a:lnTo>
                  <a:pt x="118664" y="86503"/>
                </a:lnTo>
                <a:lnTo>
                  <a:pt x="118717" y="86397"/>
                </a:lnTo>
                <a:lnTo>
                  <a:pt x="118769" y="86292"/>
                </a:lnTo>
                <a:lnTo>
                  <a:pt x="118875" y="85975"/>
                </a:lnTo>
                <a:lnTo>
                  <a:pt x="118928" y="85869"/>
                </a:lnTo>
                <a:lnTo>
                  <a:pt x="119086" y="85711"/>
                </a:lnTo>
                <a:lnTo>
                  <a:pt x="119245" y="85605"/>
                </a:lnTo>
                <a:lnTo>
                  <a:pt x="119614" y="85605"/>
                </a:lnTo>
                <a:lnTo>
                  <a:pt x="119562" y="85499"/>
                </a:lnTo>
                <a:lnTo>
                  <a:pt x="119403" y="85499"/>
                </a:lnTo>
                <a:lnTo>
                  <a:pt x="119350" y="85447"/>
                </a:lnTo>
                <a:lnTo>
                  <a:pt x="119562" y="85341"/>
                </a:lnTo>
                <a:lnTo>
                  <a:pt x="119984" y="85552"/>
                </a:lnTo>
                <a:lnTo>
                  <a:pt x="120301" y="85447"/>
                </a:lnTo>
                <a:lnTo>
                  <a:pt x="120407" y="85447"/>
                </a:lnTo>
                <a:lnTo>
                  <a:pt x="120459" y="85394"/>
                </a:lnTo>
                <a:lnTo>
                  <a:pt x="120565" y="85235"/>
                </a:lnTo>
                <a:lnTo>
                  <a:pt x="120618" y="85183"/>
                </a:lnTo>
                <a:lnTo>
                  <a:pt x="120829" y="85024"/>
                </a:lnTo>
                <a:lnTo>
                  <a:pt x="120882" y="84918"/>
                </a:lnTo>
                <a:lnTo>
                  <a:pt x="120565" y="85077"/>
                </a:lnTo>
                <a:lnTo>
                  <a:pt x="120459" y="85130"/>
                </a:lnTo>
                <a:lnTo>
                  <a:pt x="120301" y="85341"/>
                </a:lnTo>
                <a:lnTo>
                  <a:pt x="120248" y="85394"/>
                </a:lnTo>
                <a:lnTo>
                  <a:pt x="120142" y="85288"/>
                </a:lnTo>
                <a:lnTo>
                  <a:pt x="120407" y="85024"/>
                </a:lnTo>
                <a:lnTo>
                  <a:pt x="121251" y="84549"/>
                </a:lnTo>
                <a:lnTo>
                  <a:pt x="121146" y="84496"/>
                </a:lnTo>
                <a:lnTo>
                  <a:pt x="120935" y="84285"/>
                </a:lnTo>
                <a:lnTo>
                  <a:pt x="120829" y="84232"/>
                </a:lnTo>
                <a:lnTo>
                  <a:pt x="121199" y="84232"/>
                </a:lnTo>
                <a:lnTo>
                  <a:pt x="121304" y="84338"/>
                </a:lnTo>
                <a:lnTo>
                  <a:pt x="121463" y="84549"/>
                </a:lnTo>
                <a:lnTo>
                  <a:pt x="121621" y="84654"/>
                </a:lnTo>
                <a:lnTo>
                  <a:pt x="121991" y="84813"/>
                </a:lnTo>
                <a:lnTo>
                  <a:pt x="121991" y="84971"/>
                </a:lnTo>
                <a:lnTo>
                  <a:pt x="122044" y="84971"/>
                </a:lnTo>
                <a:lnTo>
                  <a:pt x="122096" y="84918"/>
                </a:lnTo>
                <a:lnTo>
                  <a:pt x="122149" y="84866"/>
                </a:lnTo>
                <a:lnTo>
                  <a:pt x="122202" y="84813"/>
                </a:lnTo>
                <a:lnTo>
                  <a:pt x="122625" y="84813"/>
                </a:lnTo>
                <a:lnTo>
                  <a:pt x="122677" y="84760"/>
                </a:lnTo>
                <a:lnTo>
                  <a:pt x="122730" y="84654"/>
                </a:lnTo>
                <a:lnTo>
                  <a:pt x="122836" y="84496"/>
                </a:lnTo>
                <a:lnTo>
                  <a:pt x="122836" y="84390"/>
                </a:lnTo>
                <a:lnTo>
                  <a:pt x="122836" y="84285"/>
                </a:lnTo>
                <a:lnTo>
                  <a:pt x="122836" y="84232"/>
                </a:lnTo>
                <a:lnTo>
                  <a:pt x="122941" y="84179"/>
                </a:lnTo>
                <a:lnTo>
                  <a:pt x="122994" y="84073"/>
                </a:lnTo>
                <a:lnTo>
                  <a:pt x="123047" y="84021"/>
                </a:lnTo>
                <a:lnTo>
                  <a:pt x="123047" y="83757"/>
                </a:lnTo>
                <a:lnTo>
                  <a:pt x="123100" y="83704"/>
                </a:lnTo>
                <a:lnTo>
                  <a:pt x="123469" y="83440"/>
                </a:lnTo>
                <a:lnTo>
                  <a:pt x="123575" y="83281"/>
                </a:lnTo>
                <a:lnTo>
                  <a:pt x="123575" y="83017"/>
                </a:lnTo>
                <a:lnTo>
                  <a:pt x="123681" y="82964"/>
                </a:lnTo>
                <a:lnTo>
                  <a:pt x="124262" y="83017"/>
                </a:lnTo>
                <a:lnTo>
                  <a:pt x="124262" y="82964"/>
                </a:lnTo>
                <a:lnTo>
                  <a:pt x="124473" y="82964"/>
                </a:lnTo>
                <a:lnTo>
                  <a:pt x="124526" y="83017"/>
                </a:lnTo>
                <a:lnTo>
                  <a:pt x="124473" y="83017"/>
                </a:lnTo>
                <a:lnTo>
                  <a:pt x="124367" y="83070"/>
                </a:lnTo>
                <a:lnTo>
                  <a:pt x="124209" y="83229"/>
                </a:lnTo>
                <a:lnTo>
                  <a:pt x="124103" y="83229"/>
                </a:lnTo>
                <a:lnTo>
                  <a:pt x="123892" y="83123"/>
                </a:lnTo>
                <a:lnTo>
                  <a:pt x="123786" y="83123"/>
                </a:lnTo>
                <a:lnTo>
                  <a:pt x="123786" y="83176"/>
                </a:lnTo>
                <a:lnTo>
                  <a:pt x="124262" y="83809"/>
                </a:lnTo>
                <a:lnTo>
                  <a:pt x="124473" y="83915"/>
                </a:lnTo>
                <a:lnTo>
                  <a:pt x="124684" y="84126"/>
                </a:lnTo>
                <a:lnTo>
                  <a:pt x="124895" y="84179"/>
                </a:lnTo>
                <a:lnTo>
                  <a:pt x="124948" y="84232"/>
                </a:lnTo>
                <a:lnTo>
                  <a:pt x="125054" y="84390"/>
                </a:lnTo>
                <a:lnTo>
                  <a:pt x="125265" y="84971"/>
                </a:lnTo>
                <a:lnTo>
                  <a:pt x="125318" y="85077"/>
                </a:lnTo>
                <a:lnTo>
                  <a:pt x="125423" y="85235"/>
                </a:lnTo>
                <a:lnTo>
                  <a:pt x="125476" y="85341"/>
                </a:lnTo>
                <a:lnTo>
                  <a:pt x="125476" y="85394"/>
                </a:lnTo>
                <a:lnTo>
                  <a:pt x="125476" y="85552"/>
                </a:lnTo>
                <a:lnTo>
                  <a:pt x="125423" y="86239"/>
                </a:lnTo>
                <a:lnTo>
                  <a:pt x="125265" y="86556"/>
                </a:lnTo>
                <a:lnTo>
                  <a:pt x="124843" y="86925"/>
                </a:lnTo>
                <a:lnTo>
                  <a:pt x="124790" y="86978"/>
                </a:lnTo>
                <a:lnTo>
                  <a:pt x="124737" y="87084"/>
                </a:lnTo>
                <a:lnTo>
                  <a:pt x="124684" y="87189"/>
                </a:lnTo>
                <a:lnTo>
                  <a:pt x="124631" y="87189"/>
                </a:lnTo>
                <a:lnTo>
                  <a:pt x="124103" y="87242"/>
                </a:lnTo>
                <a:lnTo>
                  <a:pt x="124156" y="87348"/>
                </a:lnTo>
                <a:lnTo>
                  <a:pt x="124473" y="87506"/>
                </a:lnTo>
                <a:lnTo>
                  <a:pt x="124314" y="87717"/>
                </a:lnTo>
                <a:lnTo>
                  <a:pt x="124050" y="87770"/>
                </a:lnTo>
                <a:lnTo>
                  <a:pt x="122889" y="87559"/>
                </a:lnTo>
                <a:lnTo>
                  <a:pt x="122730" y="87401"/>
                </a:lnTo>
                <a:lnTo>
                  <a:pt x="122677" y="87348"/>
                </a:lnTo>
                <a:lnTo>
                  <a:pt x="122519" y="87401"/>
                </a:lnTo>
                <a:lnTo>
                  <a:pt x="122413" y="87506"/>
                </a:lnTo>
                <a:lnTo>
                  <a:pt x="122308" y="87612"/>
                </a:lnTo>
                <a:lnTo>
                  <a:pt x="122255" y="87717"/>
                </a:lnTo>
                <a:lnTo>
                  <a:pt x="122255" y="87823"/>
                </a:lnTo>
                <a:lnTo>
                  <a:pt x="122255" y="87929"/>
                </a:lnTo>
                <a:lnTo>
                  <a:pt x="122255" y="88140"/>
                </a:lnTo>
                <a:lnTo>
                  <a:pt x="122255" y="88298"/>
                </a:lnTo>
                <a:lnTo>
                  <a:pt x="122202" y="88351"/>
                </a:lnTo>
                <a:lnTo>
                  <a:pt x="122149" y="88404"/>
                </a:lnTo>
                <a:lnTo>
                  <a:pt x="122096" y="88510"/>
                </a:lnTo>
                <a:lnTo>
                  <a:pt x="122044" y="88615"/>
                </a:lnTo>
                <a:lnTo>
                  <a:pt x="121991" y="88932"/>
                </a:lnTo>
                <a:lnTo>
                  <a:pt x="121991" y="89038"/>
                </a:lnTo>
                <a:lnTo>
                  <a:pt x="122096" y="89038"/>
                </a:lnTo>
                <a:lnTo>
                  <a:pt x="122149" y="88932"/>
                </a:lnTo>
                <a:lnTo>
                  <a:pt x="122202" y="88774"/>
                </a:lnTo>
                <a:lnTo>
                  <a:pt x="122255" y="88668"/>
                </a:lnTo>
                <a:lnTo>
                  <a:pt x="122360" y="88615"/>
                </a:lnTo>
                <a:lnTo>
                  <a:pt x="122519" y="88615"/>
                </a:lnTo>
                <a:lnTo>
                  <a:pt x="122941" y="88774"/>
                </a:lnTo>
                <a:lnTo>
                  <a:pt x="123628" y="88774"/>
                </a:lnTo>
                <a:lnTo>
                  <a:pt x="123628" y="88826"/>
                </a:lnTo>
                <a:lnTo>
                  <a:pt x="123364" y="88826"/>
                </a:lnTo>
                <a:lnTo>
                  <a:pt x="123311" y="88879"/>
                </a:lnTo>
                <a:lnTo>
                  <a:pt x="123417" y="88985"/>
                </a:lnTo>
                <a:lnTo>
                  <a:pt x="123575" y="89038"/>
                </a:lnTo>
                <a:lnTo>
                  <a:pt x="123681" y="89143"/>
                </a:lnTo>
                <a:lnTo>
                  <a:pt x="123628" y="89249"/>
                </a:lnTo>
                <a:lnTo>
                  <a:pt x="123575" y="89249"/>
                </a:lnTo>
                <a:lnTo>
                  <a:pt x="123575" y="89302"/>
                </a:lnTo>
                <a:lnTo>
                  <a:pt x="123734" y="89460"/>
                </a:lnTo>
                <a:lnTo>
                  <a:pt x="123998" y="89883"/>
                </a:lnTo>
                <a:lnTo>
                  <a:pt x="124103" y="89988"/>
                </a:lnTo>
                <a:lnTo>
                  <a:pt x="124262" y="90041"/>
                </a:lnTo>
                <a:lnTo>
                  <a:pt x="124578" y="90358"/>
                </a:lnTo>
                <a:lnTo>
                  <a:pt x="124684" y="90516"/>
                </a:lnTo>
                <a:lnTo>
                  <a:pt x="124790" y="91044"/>
                </a:lnTo>
                <a:lnTo>
                  <a:pt x="124790" y="92206"/>
                </a:lnTo>
                <a:lnTo>
                  <a:pt x="124843" y="92734"/>
                </a:lnTo>
                <a:lnTo>
                  <a:pt x="125423" y="94266"/>
                </a:lnTo>
                <a:lnTo>
                  <a:pt x="125635" y="95164"/>
                </a:lnTo>
                <a:lnTo>
                  <a:pt x="125476" y="95956"/>
                </a:lnTo>
                <a:lnTo>
                  <a:pt x="125318" y="96325"/>
                </a:lnTo>
                <a:lnTo>
                  <a:pt x="125212" y="96484"/>
                </a:lnTo>
                <a:lnTo>
                  <a:pt x="125001" y="96642"/>
                </a:lnTo>
                <a:lnTo>
                  <a:pt x="124737" y="97170"/>
                </a:lnTo>
                <a:lnTo>
                  <a:pt x="124631" y="97223"/>
                </a:lnTo>
                <a:lnTo>
                  <a:pt x="124473" y="97329"/>
                </a:lnTo>
                <a:lnTo>
                  <a:pt x="124367" y="97434"/>
                </a:lnTo>
                <a:lnTo>
                  <a:pt x="124314" y="97698"/>
                </a:lnTo>
                <a:lnTo>
                  <a:pt x="124262" y="97804"/>
                </a:lnTo>
                <a:lnTo>
                  <a:pt x="123628" y="98543"/>
                </a:lnTo>
                <a:lnTo>
                  <a:pt x="122677" y="98807"/>
                </a:lnTo>
                <a:lnTo>
                  <a:pt x="122572" y="98860"/>
                </a:lnTo>
                <a:lnTo>
                  <a:pt x="122519" y="98966"/>
                </a:lnTo>
                <a:lnTo>
                  <a:pt x="122413" y="99019"/>
                </a:lnTo>
                <a:lnTo>
                  <a:pt x="122360" y="99019"/>
                </a:lnTo>
                <a:lnTo>
                  <a:pt x="122255" y="98966"/>
                </a:lnTo>
                <a:lnTo>
                  <a:pt x="122202" y="98913"/>
                </a:lnTo>
                <a:lnTo>
                  <a:pt x="122096" y="98913"/>
                </a:lnTo>
                <a:lnTo>
                  <a:pt x="121885" y="99072"/>
                </a:lnTo>
                <a:lnTo>
                  <a:pt x="121727" y="99072"/>
                </a:lnTo>
                <a:lnTo>
                  <a:pt x="121568" y="98966"/>
                </a:lnTo>
                <a:lnTo>
                  <a:pt x="121357" y="98966"/>
                </a:lnTo>
                <a:lnTo>
                  <a:pt x="118981" y="99388"/>
                </a:lnTo>
                <a:lnTo>
                  <a:pt x="118981" y="99283"/>
                </a:lnTo>
                <a:lnTo>
                  <a:pt x="119086" y="99230"/>
                </a:lnTo>
                <a:lnTo>
                  <a:pt x="119245" y="99230"/>
                </a:lnTo>
                <a:lnTo>
                  <a:pt x="119350" y="99177"/>
                </a:lnTo>
                <a:lnTo>
                  <a:pt x="119456" y="99072"/>
                </a:lnTo>
                <a:lnTo>
                  <a:pt x="119509" y="98913"/>
                </a:lnTo>
                <a:lnTo>
                  <a:pt x="119614" y="98807"/>
                </a:lnTo>
                <a:lnTo>
                  <a:pt x="119562" y="98807"/>
                </a:lnTo>
                <a:lnTo>
                  <a:pt x="119509" y="98702"/>
                </a:lnTo>
                <a:lnTo>
                  <a:pt x="119403" y="98543"/>
                </a:lnTo>
                <a:lnTo>
                  <a:pt x="119297" y="98491"/>
                </a:lnTo>
                <a:lnTo>
                  <a:pt x="119139" y="98491"/>
                </a:lnTo>
                <a:lnTo>
                  <a:pt x="118928" y="98385"/>
                </a:lnTo>
                <a:lnTo>
                  <a:pt x="118822" y="98332"/>
                </a:lnTo>
                <a:lnTo>
                  <a:pt x="118664" y="98227"/>
                </a:lnTo>
                <a:lnTo>
                  <a:pt x="118400" y="98227"/>
                </a:lnTo>
                <a:lnTo>
                  <a:pt x="118294" y="98279"/>
                </a:lnTo>
                <a:lnTo>
                  <a:pt x="118294" y="98385"/>
                </a:lnTo>
                <a:lnTo>
                  <a:pt x="118505" y="98649"/>
                </a:lnTo>
                <a:lnTo>
                  <a:pt x="118453" y="98860"/>
                </a:lnTo>
                <a:lnTo>
                  <a:pt x="118347" y="99019"/>
                </a:lnTo>
                <a:lnTo>
                  <a:pt x="118241" y="99124"/>
                </a:lnTo>
                <a:lnTo>
                  <a:pt x="118136" y="99230"/>
                </a:lnTo>
                <a:lnTo>
                  <a:pt x="118083" y="99283"/>
                </a:lnTo>
                <a:lnTo>
                  <a:pt x="117872" y="99494"/>
                </a:lnTo>
                <a:lnTo>
                  <a:pt x="117872" y="99547"/>
                </a:lnTo>
                <a:lnTo>
                  <a:pt x="117819" y="99758"/>
                </a:lnTo>
                <a:lnTo>
                  <a:pt x="117027" y="101078"/>
                </a:lnTo>
                <a:lnTo>
                  <a:pt x="116551" y="101606"/>
                </a:lnTo>
                <a:lnTo>
                  <a:pt x="116023" y="101712"/>
                </a:lnTo>
                <a:lnTo>
                  <a:pt x="115865" y="101818"/>
                </a:lnTo>
                <a:lnTo>
                  <a:pt x="115865" y="101923"/>
                </a:lnTo>
                <a:lnTo>
                  <a:pt x="115865" y="102029"/>
                </a:lnTo>
                <a:lnTo>
                  <a:pt x="115865" y="102135"/>
                </a:lnTo>
                <a:lnTo>
                  <a:pt x="115865" y="102240"/>
                </a:lnTo>
                <a:lnTo>
                  <a:pt x="115812" y="102399"/>
                </a:lnTo>
                <a:lnTo>
                  <a:pt x="115706" y="102504"/>
                </a:lnTo>
                <a:lnTo>
                  <a:pt x="115548" y="102715"/>
                </a:lnTo>
                <a:lnTo>
                  <a:pt x="115284" y="102768"/>
                </a:lnTo>
                <a:lnTo>
                  <a:pt x="115231" y="102874"/>
                </a:lnTo>
                <a:lnTo>
                  <a:pt x="115231" y="102927"/>
                </a:lnTo>
                <a:lnTo>
                  <a:pt x="115126" y="103085"/>
                </a:lnTo>
                <a:lnTo>
                  <a:pt x="115020" y="103138"/>
                </a:lnTo>
                <a:lnTo>
                  <a:pt x="114861" y="103349"/>
                </a:lnTo>
                <a:lnTo>
                  <a:pt x="114756" y="103402"/>
                </a:lnTo>
                <a:lnTo>
                  <a:pt x="113805" y="103455"/>
                </a:lnTo>
                <a:lnTo>
                  <a:pt x="113541" y="103666"/>
                </a:lnTo>
                <a:lnTo>
                  <a:pt x="113436" y="103560"/>
                </a:lnTo>
                <a:lnTo>
                  <a:pt x="113330" y="103296"/>
                </a:lnTo>
                <a:lnTo>
                  <a:pt x="113119" y="102979"/>
                </a:lnTo>
                <a:lnTo>
                  <a:pt x="112855" y="102927"/>
                </a:lnTo>
                <a:lnTo>
                  <a:pt x="112696" y="102768"/>
                </a:lnTo>
                <a:lnTo>
                  <a:pt x="112538" y="102874"/>
                </a:lnTo>
                <a:lnTo>
                  <a:pt x="112327" y="103296"/>
                </a:lnTo>
                <a:lnTo>
                  <a:pt x="112115" y="103508"/>
                </a:lnTo>
                <a:lnTo>
                  <a:pt x="111587" y="103824"/>
                </a:lnTo>
                <a:lnTo>
                  <a:pt x="111376" y="104141"/>
                </a:lnTo>
                <a:lnTo>
                  <a:pt x="111429" y="103772"/>
                </a:lnTo>
                <a:lnTo>
                  <a:pt x="112115" y="103349"/>
                </a:lnTo>
                <a:lnTo>
                  <a:pt x="112274" y="103032"/>
                </a:lnTo>
                <a:lnTo>
                  <a:pt x="112379" y="102874"/>
                </a:lnTo>
                <a:lnTo>
                  <a:pt x="112538" y="102768"/>
                </a:lnTo>
                <a:lnTo>
                  <a:pt x="112643" y="102663"/>
                </a:lnTo>
                <a:lnTo>
                  <a:pt x="112538" y="102557"/>
                </a:lnTo>
                <a:lnTo>
                  <a:pt x="112432" y="102557"/>
                </a:lnTo>
                <a:lnTo>
                  <a:pt x="112221" y="102715"/>
                </a:lnTo>
                <a:lnTo>
                  <a:pt x="112063" y="102768"/>
                </a:lnTo>
                <a:lnTo>
                  <a:pt x="112063" y="102663"/>
                </a:lnTo>
                <a:lnTo>
                  <a:pt x="112168" y="102610"/>
                </a:lnTo>
                <a:lnTo>
                  <a:pt x="112168" y="102451"/>
                </a:lnTo>
                <a:lnTo>
                  <a:pt x="112115" y="102293"/>
                </a:lnTo>
                <a:lnTo>
                  <a:pt x="112010" y="102240"/>
                </a:lnTo>
                <a:lnTo>
                  <a:pt x="111957" y="102135"/>
                </a:lnTo>
                <a:lnTo>
                  <a:pt x="111904" y="101976"/>
                </a:lnTo>
                <a:lnTo>
                  <a:pt x="111851" y="101923"/>
                </a:lnTo>
                <a:lnTo>
                  <a:pt x="111746" y="101870"/>
                </a:lnTo>
                <a:lnTo>
                  <a:pt x="111746" y="101818"/>
                </a:lnTo>
                <a:lnTo>
                  <a:pt x="111746" y="101712"/>
                </a:lnTo>
                <a:lnTo>
                  <a:pt x="111640" y="101659"/>
                </a:lnTo>
                <a:lnTo>
                  <a:pt x="111587" y="101659"/>
                </a:lnTo>
                <a:lnTo>
                  <a:pt x="111270" y="101712"/>
                </a:lnTo>
                <a:lnTo>
                  <a:pt x="110478" y="101290"/>
                </a:lnTo>
                <a:lnTo>
                  <a:pt x="109792" y="101237"/>
                </a:lnTo>
                <a:lnTo>
                  <a:pt x="108736" y="101606"/>
                </a:lnTo>
                <a:lnTo>
                  <a:pt x="108471" y="101818"/>
                </a:lnTo>
                <a:lnTo>
                  <a:pt x="108155" y="102187"/>
                </a:lnTo>
                <a:lnTo>
                  <a:pt x="108102" y="102240"/>
                </a:lnTo>
                <a:lnTo>
                  <a:pt x="107996" y="102293"/>
                </a:lnTo>
                <a:lnTo>
                  <a:pt x="107732" y="102504"/>
                </a:lnTo>
                <a:lnTo>
                  <a:pt x="107679" y="102610"/>
                </a:lnTo>
                <a:lnTo>
                  <a:pt x="107838" y="102715"/>
                </a:lnTo>
                <a:lnTo>
                  <a:pt x="107891" y="102768"/>
                </a:lnTo>
                <a:lnTo>
                  <a:pt x="107943" y="102927"/>
                </a:lnTo>
                <a:lnTo>
                  <a:pt x="107996" y="103085"/>
                </a:lnTo>
                <a:lnTo>
                  <a:pt x="108683" y="103244"/>
                </a:lnTo>
                <a:lnTo>
                  <a:pt x="108788" y="103349"/>
                </a:lnTo>
                <a:lnTo>
                  <a:pt x="108894" y="103560"/>
                </a:lnTo>
                <a:lnTo>
                  <a:pt x="108947" y="103824"/>
                </a:lnTo>
                <a:lnTo>
                  <a:pt x="108894" y="103877"/>
                </a:lnTo>
                <a:lnTo>
                  <a:pt x="108841" y="103877"/>
                </a:lnTo>
                <a:lnTo>
                  <a:pt x="108736" y="103824"/>
                </a:lnTo>
                <a:lnTo>
                  <a:pt x="108683" y="103719"/>
                </a:lnTo>
                <a:lnTo>
                  <a:pt x="108630" y="103719"/>
                </a:lnTo>
                <a:lnTo>
                  <a:pt x="108524" y="103772"/>
                </a:lnTo>
                <a:lnTo>
                  <a:pt x="108366" y="103666"/>
                </a:lnTo>
                <a:lnTo>
                  <a:pt x="108313" y="103666"/>
                </a:lnTo>
                <a:lnTo>
                  <a:pt x="108260" y="103719"/>
                </a:lnTo>
                <a:lnTo>
                  <a:pt x="108260" y="103772"/>
                </a:lnTo>
                <a:lnTo>
                  <a:pt x="108260" y="103824"/>
                </a:lnTo>
                <a:lnTo>
                  <a:pt x="108207" y="103824"/>
                </a:lnTo>
                <a:lnTo>
                  <a:pt x="108102" y="103719"/>
                </a:lnTo>
                <a:lnTo>
                  <a:pt x="108049" y="103666"/>
                </a:lnTo>
                <a:lnTo>
                  <a:pt x="107996" y="103613"/>
                </a:lnTo>
                <a:lnTo>
                  <a:pt x="107362" y="103613"/>
                </a:lnTo>
                <a:lnTo>
                  <a:pt x="107204" y="103666"/>
                </a:lnTo>
                <a:lnTo>
                  <a:pt x="107046" y="103824"/>
                </a:lnTo>
                <a:lnTo>
                  <a:pt x="106940" y="104088"/>
                </a:lnTo>
                <a:lnTo>
                  <a:pt x="106623" y="104722"/>
                </a:lnTo>
                <a:lnTo>
                  <a:pt x="106518" y="105039"/>
                </a:lnTo>
                <a:lnTo>
                  <a:pt x="106465" y="105145"/>
                </a:lnTo>
                <a:lnTo>
                  <a:pt x="106465" y="105409"/>
                </a:lnTo>
                <a:lnTo>
                  <a:pt x="106465" y="105462"/>
                </a:lnTo>
                <a:lnTo>
                  <a:pt x="106359" y="105620"/>
                </a:lnTo>
                <a:lnTo>
                  <a:pt x="106465" y="105831"/>
                </a:lnTo>
                <a:lnTo>
                  <a:pt x="106623" y="105937"/>
                </a:lnTo>
                <a:lnTo>
                  <a:pt x="106940" y="105990"/>
                </a:lnTo>
                <a:lnTo>
                  <a:pt x="106887" y="106148"/>
                </a:lnTo>
                <a:lnTo>
                  <a:pt x="106782" y="106148"/>
                </a:lnTo>
                <a:lnTo>
                  <a:pt x="106623" y="106095"/>
                </a:lnTo>
                <a:lnTo>
                  <a:pt x="106412" y="106095"/>
                </a:lnTo>
                <a:lnTo>
                  <a:pt x="106359" y="106148"/>
                </a:lnTo>
                <a:lnTo>
                  <a:pt x="106412" y="106254"/>
                </a:lnTo>
                <a:lnTo>
                  <a:pt x="106465" y="106254"/>
                </a:lnTo>
                <a:lnTo>
                  <a:pt x="106465" y="106306"/>
                </a:lnTo>
                <a:lnTo>
                  <a:pt x="106518" y="106359"/>
                </a:lnTo>
                <a:lnTo>
                  <a:pt x="106518" y="106412"/>
                </a:lnTo>
                <a:lnTo>
                  <a:pt x="106518" y="106518"/>
                </a:lnTo>
                <a:lnTo>
                  <a:pt x="106465" y="106518"/>
                </a:lnTo>
                <a:lnTo>
                  <a:pt x="106570" y="106676"/>
                </a:lnTo>
                <a:lnTo>
                  <a:pt x="106623" y="106887"/>
                </a:lnTo>
                <a:lnTo>
                  <a:pt x="106676" y="107151"/>
                </a:lnTo>
                <a:lnTo>
                  <a:pt x="106676" y="107416"/>
                </a:lnTo>
                <a:lnTo>
                  <a:pt x="106782" y="107785"/>
                </a:lnTo>
                <a:lnTo>
                  <a:pt x="106940" y="107785"/>
                </a:lnTo>
                <a:lnTo>
                  <a:pt x="106940" y="107627"/>
                </a:lnTo>
                <a:lnTo>
                  <a:pt x="107310" y="107151"/>
                </a:lnTo>
                <a:lnTo>
                  <a:pt x="107521" y="106993"/>
                </a:lnTo>
                <a:lnTo>
                  <a:pt x="107732" y="106729"/>
                </a:lnTo>
                <a:lnTo>
                  <a:pt x="107891" y="106518"/>
                </a:lnTo>
                <a:lnTo>
                  <a:pt x="108049" y="106412"/>
                </a:lnTo>
                <a:lnTo>
                  <a:pt x="108207" y="106465"/>
                </a:lnTo>
                <a:lnTo>
                  <a:pt x="107098" y="107838"/>
                </a:lnTo>
                <a:lnTo>
                  <a:pt x="106676" y="108102"/>
                </a:lnTo>
                <a:lnTo>
                  <a:pt x="106518" y="108102"/>
                </a:lnTo>
                <a:lnTo>
                  <a:pt x="106465" y="108155"/>
                </a:lnTo>
                <a:lnTo>
                  <a:pt x="106412" y="108260"/>
                </a:lnTo>
                <a:lnTo>
                  <a:pt x="106412" y="108313"/>
                </a:lnTo>
                <a:lnTo>
                  <a:pt x="106570" y="108313"/>
                </a:lnTo>
                <a:lnTo>
                  <a:pt x="106623" y="108419"/>
                </a:lnTo>
                <a:lnTo>
                  <a:pt x="106623" y="108577"/>
                </a:lnTo>
                <a:lnTo>
                  <a:pt x="106623" y="108683"/>
                </a:lnTo>
                <a:lnTo>
                  <a:pt x="106465" y="109000"/>
                </a:lnTo>
                <a:lnTo>
                  <a:pt x="106623" y="109053"/>
                </a:lnTo>
                <a:lnTo>
                  <a:pt x="106940" y="108947"/>
                </a:lnTo>
                <a:lnTo>
                  <a:pt x="107046" y="109105"/>
                </a:lnTo>
                <a:lnTo>
                  <a:pt x="107098" y="109105"/>
                </a:lnTo>
                <a:lnTo>
                  <a:pt x="107151" y="109053"/>
                </a:lnTo>
                <a:lnTo>
                  <a:pt x="107257" y="108894"/>
                </a:lnTo>
                <a:lnTo>
                  <a:pt x="107310" y="108789"/>
                </a:lnTo>
                <a:lnTo>
                  <a:pt x="107468" y="108789"/>
                </a:lnTo>
                <a:lnTo>
                  <a:pt x="107310" y="109000"/>
                </a:lnTo>
                <a:lnTo>
                  <a:pt x="107204" y="109158"/>
                </a:lnTo>
                <a:lnTo>
                  <a:pt x="107257" y="109264"/>
                </a:lnTo>
                <a:lnTo>
                  <a:pt x="107521" y="109264"/>
                </a:lnTo>
                <a:lnTo>
                  <a:pt x="107679" y="109317"/>
                </a:lnTo>
                <a:lnTo>
                  <a:pt x="107732" y="109528"/>
                </a:lnTo>
                <a:lnTo>
                  <a:pt x="107679" y="109634"/>
                </a:lnTo>
                <a:lnTo>
                  <a:pt x="107468" y="109634"/>
                </a:lnTo>
                <a:lnTo>
                  <a:pt x="107415" y="109686"/>
                </a:lnTo>
                <a:lnTo>
                  <a:pt x="107362" y="109739"/>
                </a:lnTo>
                <a:lnTo>
                  <a:pt x="107204" y="110003"/>
                </a:lnTo>
                <a:lnTo>
                  <a:pt x="107098" y="110109"/>
                </a:lnTo>
                <a:lnTo>
                  <a:pt x="106940" y="110109"/>
                </a:lnTo>
                <a:lnTo>
                  <a:pt x="107046" y="110003"/>
                </a:lnTo>
                <a:lnTo>
                  <a:pt x="107098" y="109898"/>
                </a:lnTo>
                <a:lnTo>
                  <a:pt x="107257" y="109686"/>
                </a:lnTo>
                <a:lnTo>
                  <a:pt x="107362" y="109634"/>
                </a:lnTo>
                <a:lnTo>
                  <a:pt x="107521" y="109475"/>
                </a:lnTo>
                <a:lnTo>
                  <a:pt x="107151" y="109475"/>
                </a:lnTo>
                <a:lnTo>
                  <a:pt x="107098" y="109422"/>
                </a:lnTo>
                <a:lnTo>
                  <a:pt x="106993" y="109264"/>
                </a:lnTo>
                <a:lnTo>
                  <a:pt x="106940" y="109211"/>
                </a:lnTo>
                <a:lnTo>
                  <a:pt x="106570" y="109158"/>
                </a:lnTo>
                <a:lnTo>
                  <a:pt x="106412" y="109105"/>
                </a:lnTo>
                <a:lnTo>
                  <a:pt x="106359" y="108947"/>
                </a:lnTo>
                <a:lnTo>
                  <a:pt x="106306" y="108841"/>
                </a:lnTo>
                <a:lnTo>
                  <a:pt x="106359" y="108736"/>
                </a:lnTo>
                <a:lnTo>
                  <a:pt x="106253" y="108630"/>
                </a:lnTo>
                <a:lnTo>
                  <a:pt x="106201" y="108630"/>
                </a:lnTo>
                <a:lnTo>
                  <a:pt x="105989" y="108683"/>
                </a:lnTo>
                <a:lnTo>
                  <a:pt x="105567" y="108630"/>
                </a:lnTo>
                <a:lnTo>
                  <a:pt x="105408" y="108630"/>
                </a:lnTo>
                <a:lnTo>
                  <a:pt x="105197" y="108683"/>
                </a:lnTo>
                <a:lnTo>
                  <a:pt x="105039" y="108841"/>
                </a:lnTo>
                <a:lnTo>
                  <a:pt x="104775" y="109264"/>
                </a:lnTo>
                <a:lnTo>
                  <a:pt x="104352" y="109634"/>
                </a:lnTo>
                <a:lnTo>
                  <a:pt x="104247" y="109792"/>
                </a:lnTo>
                <a:lnTo>
                  <a:pt x="104141" y="110003"/>
                </a:lnTo>
                <a:lnTo>
                  <a:pt x="104088" y="110267"/>
                </a:lnTo>
                <a:lnTo>
                  <a:pt x="104035" y="110373"/>
                </a:lnTo>
                <a:lnTo>
                  <a:pt x="103507" y="111059"/>
                </a:lnTo>
                <a:lnTo>
                  <a:pt x="102874" y="112327"/>
                </a:lnTo>
                <a:lnTo>
                  <a:pt x="102662" y="112432"/>
                </a:lnTo>
                <a:lnTo>
                  <a:pt x="102504" y="112591"/>
                </a:lnTo>
                <a:lnTo>
                  <a:pt x="102398" y="112802"/>
                </a:lnTo>
                <a:lnTo>
                  <a:pt x="102346" y="112961"/>
                </a:lnTo>
                <a:lnTo>
                  <a:pt x="102346" y="113013"/>
                </a:lnTo>
                <a:lnTo>
                  <a:pt x="102346" y="113172"/>
                </a:lnTo>
                <a:lnTo>
                  <a:pt x="102346" y="113225"/>
                </a:lnTo>
                <a:lnTo>
                  <a:pt x="102240" y="113330"/>
                </a:lnTo>
                <a:lnTo>
                  <a:pt x="102134" y="113858"/>
                </a:lnTo>
                <a:lnTo>
                  <a:pt x="102134" y="114070"/>
                </a:lnTo>
                <a:lnTo>
                  <a:pt x="102187" y="114281"/>
                </a:lnTo>
                <a:lnTo>
                  <a:pt x="102240" y="114439"/>
                </a:lnTo>
                <a:lnTo>
                  <a:pt x="102346" y="114862"/>
                </a:lnTo>
                <a:lnTo>
                  <a:pt x="102451" y="115020"/>
                </a:lnTo>
                <a:lnTo>
                  <a:pt x="102662" y="115179"/>
                </a:lnTo>
                <a:lnTo>
                  <a:pt x="102821" y="115495"/>
                </a:lnTo>
                <a:lnTo>
                  <a:pt x="102926" y="115495"/>
                </a:lnTo>
                <a:lnTo>
                  <a:pt x="102821" y="115601"/>
                </a:lnTo>
                <a:lnTo>
                  <a:pt x="102187" y="115601"/>
                </a:lnTo>
                <a:lnTo>
                  <a:pt x="102029" y="115812"/>
                </a:lnTo>
                <a:lnTo>
                  <a:pt x="101976" y="115812"/>
                </a:lnTo>
                <a:lnTo>
                  <a:pt x="101817" y="115707"/>
                </a:lnTo>
                <a:lnTo>
                  <a:pt x="101712" y="115707"/>
                </a:lnTo>
                <a:lnTo>
                  <a:pt x="101395" y="115812"/>
                </a:lnTo>
                <a:lnTo>
                  <a:pt x="101078" y="115707"/>
                </a:lnTo>
                <a:lnTo>
                  <a:pt x="100497" y="115865"/>
                </a:lnTo>
                <a:lnTo>
                  <a:pt x="100603" y="116182"/>
                </a:lnTo>
                <a:lnTo>
                  <a:pt x="100761" y="116499"/>
                </a:lnTo>
                <a:lnTo>
                  <a:pt x="100972" y="116710"/>
                </a:lnTo>
                <a:lnTo>
                  <a:pt x="101131" y="116816"/>
                </a:lnTo>
                <a:lnTo>
                  <a:pt x="101184" y="116816"/>
                </a:lnTo>
                <a:lnTo>
                  <a:pt x="101289" y="116921"/>
                </a:lnTo>
                <a:lnTo>
                  <a:pt x="101342" y="116974"/>
                </a:lnTo>
                <a:lnTo>
                  <a:pt x="101606" y="116974"/>
                </a:lnTo>
                <a:lnTo>
                  <a:pt x="101659" y="117027"/>
                </a:lnTo>
                <a:lnTo>
                  <a:pt x="101712" y="117080"/>
                </a:lnTo>
                <a:lnTo>
                  <a:pt x="101817" y="117080"/>
                </a:lnTo>
                <a:lnTo>
                  <a:pt x="102029" y="117027"/>
                </a:lnTo>
                <a:lnTo>
                  <a:pt x="102081" y="117080"/>
                </a:lnTo>
                <a:lnTo>
                  <a:pt x="102029" y="117185"/>
                </a:lnTo>
                <a:lnTo>
                  <a:pt x="100867" y="117449"/>
                </a:lnTo>
                <a:lnTo>
                  <a:pt x="100761" y="117555"/>
                </a:lnTo>
                <a:lnTo>
                  <a:pt x="100708" y="117555"/>
                </a:lnTo>
                <a:lnTo>
                  <a:pt x="100444" y="117608"/>
                </a:lnTo>
                <a:lnTo>
                  <a:pt x="100392" y="117555"/>
                </a:lnTo>
                <a:lnTo>
                  <a:pt x="100286" y="117449"/>
                </a:lnTo>
                <a:lnTo>
                  <a:pt x="100233" y="117449"/>
                </a:lnTo>
                <a:lnTo>
                  <a:pt x="100233" y="117344"/>
                </a:lnTo>
                <a:lnTo>
                  <a:pt x="100286" y="116763"/>
                </a:lnTo>
                <a:lnTo>
                  <a:pt x="100233" y="116868"/>
                </a:lnTo>
                <a:lnTo>
                  <a:pt x="100180" y="117080"/>
                </a:lnTo>
                <a:lnTo>
                  <a:pt x="100128" y="117291"/>
                </a:lnTo>
                <a:lnTo>
                  <a:pt x="100128" y="117449"/>
                </a:lnTo>
                <a:lnTo>
                  <a:pt x="100128" y="117819"/>
                </a:lnTo>
                <a:lnTo>
                  <a:pt x="100128" y="117925"/>
                </a:lnTo>
                <a:lnTo>
                  <a:pt x="100128" y="117977"/>
                </a:lnTo>
                <a:lnTo>
                  <a:pt x="100128" y="118030"/>
                </a:lnTo>
                <a:lnTo>
                  <a:pt x="100128" y="118136"/>
                </a:lnTo>
                <a:lnTo>
                  <a:pt x="100392" y="118822"/>
                </a:lnTo>
                <a:lnTo>
                  <a:pt x="100550" y="118981"/>
                </a:lnTo>
                <a:lnTo>
                  <a:pt x="100814" y="118928"/>
                </a:lnTo>
                <a:lnTo>
                  <a:pt x="100761" y="118875"/>
                </a:lnTo>
                <a:lnTo>
                  <a:pt x="100656" y="118822"/>
                </a:lnTo>
                <a:lnTo>
                  <a:pt x="100656" y="118770"/>
                </a:lnTo>
                <a:lnTo>
                  <a:pt x="100656" y="118664"/>
                </a:lnTo>
                <a:lnTo>
                  <a:pt x="100867" y="118558"/>
                </a:lnTo>
                <a:lnTo>
                  <a:pt x="101448" y="118347"/>
                </a:lnTo>
                <a:lnTo>
                  <a:pt x="101553" y="118347"/>
                </a:lnTo>
                <a:lnTo>
                  <a:pt x="101606" y="118400"/>
                </a:lnTo>
                <a:lnTo>
                  <a:pt x="101712" y="118506"/>
                </a:lnTo>
                <a:lnTo>
                  <a:pt x="101765" y="118558"/>
                </a:lnTo>
                <a:lnTo>
                  <a:pt x="102029" y="118664"/>
                </a:lnTo>
                <a:lnTo>
                  <a:pt x="102134" y="118822"/>
                </a:lnTo>
                <a:lnTo>
                  <a:pt x="102187" y="118981"/>
                </a:lnTo>
                <a:lnTo>
                  <a:pt x="102187" y="119192"/>
                </a:lnTo>
                <a:lnTo>
                  <a:pt x="102187" y="119298"/>
                </a:lnTo>
                <a:lnTo>
                  <a:pt x="102134" y="119351"/>
                </a:lnTo>
                <a:lnTo>
                  <a:pt x="102081" y="119403"/>
                </a:lnTo>
                <a:lnTo>
                  <a:pt x="102029" y="119456"/>
                </a:lnTo>
                <a:lnTo>
                  <a:pt x="101870" y="119509"/>
                </a:lnTo>
                <a:lnTo>
                  <a:pt x="101606" y="119667"/>
                </a:lnTo>
                <a:lnTo>
                  <a:pt x="101501" y="119773"/>
                </a:lnTo>
                <a:lnTo>
                  <a:pt x="101501" y="119931"/>
                </a:lnTo>
                <a:lnTo>
                  <a:pt x="101712" y="120565"/>
                </a:lnTo>
                <a:lnTo>
                  <a:pt x="101817" y="120724"/>
                </a:lnTo>
                <a:lnTo>
                  <a:pt x="101923" y="120776"/>
                </a:lnTo>
                <a:lnTo>
                  <a:pt x="102557" y="120882"/>
                </a:lnTo>
                <a:lnTo>
                  <a:pt x="102821" y="121040"/>
                </a:lnTo>
                <a:lnTo>
                  <a:pt x="102979" y="121040"/>
                </a:lnTo>
                <a:lnTo>
                  <a:pt x="102874" y="121093"/>
                </a:lnTo>
                <a:lnTo>
                  <a:pt x="102874" y="121199"/>
                </a:lnTo>
                <a:lnTo>
                  <a:pt x="102874" y="121305"/>
                </a:lnTo>
                <a:lnTo>
                  <a:pt x="102979" y="121357"/>
                </a:lnTo>
                <a:lnTo>
                  <a:pt x="102874" y="121357"/>
                </a:lnTo>
                <a:lnTo>
                  <a:pt x="102821" y="121410"/>
                </a:lnTo>
                <a:lnTo>
                  <a:pt x="102821" y="121674"/>
                </a:lnTo>
                <a:lnTo>
                  <a:pt x="102821" y="121780"/>
                </a:lnTo>
                <a:lnTo>
                  <a:pt x="102821" y="121833"/>
                </a:lnTo>
                <a:lnTo>
                  <a:pt x="102874" y="121885"/>
                </a:lnTo>
                <a:lnTo>
                  <a:pt x="102874" y="121938"/>
                </a:lnTo>
                <a:lnTo>
                  <a:pt x="102874" y="121991"/>
                </a:lnTo>
                <a:lnTo>
                  <a:pt x="102821" y="121991"/>
                </a:lnTo>
                <a:lnTo>
                  <a:pt x="102821" y="122255"/>
                </a:lnTo>
                <a:lnTo>
                  <a:pt x="102874" y="122466"/>
                </a:lnTo>
                <a:lnTo>
                  <a:pt x="102979" y="122625"/>
                </a:lnTo>
                <a:lnTo>
                  <a:pt x="103085" y="122783"/>
                </a:lnTo>
                <a:lnTo>
                  <a:pt x="103243" y="122942"/>
                </a:lnTo>
                <a:lnTo>
                  <a:pt x="103402" y="122994"/>
                </a:lnTo>
                <a:lnTo>
                  <a:pt x="103771" y="123047"/>
                </a:lnTo>
                <a:lnTo>
                  <a:pt x="103930" y="123153"/>
                </a:lnTo>
                <a:lnTo>
                  <a:pt x="104035" y="123153"/>
                </a:lnTo>
                <a:lnTo>
                  <a:pt x="104088" y="123100"/>
                </a:lnTo>
                <a:lnTo>
                  <a:pt x="104088" y="122783"/>
                </a:lnTo>
                <a:lnTo>
                  <a:pt x="104088" y="122678"/>
                </a:lnTo>
                <a:lnTo>
                  <a:pt x="104088" y="122572"/>
                </a:lnTo>
                <a:lnTo>
                  <a:pt x="104194" y="122308"/>
                </a:lnTo>
                <a:lnTo>
                  <a:pt x="104088" y="122097"/>
                </a:lnTo>
                <a:lnTo>
                  <a:pt x="104068" y="122067"/>
                </a:lnTo>
                <a:lnTo>
                  <a:pt x="104068" y="122067"/>
                </a:lnTo>
                <a:lnTo>
                  <a:pt x="104722" y="122519"/>
                </a:lnTo>
                <a:lnTo>
                  <a:pt x="104986" y="122414"/>
                </a:lnTo>
                <a:lnTo>
                  <a:pt x="105039" y="122414"/>
                </a:lnTo>
                <a:lnTo>
                  <a:pt x="105039" y="122361"/>
                </a:lnTo>
                <a:lnTo>
                  <a:pt x="105039" y="122255"/>
                </a:lnTo>
                <a:lnTo>
                  <a:pt x="105039" y="122202"/>
                </a:lnTo>
                <a:lnTo>
                  <a:pt x="105092" y="122044"/>
                </a:lnTo>
                <a:lnTo>
                  <a:pt x="105144" y="121991"/>
                </a:lnTo>
                <a:lnTo>
                  <a:pt x="105250" y="121991"/>
                </a:lnTo>
                <a:lnTo>
                  <a:pt x="105356" y="121885"/>
                </a:lnTo>
                <a:lnTo>
                  <a:pt x="105250" y="121833"/>
                </a:lnTo>
                <a:lnTo>
                  <a:pt x="105144" y="121780"/>
                </a:lnTo>
                <a:lnTo>
                  <a:pt x="105092" y="121674"/>
                </a:lnTo>
                <a:lnTo>
                  <a:pt x="105039" y="121463"/>
                </a:lnTo>
                <a:lnTo>
                  <a:pt x="105461" y="121885"/>
                </a:lnTo>
                <a:lnTo>
                  <a:pt x="105250" y="122044"/>
                </a:lnTo>
                <a:lnTo>
                  <a:pt x="105197" y="122149"/>
                </a:lnTo>
                <a:lnTo>
                  <a:pt x="105144" y="122466"/>
                </a:lnTo>
                <a:lnTo>
                  <a:pt x="105039" y="122572"/>
                </a:lnTo>
                <a:lnTo>
                  <a:pt x="104933" y="122572"/>
                </a:lnTo>
                <a:lnTo>
                  <a:pt x="104828" y="122678"/>
                </a:lnTo>
                <a:lnTo>
                  <a:pt x="104880" y="122836"/>
                </a:lnTo>
                <a:lnTo>
                  <a:pt x="105144" y="122994"/>
                </a:lnTo>
                <a:lnTo>
                  <a:pt x="105144" y="123100"/>
                </a:lnTo>
                <a:lnTo>
                  <a:pt x="105197" y="123206"/>
                </a:lnTo>
                <a:lnTo>
                  <a:pt x="105356" y="123311"/>
                </a:lnTo>
                <a:lnTo>
                  <a:pt x="105461" y="123417"/>
                </a:lnTo>
                <a:lnTo>
                  <a:pt x="105567" y="123417"/>
                </a:lnTo>
                <a:lnTo>
                  <a:pt x="105725" y="123311"/>
                </a:lnTo>
                <a:lnTo>
                  <a:pt x="105725" y="123153"/>
                </a:lnTo>
                <a:lnTo>
                  <a:pt x="105673" y="122942"/>
                </a:lnTo>
                <a:lnTo>
                  <a:pt x="105725" y="122889"/>
                </a:lnTo>
                <a:lnTo>
                  <a:pt x="106042" y="122889"/>
                </a:lnTo>
                <a:lnTo>
                  <a:pt x="106306" y="122942"/>
                </a:lnTo>
                <a:lnTo>
                  <a:pt x="106623" y="122836"/>
                </a:lnTo>
                <a:lnTo>
                  <a:pt x="106782" y="122836"/>
                </a:lnTo>
                <a:lnTo>
                  <a:pt x="106834" y="122942"/>
                </a:lnTo>
                <a:lnTo>
                  <a:pt x="106782" y="122994"/>
                </a:lnTo>
                <a:lnTo>
                  <a:pt x="106570" y="123047"/>
                </a:lnTo>
                <a:lnTo>
                  <a:pt x="106465" y="123100"/>
                </a:lnTo>
                <a:lnTo>
                  <a:pt x="106412" y="123206"/>
                </a:lnTo>
                <a:lnTo>
                  <a:pt x="106359" y="123206"/>
                </a:lnTo>
                <a:lnTo>
                  <a:pt x="106095" y="123153"/>
                </a:lnTo>
                <a:lnTo>
                  <a:pt x="106042" y="123153"/>
                </a:lnTo>
                <a:lnTo>
                  <a:pt x="105989" y="123311"/>
                </a:lnTo>
                <a:lnTo>
                  <a:pt x="105989" y="123787"/>
                </a:lnTo>
                <a:lnTo>
                  <a:pt x="105884" y="123681"/>
                </a:lnTo>
                <a:lnTo>
                  <a:pt x="105303" y="123787"/>
                </a:lnTo>
                <a:lnTo>
                  <a:pt x="105197" y="123839"/>
                </a:lnTo>
                <a:lnTo>
                  <a:pt x="104828" y="124156"/>
                </a:lnTo>
                <a:lnTo>
                  <a:pt x="104933" y="124526"/>
                </a:lnTo>
                <a:lnTo>
                  <a:pt x="105144" y="124684"/>
                </a:lnTo>
                <a:lnTo>
                  <a:pt x="105356" y="124737"/>
                </a:lnTo>
                <a:lnTo>
                  <a:pt x="105567" y="124737"/>
                </a:lnTo>
                <a:lnTo>
                  <a:pt x="105620" y="124790"/>
                </a:lnTo>
                <a:lnTo>
                  <a:pt x="105884" y="124473"/>
                </a:lnTo>
                <a:lnTo>
                  <a:pt x="105989" y="124420"/>
                </a:lnTo>
                <a:lnTo>
                  <a:pt x="106253" y="124420"/>
                </a:lnTo>
                <a:lnTo>
                  <a:pt x="106359" y="124473"/>
                </a:lnTo>
                <a:lnTo>
                  <a:pt x="106465" y="124632"/>
                </a:lnTo>
                <a:lnTo>
                  <a:pt x="106570" y="124896"/>
                </a:lnTo>
                <a:lnTo>
                  <a:pt x="106623" y="124948"/>
                </a:lnTo>
                <a:lnTo>
                  <a:pt x="106676" y="124948"/>
                </a:lnTo>
                <a:lnTo>
                  <a:pt x="106782" y="124843"/>
                </a:lnTo>
                <a:lnTo>
                  <a:pt x="106887" y="124790"/>
                </a:lnTo>
                <a:lnTo>
                  <a:pt x="106993" y="124684"/>
                </a:lnTo>
                <a:lnTo>
                  <a:pt x="107046" y="124684"/>
                </a:lnTo>
                <a:lnTo>
                  <a:pt x="107468" y="124737"/>
                </a:lnTo>
                <a:lnTo>
                  <a:pt x="107574" y="124843"/>
                </a:lnTo>
                <a:lnTo>
                  <a:pt x="107627" y="124948"/>
                </a:lnTo>
                <a:lnTo>
                  <a:pt x="107627" y="125054"/>
                </a:lnTo>
                <a:lnTo>
                  <a:pt x="107574" y="125265"/>
                </a:lnTo>
                <a:lnTo>
                  <a:pt x="107627" y="125318"/>
                </a:lnTo>
                <a:lnTo>
                  <a:pt x="107679" y="125477"/>
                </a:lnTo>
                <a:lnTo>
                  <a:pt x="107732" y="125477"/>
                </a:lnTo>
                <a:lnTo>
                  <a:pt x="108683" y="125265"/>
                </a:lnTo>
                <a:lnTo>
                  <a:pt x="109792" y="125318"/>
                </a:lnTo>
                <a:lnTo>
                  <a:pt x="110373" y="125371"/>
                </a:lnTo>
                <a:lnTo>
                  <a:pt x="110637" y="125318"/>
                </a:lnTo>
                <a:lnTo>
                  <a:pt x="110848" y="125107"/>
                </a:lnTo>
                <a:lnTo>
                  <a:pt x="110848" y="125001"/>
                </a:lnTo>
                <a:lnTo>
                  <a:pt x="110848" y="124843"/>
                </a:lnTo>
                <a:lnTo>
                  <a:pt x="110901" y="124790"/>
                </a:lnTo>
                <a:lnTo>
                  <a:pt x="110954" y="124737"/>
                </a:lnTo>
                <a:lnTo>
                  <a:pt x="111059" y="124632"/>
                </a:lnTo>
                <a:lnTo>
                  <a:pt x="111059" y="124579"/>
                </a:lnTo>
                <a:lnTo>
                  <a:pt x="111165" y="124526"/>
                </a:lnTo>
                <a:lnTo>
                  <a:pt x="111270" y="124526"/>
                </a:lnTo>
                <a:lnTo>
                  <a:pt x="111376" y="124420"/>
                </a:lnTo>
                <a:lnTo>
                  <a:pt x="111376" y="124262"/>
                </a:lnTo>
                <a:lnTo>
                  <a:pt x="111534" y="124262"/>
                </a:lnTo>
                <a:lnTo>
                  <a:pt x="111798" y="124051"/>
                </a:lnTo>
                <a:lnTo>
                  <a:pt x="112010" y="124156"/>
                </a:lnTo>
                <a:lnTo>
                  <a:pt x="111904" y="124262"/>
                </a:lnTo>
                <a:lnTo>
                  <a:pt x="111851" y="124420"/>
                </a:lnTo>
                <a:lnTo>
                  <a:pt x="111746" y="124473"/>
                </a:lnTo>
                <a:lnTo>
                  <a:pt x="111640" y="124420"/>
                </a:lnTo>
                <a:lnTo>
                  <a:pt x="111587" y="124579"/>
                </a:lnTo>
                <a:lnTo>
                  <a:pt x="111746" y="124737"/>
                </a:lnTo>
                <a:lnTo>
                  <a:pt x="112379" y="124843"/>
                </a:lnTo>
                <a:lnTo>
                  <a:pt x="112485" y="124896"/>
                </a:lnTo>
                <a:lnTo>
                  <a:pt x="112485" y="125001"/>
                </a:lnTo>
                <a:lnTo>
                  <a:pt x="112485" y="125107"/>
                </a:lnTo>
                <a:lnTo>
                  <a:pt x="112379" y="125160"/>
                </a:lnTo>
                <a:lnTo>
                  <a:pt x="111851" y="125318"/>
                </a:lnTo>
                <a:lnTo>
                  <a:pt x="111746" y="125318"/>
                </a:lnTo>
                <a:lnTo>
                  <a:pt x="111482" y="125160"/>
                </a:lnTo>
                <a:lnTo>
                  <a:pt x="111323" y="125160"/>
                </a:lnTo>
                <a:lnTo>
                  <a:pt x="111112" y="125265"/>
                </a:lnTo>
                <a:lnTo>
                  <a:pt x="110742" y="125529"/>
                </a:lnTo>
                <a:lnTo>
                  <a:pt x="110795" y="125582"/>
                </a:lnTo>
                <a:lnTo>
                  <a:pt x="111059" y="125529"/>
                </a:lnTo>
                <a:lnTo>
                  <a:pt x="112538" y="125952"/>
                </a:lnTo>
                <a:lnTo>
                  <a:pt x="113119" y="126374"/>
                </a:lnTo>
                <a:lnTo>
                  <a:pt x="113172" y="126533"/>
                </a:lnTo>
                <a:lnTo>
                  <a:pt x="112907" y="126533"/>
                </a:lnTo>
                <a:lnTo>
                  <a:pt x="113013" y="126691"/>
                </a:lnTo>
                <a:lnTo>
                  <a:pt x="113119" y="126850"/>
                </a:lnTo>
                <a:lnTo>
                  <a:pt x="113066" y="127061"/>
                </a:lnTo>
                <a:lnTo>
                  <a:pt x="112907" y="127272"/>
                </a:lnTo>
                <a:lnTo>
                  <a:pt x="112063" y="127959"/>
                </a:lnTo>
                <a:lnTo>
                  <a:pt x="111904" y="128064"/>
                </a:lnTo>
                <a:lnTo>
                  <a:pt x="111693" y="128170"/>
                </a:lnTo>
                <a:lnTo>
                  <a:pt x="111429" y="128170"/>
                </a:lnTo>
                <a:lnTo>
                  <a:pt x="111376" y="128117"/>
                </a:lnTo>
                <a:lnTo>
                  <a:pt x="111270" y="128011"/>
                </a:lnTo>
                <a:lnTo>
                  <a:pt x="111218" y="127906"/>
                </a:lnTo>
                <a:lnTo>
                  <a:pt x="111165" y="127747"/>
                </a:lnTo>
                <a:lnTo>
                  <a:pt x="111165" y="127589"/>
                </a:lnTo>
                <a:lnTo>
                  <a:pt x="111218" y="127483"/>
                </a:lnTo>
                <a:lnTo>
                  <a:pt x="111270" y="127378"/>
                </a:lnTo>
                <a:lnTo>
                  <a:pt x="111323" y="127272"/>
                </a:lnTo>
                <a:lnTo>
                  <a:pt x="111218" y="127166"/>
                </a:lnTo>
                <a:lnTo>
                  <a:pt x="111218" y="127008"/>
                </a:lnTo>
                <a:lnTo>
                  <a:pt x="111270" y="126850"/>
                </a:lnTo>
                <a:lnTo>
                  <a:pt x="111323" y="126691"/>
                </a:lnTo>
                <a:lnTo>
                  <a:pt x="111270" y="126480"/>
                </a:lnTo>
                <a:lnTo>
                  <a:pt x="111165" y="126321"/>
                </a:lnTo>
                <a:lnTo>
                  <a:pt x="111006" y="126269"/>
                </a:lnTo>
                <a:lnTo>
                  <a:pt x="110478" y="126269"/>
                </a:lnTo>
                <a:lnTo>
                  <a:pt x="110320" y="126374"/>
                </a:lnTo>
                <a:lnTo>
                  <a:pt x="110109" y="126586"/>
                </a:lnTo>
                <a:lnTo>
                  <a:pt x="110003" y="126691"/>
                </a:lnTo>
                <a:lnTo>
                  <a:pt x="109897" y="126850"/>
                </a:lnTo>
                <a:lnTo>
                  <a:pt x="109845" y="127219"/>
                </a:lnTo>
                <a:lnTo>
                  <a:pt x="109739" y="127378"/>
                </a:lnTo>
                <a:lnTo>
                  <a:pt x="109633" y="127430"/>
                </a:lnTo>
                <a:lnTo>
                  <a:pt x="109316" y="127430"/>
                </a:lnTo>
                <a:lnTo>
                  <a:pt x="109158" y="127483"/>
                </a:lnTo>
                <a:lnTo>
                  <a:pt x="109052" y="127642"/>
                </a:lnTo>
                <a:lnTo>
                  <a:pt x="108947" y="127747"/>
                </a:lnTo>
                <a:lnTo>
                  <a:pt x="108683" y="128064"/>
                </a:lnTo>
                <a:lnTo>
                  <a:pt x="108524" y="128381"/>
                </a:lnTo>
                <a:lnTo>
                  <a:pt x="108419" y="128434"/>
                </a:lnTo>
                <a:lnTo>
                  <a:pt x="108260" y="128328"/>
                </a:lnTo>
                <a:lnTo>
                  <a:pt x="108419" y="128223"/>
                </a:lnTo>
                <a:lnTo>
                  <a:pt x="108471" y="128223"/>
                </a:lnTo>
                <a:lnTo>
                  <a:pt x="108471" y="128117"/>
                </a:lnTo>
                <a:lnTo>
                  <a:pt x="108471" y="127959"/>
                </a:lnTo>
                <a:lnTo>
                  <a:pt x="108471" y="127906"/>
                </a:lnTo>
                <a:lnTo>
                  <a:pt x="108577" y="127853"/>
                </a:lnTo>
                <a:lnTo>
                  <a:pt x="108577" y="127800"/>
                </a:lnTo>
                <a:lnTo>
                  <a:pt x="108630" y="127800"/>
                </a:lnTo>
                <a:lnTo>
                  <a:pt x="108630" y="127642"/>
                </a:lnTo>
                <a:lnTo>
                  <a:pt x="108630" y="127483"/>
                </a:lnTo>
                <a:lnTo>
                  <a:pt x="108683" y="127430"/>
                </a:lnTo>
                <a:lnTo>
                  <a:pt x="109158" y="127114"/>
                </a:lnTo>
                <a:lnTo>
                  <a:pt x="109105" y="127008"/>
                </a:lnTo>
                <a:lnTo>
                  <a:pt x="109105" y="126902"/>
                </a:lnTo>
                <a:lnTo>
                  <a:pt x="109105" y="126797"/>
                </a:lnTo>
                <a:lnTo>
                  <a:pt x="109158" y="126744"/>
                </a:lnTo>
                <a:lnTo>
                  <a:pt x="109052" y="126744"/>
                </a:lnTo>
                <a:lnTo>
                  <a:pt x="109000" y="126691"/>
                </a:lnTo>
                <a:lnTo>
                  <a:pt x="109000" y="126638"/>
                </a:lnTo>
                <a:lnTo>
                  <a:pt x="109000" y="126533"/>
                </a:lnTo>
                <a:lnTo>
                  <a:pt x="109000" y="126321"/>
                </a:lnTo>
                <a:lnTo>
                  <a:pt x="109000" y="126163"/>
                </a:lnTo>
                <a:lnTo>
                  <a:pt x="108577" y="126163"/>
                </a:lnTo>
                <a:lnTo>
                  <a:pt x="108471" y="126057"/>
                </a:lnTo>
                <a:lnTo>
                  <a:pt x="108207" y="126057"/>
                </a:lnTo>
                <a:lnTo>
                  <a:pt x="108049" y="125899"/>
                </a:lnTo>
                <a:lnTo>
                  <a:pt x="107415" y="125899"/>
                </a:lnTo>
                <a:lnTo>
                  <a:pt x="107098" y="125846"/>
                </a:lnTo>
                <a:lnTo>
                  <a:pt x="106940" y="125582"/>
                </a:lnTo>
                <a:lnTo>
                  <a:pt x="106993" y="125424"/>
                </a:lnTo>
                <a:lnTo>
                  <a:pt x="107204" y="125107"/>
                </a:lnTo>
                <a:lnTo>
                  <a:pt x="107204" y="125001"/>
                </a:lnTo>
                <a:lnTo>
                  <a:pt x="107098" y="124896"/>
                </a:lnTo>
                <a:lnTo>
                  <a:pt x="106887" y="124948"/>
                </a:lnTo>
                <a:lnTo>
                  <a:pt x="106676" y="125054"/>
                </a:lnTo>
                <a:lnTo>
                  <a:pt x="106570" y="125160"/>
                </a:lnTo>
                <a:lnTo>
                  <a:pt x="106359" y="125424"/>
                </a:lnTo>
                <a:lnTo>
                  <a:pt x="106253" y="125424"/>
                </a:lnTo>
                <a:lnTo>
                  <a:pt x="106148" y="125265"/>
                </a:lnTo>
                <a:lnTo>
                  <a:pt x="106095" y="125212"/>
                </a:lnTo>
                <a:lnTo>
                  <a:pt x="105989" y="125107"/>
                </a:lnTo>
                <a:lnTo>
                  <a:pt x="105937" y="124896"/>
                </a:lnTo>
                <a:lnTo>
                  <a:pt x="105831" y="124790"/>
                </a:lnTo>
                <a:lnTo>
                  <a:pt x="105725" y="124948"/>
                </a:lnTo>
                <a:lnTo>
                  <a:pt x="105778" y="125212"/>
                </a:lnTo>
                <a:lnTo>
                  <a:pt x="105989" y="125424"/>
                </a:lnTo>
                <a:lnTo>
                  <a:pt x="106095" y="125635"/>
                </a:lnTo>
                <a:lnTo>
                  <a:pt x="105884" y="125899"/>
                </a:lnTo>
                <a:lnTo>
                  <a:pt x="105673" y="126057"/>
                </a:lnTo>
                <a:lnTo>
                  <a:pt x="105620" y="126163"/>
                </a:lnTo>
                <a:lnTo>
                  <a:pt x="105356" y="126163"/>
                </a:lnTo>
                <a:lnTo>
                  <a:pt x="105356" y="126269"/>
                </a:lnTo>
                <a:lnTo>
                  <a:pt x="105514" y="126586"/>
                </a:lnTo>
                <a:lnTo>
                  <a:pt x="105514" y="126744"/>
                </a:lnTo>
                <a:lnTo>
                  <a:pt x="105461" y="126902"/>
                </a:lnTo>
                <a:lnTo>
                  <a:pt x="105356" y="127061"/>
                </a:lnTo>
                <a:lnTo>
                  <a:pt x="105092" y="127219"/>
                </a:lnTo>
                <a:lnTo>
                  <a:pt x="104933" y="127430"/>
                </a:lnTo>
                <a:lnTo>
                  <a:pt x="104669" y="127589"/>
                </a:lnTo>
                <a:lnTo>
                  <a:pt x="104511" y="127747"/>
                </a:lnTo>
                <a:lnTo>
                  <a:pt x="104299" y="127853"/>
                </a:lnTo>
                <a:lnTo>
                  <a:pt x="104247" y="127906"/>
                </a:lnTo>
                <a:lnTo>
                  <a:pt x="104194" y="128011"/>
                </a:lnTo>
                <a:lnTo>
                  <a:pt x="104141" y="128064"/>
                </a:lnTo>
                <a:lnTo>
                  <a:pt x="104035" y="128170"/>
                </a:lnTo>
                <a:lnTo>
                  <a:pt x="103983" y="128170"/>
                </a:lnTo>
                <a:lnTo>
                  <a:pt x="103771" y="128064"/>
                </a:lnTo>
                <a:lnTo>
                  <a:pt x="103666" y="128170"/>
                </a:lnTo>
                <a:lnTo>
                  <a:pt x="103507" y="128275"/>
                </a:lnTo>
                <a:lnTo>
                  <a:pt x="103455" y="128434"/>
                </a:lnTo>
                <a:lnTo>
                  <a:pt x="103666" y="128751"/>
                </a:lnTo>
                <a:lnTo>
                  <a:pt x="103719" y="128804"/>
                </a:lnTo>
                <a:lnTo>
                  <a:pt x="104405" y="128909"/>
                </a:lnTo>
                <a:lnTo>
                  <a:pt x="104564" y="128909"/>
                </a:lnTo>
                <a:lnTo>
                  <a:pt x="104669" y="128804"/>
                </a:lnTo>
                <a:lnTo>
                  <a:pt x="104722" y="128751"/>
                </a:lnTo>
                <a:lnTo>
                  <a:pt x="105408" y="128434"/>
                </a:lnTo>
                <a:lnTo>
                  <a:pt x="105567" y="128487"/>
                </a:lnTo>
                <a:lnTo>
                  <a:pt x="105620" y="128645"/>
                </a:lnTo>
                <a:lnTo>
                  <a:pt x="105620" y="128751"/>
                </a:lnTo>
                <a:lnTo>
                  <a:pt x="105567" y="128856"/>
                </a:lnTo>
                <a:lnTo>
                  <a:pt x="105461" y="128909"/>
                </a:lnTo>
                <a:lnTo>
                  <a:pt x="105461" y="128962"/>
                </a:lnTo>
                <a:lnTo>
                  <a:pt x="105461" y="129015"/>
                </a:lnTo>
                <a:lnTo>
                  <a:pt x="105461" y="129120"/>
                </a:lnTo>
                <a:lnTo>
                  <a:pt x="105461" y="129226"/>
                </a:lnTo>
                <a:lnTo>
                  <a:pt x="105461" y="129279"/>
                </a:lnTo>
                <a:lnTo>
                  <a:pt x="105303" y="129279"/>
                </a:lnTo>
                <a:lnTo>
                  <a:pt x="104986" y="129384"/>
                </a:lnTo>
                <a:lnTo>
                  <a:pt x="104880" y="129384"/>
                </a:lnTo>
                <a:lnTo>
                  <a:pt x="104986" y="129596"/>
                </a:lnTo>
                <a:lnTo>
                  <a:pt x="105092" y="129807"/>
                </a:lnTo>
                <a:lnTo>
                  <a:pt x="105250" y="130018"/>
                </a:lnTo>
                <a:lnTo>
                  <a:pt x="105408" y="130177"/>
                </a:lnTo>
                <a:lnTo>
                  <a:pt x="105567" y="130388"/>
                </a:lnTo>
                <a:lnTo>
                  <a:pt x="105620" y="130441"/>
                </a:lnTo>
                <a:lnTo>
                  <a:pt x="106465" y="130758"/>
                </a:lnTo>
                <a:lnTo>
                  <a:pt x="106623" y="130863"/>
                </a:lnTo>
                <a:lnTo>
                  <a:pt x="106729" y="130969"/>
                </a:lnTo>
                <a:lnTo>
                  <a:pt x="106940" y="130810"/>
                </a:lnTo>
                <a:lnTo>
                  <a:pt x="107257" y="130493"/>
                </a:lnTo>
                <a:lnTo>
                  <a:pt x="107257" y="130493"/>
                </a:lnTo>
                <a:lnTo>
                  <a:pt x="107098" y="130705"/>
                </a:lnTo>
                <a:lnTo>
                  <a:pt x="107098" y="130810"/>
                </a:lnTo>
                <a:lnTo>
                  <a:pt x="107098" y="130863"/>
                </a:lnTo>
                <a:lnTo>
                  <a:pt x="107204" y="130969"/>
                </a:lnTo>
                <a:lnTo>
                  <a:pt x="107257" y="131022"/>
                </a:lnTo>
                <a:lnTo>
                  <a:pt x="107204" y="131180"/>
                </a:lnTo>
                <a:lnTo>
                  <a:pt x="107257" y="131338"/>
                </a:lnTo>
                <a:lnTo>
                  <a:pt x="107415" y="131497"/>
                </a:lnTo>
                <a:lnTo>
                  <a:pt x="107627" y="131602"/>
                </a:lnTo>
                <a:lnTo>
                  <a:pt x="107891" y="131867"/>
                </a:lnTo>
                <a:lnTo>
                  <a:pt x="107996" y="131919"/>
                </a:lnTo>
                <a:lnTo>
                  <a:pt x="107996" y="132025"/>
                </a:lnTo>
                <a:lnTo>
                  <a:pt x="107943" y="132078"/>
                </a:lnTo>
                <a:lnTo>
                  <a:pt x="107943" y="132183"/>
                </a:lnTo>
                <a:lnTo>
                  <a:pt x="107996" y="132236"/>
                </a:lnTo>
                <a:lnTo>
                  <a:pt x="108049" y="132342"/>
                </a:lnTo>
                <a:lnTo>
                  <a:pt x="108207" y="132553"/>
                </a:lnTo>
                <a:lnTo>
                  <a:pt x="108207" y="132606"/>
                </a:lnTo>
                <a:lnTo>
                  <a:pt x="108207" y="132659"/>
                </a:lnTo>
                <a:lnTo>
                  <a:pt x="108313" y="132817"/>
                </a:lnTo>
                <a:lnTo>
                  <a:pt x="108366" y="132870"/>
                </a:lnTo>
                <a:lnTo>
                  <a:pt x="108419" y="132870"/>
                </a:lnTo>
                <a:lnTo>
                  <a:pt x="108630" y="133028"/>
                </a:lnTo>
                <a:lnTo>
                  <a:pt x="109316" y="133345"/>
                </a:lnTo>
                <a:lnTo>
                  <a:pt x="109580" y="133556"/>
                </a:lnTo>
                <a:lnTo>
                  <a:pt x="109739" y="133609"/>
                </a:lnTo>
                <a:lnTo>
                  <a:pt x="109633" y="133715"/>
                </a:lnTo>
                <a:lnTo>
                  <a:pt x="109633" y="133768"/>
                </a:lnTo>
                <a:lnTo>
                  <a:pt x="109792" y="133768"/>
                </a:lnTo>
                <a:lnTo>
                  <a:pt x="109792" y="133820"/>
                </a:lnTo>
                <a:lnTo>
                  <a:pt x="109369" y="133926"/>
                </a:lnTo>
                <a:lnTo>
                  <a:pt x="109264" y="134032"/>
                </a:lnTo>
                <a:lnTo>
                  <a:pt x="109264" y="134401"/>
                </a:lnTo>
                <a:lnTo>
                  <a:pt x="109369" y="134613"/>
                </a:lnTo>
                <a:lnTo>
                  <a:pt x="109475" y="134877"/>
                </a:lnTo>
                <a:lnTo>
                  <a:pt x="109633" y="135088"/>
                </a:lnTo>
                <a:lnTo>
                  <a:pt x="109792" y="135194"/>
                </a:lnTo>
                <a:lnTo>
                  <a:pt x="110848" y="135510"/>
                </a:lnTo>
                <a:lnTo>
                  <a:pt x="112063" y="135510"/>
                </a:lnTo>
                <a:lnTo>
                  <a:pt x="113488" y="135246"/>
                </a:lnTo>
                <a:lnTo>
                  <a:pt x="114597" y="134930"/>
                </a:lnTo>
                <a:lnTo>
                  <a:pt x="115918" y="134190"/>
                </a:lnTo>
                <a:lnTo>
                  <a:pt x="116129" y="133926"/>
                </a:lnTo>
                <a:lnTo>
                  <a:pt x="116129" y="133556"/>
                </a:lnTo>
                <a:lnTo>
                  <a:pt x="116393" y="133715"/>
                </a:lnTo>
                <a:lnTo>
                  <a:pt x="116657" y="133820"/>
                </a:lnTo>
                <a:lnTo>
                  <a:pt x="116974" y="133820"/>
                </a:lnTo>
                <a:lnTo>
                  <a:pt x="117238" y="133662"/>
                </a:lnTo>
                <a:lnTo>
                  <a:pt x="117291" y="133556"/>
                </a:lnTo>
                <a:lnTo>
                  <a:pt x="117344" y="133451"/>
                </a:lnTo>
                <a:lnTo>
                  <a:pt x="117396" y="133292"/>
                </a:lnTo>
                <a:lnTo>
                  <a:pt x="117449" y="133134"/>
                </a:lnTo>
                <a:lnTo>
                  <a:pt x="117449" y="132976"/>
                </a:lnTo>
                <a:lnTo>
                  <a:pt x="117449" y="132817"/>
                </a:lnTo>
                <a:lnTo>
                  <a:pt x="117396" y="132711"/>
                </a:lnTo>
                <a:lnTo>
                  <a:pt x="117396" y="132500"/>
                </a:lnTo>
                <a:lnTo>
                  <a:pt x="117396" y="132342"/>
                </a:lnTo>
                <a:lnTo>
                  <a:pt x="117449" y="132236"/>
                </a:lnTo>
                <a:lnTo>
                  <a:pt x="117608" y="132025"/>
                </a:lnTo>
                <a:lnTo>
                  <a:pt x="117608" y="131814"/>
                </a:lnTo>
                <a:lnTo>
                  <a:pt x="117502" y="131708"/>
                </a:lnTo>
                <a:lnTo>
                  <a:pt x="117079" y="131391"/>
                </a:lnTo>
                <a:lnTo>
                  <a:pt x="116604" y="131233"/>
                </a:lnTo>
                <a:lnTo>
                  <a:pt x="116393" y="131127"/>
                </a:lnTo>
                <a:lnTo>
                  <a:pt x="117027" y="131180"/>
                </a:lnTo>
                <a:lnTo>
                  <a:pt x="117079" y="131180"/>
                </a:lnTo>
                <a:lnTo>
                  <a:pt x="117132" y="131127"/>
                </a:lnTo>
                <a:lnTo>
                  <a:pt x="117132" y="131074"/>
                </a:lnTo>
                <a:lnTo>
                  <a:pt x="117132" y="130969"/>
                </a:lnTo>
                <a:lnTo>
                  <a:pt x="117079" y="130863"/>
                </a:lnTo>
                <a:lnTo>
                  <a:pt x="116868" y="130758"/>
                </a:lnTo>
                <a:lnTo>
                  <a:pt x="116921" y="130758"/>
                </a:lnTo>
                <a:lnTo>
                  <a:pt x="117027" y="130705"/>
                </a:lnTo>
                <a:lnTo>
                  <a:pt x="116974" y="130652"/>
                </a:lnTo>
                <a:lnTo>
                  <a:pt x="116868" y="130546"/>
                </a:lnTo>
                <a:lnTo>
                  <a:pt x="116868" y="130493"/>
                </a:lnTo>
                <a:lnTo>
                  <a:pt x="116921" y="130493"/>
                </a:lnTo>
                <a:lnTo>
                  <a:pt x="116921" y="130441"/>
                </a:lnTo>
                <a:lnTo>
                  <a:pt x="116974" y="130388"/>
                </a:lnTo>
                <a:lnTo>
                  <a:pt x="117027" y="130335"/>
                </a:lnTo>
                <a:lnTo>
                  <a:pt x="117185" y="130282"/>
                </a:lnTo>
                <a:lnTo>
                  <a:pt x="117238" y="130229"/>
                </a:lnTo>
                <a:lnTo>
                  <a:pt x="117502" y="130071"/>
                </a:lnTo>
                <a:lnTo>
                  <a:pt x="117555" y="129965"/>
                </a:lnTo>
                <a:lnTo>
                  <a:pt x="117713" y="129807"/>
                </a:lnTo>
                <a:lnTo>
                  <a:pt x="117766" y="129913"/>
                </a:lnTo>
                <a:lnTo>
                  <a:pt x="117713" y="130071"/>
                </a:lnTo>
                <a:lnTo>
                  <a:pt x="117766" y="130071"/>
                </a:lnTo>
                <a:lnTo>
                  <a:pt x="117924" y="129965"/>
                </a:lnTo>
                <a:lnTo>
                  <a:pt x="117924" y="129754"/>
                </a:lnTo>
                <a:lnTo>
                  <a:pt x="117872" y="129649"/>
                </a:lnTo>
                <a:lnTo>
                  <a:pt x="117872" y="129543"/>
                </a:lnTo>
                <a:lnTo>
                  <a:pt x="117924" y="129437"/>
                </a:lnTo>
                <a:lnTo>
                  <a:pt x="118136" y="129437"/>
                </a:lnTo>
                <a:lnTo>
                  <a:pt x="118136" y="129384"/>
                </a:lnTo>
                <a:lnTo>
                  <a:pt x="118136" y="129226"/>
                </a:lnTo>
                <a:lnTo>
                  <a:pt x="118136" y="129173"/>
                </a:lnTo>
                <a:lnTo>
                  <a:pt x="118188" y="129068"/>
                </a:lnTo>
                <a:lnTo>
                  <a:pt x="118453" y="128487"/>
                </a:lnTo>
                <a:lnTo>
                  <a:pt x="118453" y="128328"/>
                </a:lnTo>
                <a:lnTo>
                  <a:pt x="118453" y="128275"/>
                </a:lnTo>
                <a:lnTo>
                  <a:pt x="118505" y="128117"/>
                </a:lnTo>
                <a:lnTo>
                  <a:pt x="118505" y="127906"/>
                </a:lnTo>
                <a:lnTo>
                  <a:pt x="118558" y="127747"/>
                </a:lnTo>
                <a:lnTo>
                  <a:pt x="118611" y="127642"/>
                </a:lnTo>
                <a:lnTo>
                  <a:pt x="118717" y="127642"/>
                </a:lnTo>
                <a:lnTo>
                  <a:pt x="118981" y="127483"/>
                </a:lnTo>
                <a:lnTo>
                  <a:pt x="119192" y="127430"/>
                </a:lnTo>
                <a:lnTo>
                  <a:pt x="119245" y="127325"/>
                </a:lnTo>
                <a:lnTo>
                  <a:pt x="119245" y="127166"/>
                </a:lnTo>
                <a:lnTo>
                  <a:pt x="119245" y="127008"/>
                </a:lnTo>
                <a:lnTo>
                  <a:pt x="119192" y="126902"/>
                </a:lnTo>
                <a:lnTo>
                  <a:pt x="118981" y="126638"/>
                </a:lnTo>
                <a:lnTo>
                  <a:pt x="119086" y="126638"/>
                </a:lnTo>
                <a:lnTo>
                  <a:pt x="119297" y="126797"/>
                </a:lnTo>
                <a:lnTo>
                  <a:pt x="119403" y="127061"/>
                </a:lnTo>
                <a:lnTo>
                  <a:pt x="119403" y="127219"/>
                </a:lnTo>
                <a:lnTo>
                  <a:pt x="119509" y="127272"/>
                </a:lnTo>
                <a:lnTo>
                  <a:pt x="120037" y="126955"/>
                </a:lnTo>
                <a:lnTo>
                  <a:pt x="120142" y="126850"/>
                </a:lnTo>
                <a:lnTo>
                  <a:pt x="120301" y="126797"/>
                </a:lnTo>
                <a:lnTo>
                  <a:pt x="120407" y="126902"/>
                </a:lnTo>
                <a:lnTo>
                  <a:pt x="120142" y="127061"/>
                </a:lnTo>
                <a:lnTo>
                  <a:pt x="120037" y="127166"/>
                </a:lnTo>
                <a:lnTo>
                  <a:pt x="120090" y="127219"/>
                </a:lnTo>
                <a:lnTo>
                  <a:pt x="119984" y="127430"/>
                </a:lnTo>
                <a:lnTo>
                  <a:pt x="119562" y="127378"/>
                </a:lnTo>
                <a:lnTo>
                  <a:pt x="119350" y="127483"/>
                </a:lnTo>
                <a:lnTo>
                  <a:pt x="119297" y="127589"/>
                </a:lnTo>
                <a:lnTo>
                  <a:pt x="118928" y="127959"/>
                </a:lnTo>
                <a:lnTo>
                  <a:pt x="118875" y="128011"/>
                </a:lnTo>
                <a:lnTo>
                  <a:pt x="118769" y="128011"/>
                </a:lnTo>
                <a:lnTo>
                  <a:pt x="118769" y="128064"/>
                </a:lnTo>
                <a:lnTo>
                  <a:pt x="118769" y="128328"/>
                </a:lnTo>
                <a:lnTo>
                  <a:pt x="118769" y="128381"/>
                </a:lnTo>
                <a:lnTo>
                  <a:pt x="118717" y="128434"/>
                </a:lnTo>
                <a:lnTo>
                  <a:pt x="118717" y="128539"/>
                </a:lnTo>
                <a:lnTo>
                  <a:pt x="118717" y="128645"/>
                </a:lnTo>
                <a:lnTo>
                  <a:pt x="118717" y="128751"/>
                </a:lnTo>
                <a:lnTo>
                  <a:pt x="118611" y="128856"/>
                </a:lnTo>
                <a:lnTo>
                  <a:pt x="118505" y="128962"/>
                </a:lnTo>
                <a:lnTo>
                  <a:pt x="118400" y="129120"/>
                </a:lnTo>
                <a:lnTo>
                  <a:pt x="118347" y="129332"/>
                </a:lnTo>
                <a:lnTo>
                  <a:pt x="118347" y="129596"/>
                </a:lnTo>
                <a:lnTo>
                  <a:pt x="118241" y="129807"/>
                </a:lnTo>
                <a:lnTo>
                  <a:pt x="117977" y="130388"/>
                </a:lnTo>
                <a:lnTo>
                  <a:pt x="117872" y="130546"/>
                </a:lnTo>
                <a:lnTo>
                  <a:pt x="117555" y="130758"/>
                </a:lnTo>
                <a:lnTo>
                  <a:pt x="117713" y="130916"/>
                </a:lnTo>
                <a:lnTo>
                  <a:pt x="117819" y="130969"/>
                </a:lnTo>
                <a:lnTo>
                  <a:pt x="117872" y="130969"/>
                </a:lnTo>
                <a:lnTo>
                  <a:pt x="118136" y="131286"/>
                </a:lnTo>
                <a:lnTo>
                  <a:pt x="118188" y="131391"/>
                </a:lnTo>
                <a:lnTo>
                  <a:pt x="118241" y="131497"/>
                </a:lnTo>
                <a:lnTo>
                  <a:pt x="118241" y="131602"/>
                </a:lnTo>
                <a:lnTo>
                  <a:pt x="118241" y="131761"/>
                </a:lnTo>
                <a:lnTo>
                  <a:pt x="118188" y="131761"/>
                </a:lnTo>
                <a:lnTo>
                  <a:pt x="118188" y="131867"/>
                </a:lnTo>
                <a:lnTo>
                  <a:pt x="118188" y="131919"/>
                </a:lnTo>
                <a:lnTo>
                  <a:pt x="118188" y="131972"/>
                </a:lnTo>
                <a:lnTo>
                  <a:pt x="118294" y="132236"/>
                </a:lnTo>
                <a:lnTo>
                  <a:pt x="118347" y="132236"/>
                </a:lnTo>
                <a:lnTo>
                  <a:pt x="118347" y="132131"/>
                </a:lnTo>
                <a:lnTo>
                  <a:pt x="118347" y="132078"/>
                </a:lnTo>
                <a:lnTo>
                  <a:pt x="118453" y="132078"/>
                </a:lnTo>
                <a:lnTo>
                  <a:pt x="118505" y="132025"/>
                </a:lnTo>
                <a:lnTo>
                  <a:pt x="118505" y="131919"/>
                </a:lnTo>
                <a:lnTo>
                  <a:pt x="118400" y="131919"/>
                </a:lnTo>
                <a:lnTo>
                  <a:pt x="118400" y="131814"/>
                </a:lnTo>
                <a:lnTo>
                  <a:pt x="118453" y="131761"/>
                </a:lnTo>
                <a:lnTo>
                  <a:pt x="118453" y="131602"/>
                </a:lnTo>
                <a:lnTo>
                  <a:pt x="118453" y="131391"/>
                </a:lnTo>
                <a:lnTo>
                  <a:pt x="118453" y="131286"/>
                </a:lnTo>
                <a:lnTo>
                  <a:pt x="118558" y="131286"/>
                </a:lnTo>
                <a:lnTo>
                  <a:pt x="118558" y="131497"/>
                </a:lnTo>
                <a:lnTo>
                  <a:pt x="118717" y="131602"/>
                </a:lnTo>
                <a:lnTo>
                  <a:pt x="118875" y="131550"/>
                </a:lnTo>
                <a:lnTo>
                  <a:pt x="118981" y="131444"/>
                </a:lnTo>
                <a:lnTo>
                  <a:pt x="118981" y="131391"/>
                </a:lnTo>
                <a:lnTo>
                  <a:pt x="118981" y="131338"/>
                </a:lnTo>
                <a:lnTo>
                  <a:pt x="119139" y="131286"/>
                </a:lnTo>
                <a:lnTo>
                  <a:pt x="119192" y="131286"/>
                </a:lnTo>
                <a:lnTo>
                  <a:pt x="119245" y="131338"/>
                </a:lnTo>
                <a:lnTo>
                  <a:pt x="119139" y="131391"/>
                </a:lnTo>
                <a:lnTo>
                  <a:pt x="119192" y="131550"/>
                </a:lnTo>
                <a:lnTo>
                  <a:pt x="119086" y="131655"/>
                </a:lnTo>
                <a:lnTo>
                  <a:pt x="118928" y="131761"/>
                </a:lnTo>
                <a:lnTo>
                  <a:pt x="118769" y="131761"/>
                </a:lnTo>
                <a:lnTo>
                  <a:pt x="118769" y="131814"/>
                </a:lnTo>
                <a:lnTo>
                  <a:pt x="118981" y="132183"/>
                </a:lnTo>
                <a:lnTo>
                  <a:pt x="118981" y="132236"/>
                </a:lnTo>
                <a:lnTo>
                  <a:pt x="118981" y="132395"/>
                </a:lnTo>
                <a:lnTo>
                  <a:pt x="118981" y="132447"/>
                </a:lnTo>
                <a:lnTo>
                  <a:pt x="118981" y="132606"/>
                </a:lnTo>
                <a:lnTo>
                  <a:pt x="118928" y="132711"/>
                </a:lnTo>
                <a:lnTo>
                  <a:pt x="118875" y="132711"/>
                </a:lnTo>
                <a:lnTo>
                  <a:pt x="118875" y="132817"/>
                </a:lnTo>
                <a:lnTo>
                  <a:pt x="118928" y="133081"/>
                </a:lnTo>
                <a:lnTo>
                  <a:pt x="119033" y="133451"/>
                </a:lnTo>
                <a:lnTo>
                  <a:pt x="119086" y="133609"/>
                </a:lnTo>
                <a:lnTo>
                  <a:pt x="119139" y="133768"/>
                </a:lnTo>
                <a:lnTo>
                  <a:pt x="119245" y="133926"/>
                </a:lnTo>
                <a:lnTo>
                  <a:pt x="119509" y="134032"/>
                </a:lnTo>
                <a:lnTo>
                  <a:pt x="119509" y="134137"/>
                </a:lnTo>
                <a:lnTo>
                  <a:pt x="119509" y="134454"/>
                </a:lnTo>
                <a:lnTo>
                  <a:pt x="119562" y="134665"/>
                </a:lnTo>
                <a:lnTo>
                  <a:pt x="119614" y="134824"/>
                </a:lnTo>
                <a:lnTo>
                  <a:pt x="120037" y="135458"/>
                </a:lnTo>
                <a:lnTo>
                  <a:pt x="120459" y="136355"/>
                </a:lnTo>
                <a:lnTo>
                  <a:pt x="120512" y="136461"/>
                </a:lnTo>
                <a:lnTo>
                  <a:pt x="120565" y="136514"/>
                </a:lnTo>
                <a:lnTo>
                  <a:pt x="120565" y="136672"/>
                </a:lnTo>
                <a:lnTo>
                  <a:pt x="120565" y="136831"/>
                </a:lnTo>
                <a:lnTo>
                  <a:pt x="120618" y="136936"/>
                </a:lnTo>
                <a:lnTo>
                  <a:pt x="120671" y="137200"/>
                </a:lnTo>
                <a:lnTo>
                  <a:pt x="121304" y="138362"/>
                </a:lnTo>
                <a:lnTo>
                  <a:pt x="121304" y="138415"/>
                </a:lnTo>
                <a:lnTo>
                  <a:pt x="121251" y="138521"/>
                </a:lnTo>
                <a:lnTo>
                  <a:pt x="121199" y="138573"/>
                </a:lnTo>
                <a:lnTo>
                  <a:pt x="121146" y="138626"/>
                </a:lnTo>
                <a:lnTo>
                  <a:pt x="121040" y="138626"/>
                </a:lnTo>
                <a:lnTo>
                  <a:pt x="120882" y="138521"/>
                </a:lnTo>
                <a:lnTo>
                  <a:pt x="120829" y="138679"/>
                </a:lnTo>
                <a:lnTo>
                  <a:pt x="120723" y="138890"/>
                </a:lnTo>
                <a:lnTo>
                  <a:pt x="120671" y="139049"/>
                </a:lnTo>
                <a:lnTo>
                  <a:pt x="120618" y="138996"/>
                </a:lnTo>
                <a:lnTo>
                  <a:pt x="120565" y="139049"/>
                </a:lnTo>
                <a:lnTo>
                  <a:pt x="120459" y="139313"/>
                </a:lnTo>
                <a:lnTo>
                  <a:pt x="120142" y="139313"/>
                </a:lnTo>
                <a:lnTo>
                  <a:pt x="120090" y="139418"/>
                </a:lnTo>
                <a:lnTo>
                  <a:pt x="120037" y="139630"/>
                </a:lnTo>
                <a:lnTo>
                  <a:pt x="120037" y="139735"/>
                </a:lnTo>
                <a:lnTo>
                  <a:pt x="120037" y="139841"/>
                </a:lnTo>
                <a:lnTo>
                  <a:pt x="120037" y="139946"/>
                </a:lnTo>
                <a:lnTo>
                  <a:pt x="119984" y="140052"/>
                </a:lnTo>
                <a:lnTo>
                  <a:pt x="119984" y="140263"/>
                </a:lnTo>
                <a:lnTo>
                  <a:pt x="119931" y="140527"/>
                </a:lnTo>
                <a:lnTo>
                  <a:pt x="119826" y="140686"/>
                </a:lnTo>
                <a:lnTo>
                  <a:pt x="119667" y="140580"/>
                </a:lnTo>
                <a:lnTo>
                  <a:pt x="119614" y="140422"/>
                </a:lnTo>
                <a:lnTo>
                  <a:pt x="119614" y="140263"/>
                </a:lnTo>
                <a:lnTo>
                  <a:pt x="119826" y="139999"/>
                </a:lnTo>
                <a:lnTo>
                  <a:pt x="119720" y="140105"/>
                </a:lnTo>
                <a:lnTo>
                  <a:pt x="119614" y="140211"/>
                </a:lnTo>
                <a:lnTo>
                  <a:pt x="119562" y="140369"/>
                </a:lnTo>
                <a:lnTo>
                  <a:pt x="119614" y="140580"/>
                </a:lnTo>
                <a:lnTo>
                  <a:pt x="119667" y="140739"/>
                </a:lnTo>
                <a:lnTo>
                  <a:pt x="119931" y="141636"/>
                </a:lnTo>
                <a:lnTo>
                  <a:pt x="120090" y="141953"/>
                </a:lnTo>
                <a:lnTo>
                  <a:pt x="120301" y="142164"/>
                </a:lnTo>
                <a:lnTo>
                  <a:pt x="120512" y="142270"/>
                </a:lnTo>
                <a:lnTo>
                  <a:pt x="120512" y="142217"/>
                </a:lnTo>
                <a:lnTo>
                  <a:pt x="120354" y="142164"/>
                </a:lnTo>
                <a:lnTo>
                  <a:pt x="120354" y="142006"/>
                </a:lnTo>
                <a:lnTo>
                  <a:pt x="120407" y="141848"/>
                </a:lnTo>
                <a:lnTo>
                  <a:pt x="120565" y="141742"/>
                </a:lnTo>
                <a:lnTo>
                  <a:pt x="121146" y="141795"/>
                </a:lnTo>
                <a:lnTo>
                  <a:pt x="121304" y="141742"/>
                </a:lnTo>
                <a:lnTo>
                  <a:pt x="121357" y="141742"/>
                </a:lnTo>
                <a:lnTo>
                  <a:pt x="121463" y="141584"/>
                </a:lnTo>
                <a:lnTo>
                  <a:pt x="121516" y="141584"/>
                </a:lnTo>
                <a:lnTo>
                  <a:pt x="121568" y="141636"/>
                </a:lnTo>
                <a:lnTo>
                  <a:pt x="121621" y="141689"/>
                </a:lnTo>
                <a:lnTo>
                  <a:pt x="121621" y="141742"/>
                </a:lnTo>
                <a:lnTo>
                  <a:pt x="121780" y="141742"/>
                </a:lnTo>
                <a:lnTo>
                  <a:pt x="121832" y="141795"/>
                </a:lnTo>
                <a:lnTo>
                  <a:pt x="121832" y="141953"/>
                </a:lnTo>
                <a:lnTo>
                  <a:pt x="121727" y="141953"/>
                </a:lnTo>
                <a:lnTo>
                  <a:pt x="121727" y="142059"/>
                </a:lnTo>
                <a:lnTo>
                  <a:pt x="121727" y="142112"/>
                </a:lnTo>
                <a:lnTo>
                  <a:pt x="121357" y="142376"/>
                </a:lnTo>
                <a:lnTo>
                  <a:pt x="121199" y="142534"/>
                </a:lnTo>
                <a:lnTo>
                  <a:pt x="121146" y="142587"/>
                </a:lnTo>
                <a:lnTo>
                  <a:pt x="120987" y="142640"/>
                </a:lnTo>
                <a:lnTo>
                  <a:pt x="120882" y="142693"/>
                </a:lnTo>
                <a:lnTo>
                  <a:pt x="120776" y="142693"/>
                </a:lnTo>
                <a:lnTo>
                  <a:pt x="120776" y="142640"/>
                </a:lnTo>
                <a:lnTo>
                  <a:pt x="120776" y="142587"/>
                </a:lnTo>
                <a:lnTo>
                  <a:pt x="120776" y="142534"/>
                </a:lnTo>
                <a:lnTo>
                  <a:pt x="120776" y="142481"/>
                </a:lnTo>
                <a:lnTo>
                  <a:pt x="120723" y="142534"/>
                </a:lnTo>
                <a:lnTo>
                  <a:pt x="120723" y="142640"/>
                </a:lnTo>
                <a:lnTo>
                  <a:pt x="120776" y="142798"/>
                </a:lnTo>
                <a:lnTo>
                  <a:pt x="120776" y="142851"/>
                </a:lnTo>
                <a:lnTo>
                  <a:pt x="120882" y="142957"/>
                </a:lnTo>
                <a:lnTo>
                  <a:pt x="120935" y="143009"/>
                </a:lnTo>
                <a:lnTo>
                  <a:pt x="120935" y="143115"/>
                </a:lnTo>
                <a:lnTo>
                  <a:pt x="120935" y="143221"/>
                </a:lnTo>
                <a:lnTo>
                  <a:pt x="120935" y="144066"/>
                </a:lnTo>
                <a:lnTo>
                  <a:pt x="120935" y="144171"/>
                </a:lnTo>
                <a:lnTo>
                  <a:pt x="120987" y="144171"/>
                </a:lnTo>
                <a:lnTo>
                  <a:pt x="121040" y="144277"/>
                </a:lnTo>
                <a:lnTo>
                  <a:pt x="121040" y="144382"/>
                </a:lnTo>
                <a:lnTo>
                  <a:pt x="121040" y="144435"/>
                </a:lnTo>
                <a:lnTo>
                  <a:pt x="121040" y="144594"/>
                </a:lnTo>
                <a:lnTo>
                  <a:pt x="121040" y="144647"/>
                </a:lnTo>
                <a:lnTo>
                  <a:pt x="121040" y="144858"/>
                </a:lnTo>
                <a:lnTo>
                  <a:pt x="121146" y="144647"/>
                </a:lnTo>
                <a:lnTo>
                  <a:pt x="121304" y="144488"/>
                </a:lnTo>
                <a:lnTo>
                  <a:pt x="121410" y="144488"/>
                </a:lnTo>
                <a:lnTo>
                  <a:pt x="121568" y="144647"/>
                </a:lnTo>
                <a:lnTo>
                  <a:pt x="121357" y="144963"/>
                </a:lnTo>
                <a:lnTo>
                  <a:pt x="121251" y="145069"/>
                </a:lnTo>
                <a:lnTo>
                  <a:pt x="120935" y="145069"/>
                </a:lnTo>
                <a:lnTo>
                  <a:pt x="120935" y="145122"/>
                </a:lnTo>
                <a:lnTo>
                  <a:pt x="120829" y="145227"/>
                </a:lnTo>
                <a:lnTo>
                  <a:pt x="120776" y="145280"/>
                </a:lnTo>
                <a:lnTo>
                  <a:pt x="120671" y="145386"/>
                </a:lnTo>
                <a:lnTo>
                  <a:pt x="120618" y="145439"/>
                </a:lnTo>
                <a:lnTo>
                  <a:pt x="120671" y="145703"/>
                </a:lnTo>
                <a:lnTo>
                  <a:pt x="120618" y="145861"/>
                </a:lnTo>
                <a:lnTo>
                  <a:pt x="120459" y="146020"/>
                </a:lnTo>
                <a:lnTo>
                  <a:pt x="120301" y="146072"/>
                </a:lnTo>
                <a:lnTo>
                  <a:pt x="120248" y="146072"/>
                </a:lnTo>
                <a:lnTo>
                  <a:pt x="120248" y="146020"/>
                </a:lnTo>
                <a:lnTo>
                  <a:pt x="120195" y="146020"/>
                </a:lnTo>
                <a:lnTo>
                  <a:pt x="120195" y="145914"/>
                </a:lnTo>
                <a:lnTo>
                  <a:pt x="120142" y="145914"/>
                </a:lnTo>
                <a:lnTo>
                  <a:pt x="120037" y="145861"/>
                </a:lnTo>
                <a:lnTo>
                  <a:pt x="119878" y="145861"/>
                </a:lnTo>
                <a:lnTo>
                  <a:pt x="119773" y="145808"/>
                </a:lnTo>
                <a:lnTo>
                  <a:pt x="119667" y="145914"/>
                </a:lnTo>
                <a:lnTo>
                  <a:pt x="119509" y="145967"/>
                </a:lnTo>
                <a:lnTo>
                  <a:pt x="119192" y="145967"/>
                </a:lnTo>
                <a:lnTo>
                  <a:pt x="119350" y="146231"/>
                </a:lnTo>
                <a:lnTo>
                  <a:pt x="119614" y="146336"/>
                </a:lnTo>
                <a:lnTo>
                  <a:pt x="120935" y="146336"/>
                </a:lnTo>
                <a:lnTo>
                  <a:pt x="121040" y="146442"/>
                </a:lnTo>
                <a:lnTo>
                  <a:pt x="121093" y="146495"/>
                </a:lnTo>
                <a:lnTo>
                  <a:pt x="121093" y="146389"/>
                </a:lnTo>
                <a:lnTo>
                  <a:pt x="121093" y="146284"/>
                </a:lnTo>
                <a:lnTo>
                  <a:pt x="121093" y="146231"/>
                </a:lnTo>
                <a:lnTo>
                  <a:pt x="121093" y="146178"/>
                </a:lnTo>
                <a:lnTo>
                  <a:pt x="121146" y="146178"/>
                </a:lnTo>
                <a:lnTo>
                  <a:pt x="121199" y="146231"/>
                </a:lnTo>
                <a:lnTo>
                  <a:pt x="121304" y="146336"/>
                </a:lnTo>
                <a:lnTo>
                  <a:pt x="121357" y="146442"/>
                </a:lnTo>
                <a:lnTo>
                  <a:pt x="121304" y="146548"/>
                </a:lnTo>
                <a:lnTo>
                  <a:pt x="121146" y="146759"/>
                </a:lnTo>
                <a:lnTo>
                  <a:pt x="121093" y="146917"/>
                </a:lnTo>
                <a:lnTo>
                  <a:pt x="121357" y="146917"/>
                </a:lnTo>
                <a:lnTo>
                  <a:pt x="121410" y="146865"/>
                </a:lnTo>
                <a:lnTo>
                  <a:pt x="121463" y="146759"/>
                </a:lnTo>
                <a:lnTo>
                  <a:pt x="121516" y="146706"/>
                </a:lnTo>
                <a:lnTo>
                  <a:pt x="121568" y="146653"/>
                </a:lnTo>
                <a:lnTo>
                  <a:pt x="121674" y="146601"/>
                </a:lnTo>
                <a:lnTo>
                  <a:pt x="121832" y="146495"/>
                </a:lnTo>
                <a:lnTo>
                  <a:pt x="122096" y="146495"/>
                </a:lnTo>
                <a:lnTo>
                  <a:pt x="122096" y="146389"/>
                </a:lnTo>
                <a:lnTo>
                  <a:pt x="122255" y="146231"/>
                </a:lnTo>
                <a:lnTo>
                  <a:pt x="122941" y="146020"/>
                </a:lnTo>
                <a:lnTo>
                  <a:pt x="123205" y="145861"/>
                </a:lnTo>
                <a:lnTo>
                  <a:pt x="122994" y="145861"/>
                </a:lnTo>
                <a:lnTo>
                  <a:pt x="122941" y="145914"/>
                </a:lnTo>
                <a:lnTo>
                  <a:pt x="122836" y="145808"/>
                </a:lnTo>
                <a:lnTo>
                  <a:pt x="122836" y="145650"/>
                </a:lnTo>
                <a:lnTo>
                  <a:pt x="122836" y="145544"/>
                </a:lnTo>
                <a:lnTo>
                  <a:pt x="122889" y="145439"/>
                </a:lnTo>
                <a:lnTo>
                  <a:pt x="123100" y="145175"/>
                </a:lnTo>
                <a:lnTo>
                  <a:pt x="123258" y="145016"/>
                </a:lnTo>
                <a:lnTo>
                  <a:pt x="123417" y="144911"/>
                </a:lnTo>
                <a:lnTo>
                  <a:pt x="123628" y="144858"/>
                </a:lnTo>
                <a:lnTo>
                  <a:pt x="123205" y="144858"/>
                </a:lnTo>
                <a:lnTo>
                  <a:pt x="123153" y="144805"/>
                </a:lnTo>
                <a:lnTo>
                  <a:pt x="123153" y="144752"/>
                </a:lnTo>
                <a:lnTo>
                  <a:pt x="123153" y="144699"/>
                </a:lnTo>
                <a:lnTo>
                  <a:pt x="123153" y="144594"/>
                </a:lnTo>
                <a:lnTo>
                  <a:pt x="123311" y="144541"/>
                </a:lnTo>
                <a:lnTo>
                  <a:pt x="123311" y="144647"/>
                </a:lnTo>
                <a:lnTo>
                  <a:pt x="123258" y="144647"/>
                </a:lnTo>
                <a:lnTo>
                  <a:pt x="123364" y="144752"/>
                </a:lnTo>
                <a:lnTo>
                  <a:pt x="123575" y="144699"/>
                </a:lnTo>
                <a:lnTo>
                  <a:pt x="123681" y="144752"/>
                </a:lnTo>
                <a:lnTo>
                  <a:pt x="123786" y="144647"/>
                </a:lnTo>
                <a:lnTo>
                  <a:pt x="123998" y="144594"/>
                </a:lnTo>
                <a:lnTo>
                  <a:pt x="124209" y="144382"/>
                </a:lnTo>
                <a:lnTo>
                  <a:pt x="124420" y="144277"/>
                </a:lnTo>
                <a:lnTo>
                  <a:pt x="124526" y="144224"/>
                </a:lnTo>
                <a:lnTo>
                  <a:pt x="124684" y="144066"/>
                </a:lnTo>
                <a:lnTo>
                  <a:pt x="124684" y="144013"/>
                </a:lnTo>
                <a:lnTo>
                  <a:pt x="124948" y="143960"/>
                </a:lnTo>
                <a:lnTo>
                  <a:pt x="125107" y="143854"/>
                </a:lnTo>
                <a:lnTo>
                  <a:pt x="125212" y="143907"/>
                </a:lnTo>
                <a:lnTo>
                  <a:pt x="125371" y="144066"/>
                </a:lnTo>
                <a:lnTo>
                  <a:pt x="125423" y="144224"/>
                </a:lnTo>
                <a:lnTo>
                  <a:pt x="125371" y="144330"/>
                </a:lnTo>
                <a:lnTo>
                  <a:pt x="125318" y="144435"/>
                </a:lnTo>
                <a:lnTo>
                  <a:pt x="125740" y="143696"/>
                </a:lnTo>
                <a:lnTo>
                  <a:pt x="125899" y="143538"/>
                </a:lnTo>
                <a:lnTo>
                  <a:pt x="127377" y="142323"/>
                </a:lnTo>
                <a:lnTo>
                  <a:pt x="127483" y="142270"/>
                </a:lnTo>
                <a:lnTo>
                  <a:pt x="127800" y="142270"/>
                </a:lnTo>
                <a:lnTo>
                  <a:pt x="127800" y="142323"/>
                </a:lnTo>
                <a:lnTo>
                  <a:pt x="127800" y="142429"/>
                </a:lnTo>
                <a:lnTo>
                  <a:pt x="127800" y="142481"/>
                </a:lnTo>
                <a:lnTo>
                  <a:pt x="127800" y="142534"/>
                </a:lnTo>
                <a:lnTo>
                  <a:pt x="127853" y="142587"/>
                </a:lnTo>
                <a:lnTo>
                  <a:pt x="127906" y="142640"/>
                </a:lnTo>
                <a:lnTo>
                  <a:pt x="127958" y="142693"/>
                </a:lnTo>
                <a:lnTo>
                  <a:pt x="128011" y="142745"/>
                </a:lnTo>
                <a:lnTo>
                  <a:pt x="128011" y="142851"/>
                </a:lnTo>
                <a:lnTo>
                  <a:pt x="128011" y="142904"/>
                </a:lnTo>
                <a:lnTo>
                  <a:pt x="128011" y="142957"/>
                </a:lnTo>
                <a:lnTo>
                  <a:pt x="128011" y="143009"/>
                </a:lnTo>
                <a:lnTo>
                  <a:pt x="127853" y="143009"/>
                </a:lnTo>
                <a:lnTo>
                  <a:pt x="127747" y="143115"/>
                </a:lnTo>
                <a:lnTo>
                  <a:pt x="127694" y="143168"/>
                </a:lnTo>
                <a:lnTo>
                  <a:pt x="127694" y="143273"/>
                </a:lnTo>
                <a:lnTo>
                  <a:pt x="127747" y="143379"/>
                </a:lnTo>
                <a:lnTo>
                  <a:pt x="127853" y="143379"/>
                </a:lnTo>
                <a:lnTo>
                  <a:pt x="127958" y="143326"/>
                </a:lnTo>
                <a:lnTo>
                  <a:pt x="128011" y="143326"/>
                </a:lnTo>
                <a:lnTo>
                  <a:pt x="128011" y="143432"/>
                </a:lnTo>
                <a:lnTo>
                  <a:pt x="128011" y="143643"/>
                </a:lnTo>
                <a:lnTo>
                  <a:pt x="128064" y="143696"/>
                </a:lnTo>
                <a:lnTo>
                  <a:pt x="128170" y="143643"/>
                </a:lnTo>
                <a:lnTo>
                  <a:pt x="128434" y="143485"/>
                </a:lnTo>
                <a:lnTo>
                  <a:pt x="128486" y="143749"/>
                </a:lnTo>
                <a:lnTo>
                  <a:pt x="128486" y="143907"/>
                </a:lnTo>
                <a:lnTo>
                  <a:pt x="128434" y="144013"/>
                </a:lnTo>
                <a:lnTo>
                  <a:pt x="128539" y="144066"/>
                </a:lnTo>
                <a:lnTo>
                  <a:pt x="128698" y="144066"/>
                </a:lnTo>
                <a:lnTo>
                  <a:pt x="128698" y="143960"/>
                </a:lnTo>
                <a:lnTo>
                  <a:pt x="128698" y="143907"/>
                </a:lnTo>
                <a:lnTo>
                  <a:pt x="128856" y="143854"/>
                </a:lnTo>
                <a:lnTo>
                  <a:pt x="128962" y="143854"/>
                </a:lnTo>
                <a:lnTo>
                  <a:pt x="129067" y="143907"/>
                </a:lnTo>
                <a:lnTo>
                  <a:pt x="129173" y="144013"/>
                </a:lnTo>
                <a:lnTo>
                  <a:pt x="129173" y="144118"/>
                </a:lnTo>
                <a:lnTo>
                  <a:pt x="129173" y="144277"/>
                </a:lnTo>
                <a:lnTo>
                  <a:pt x="129173" y="144330"/>
                </a:lnTo>
                <a:lnTo>
                  <a:pt x="129173" y="144382"/>
                </a:lnTo>
                <a:lnTo>
                  <a:pt x="129279" y="144541"/>
                </a:lnTo>
                <a:lnTo>
                  <a:pt x="129384" y="144805"/>
                </a:lnTo>
                <a:lnTo>
                  <a:pt x="129490" y="144911"/>
                </a:lnTo>
                <a:lnTo>
                  <a:pt x="129543" y="144911"/>
                </a:lnTo>
                <a:lnTo>
                  <a:pt x="129648" y="144858"/>
                </a:lnTo>
                <a:lnTo>
                  <a:pt x="129859" y="144752"/>
                </a:lnTo>
                <a:lnTo>
                  <a:pt x="129912" y="144647"/>
                </a:lnTo>
                <a:lnTo>
                  <a:pt x="130018" y="144541"/>
                </a:lnTo>
                <a:lnTo>
                  <a:pt x="130018" y="144488"/>
                </a:lnTo>
                <a:lnTo>
                  <a:pt x="129965" y="144488"/>
                </a:lnTo>
                <a:lnTo>
                  <a:pt x="129965" y="144435"/>
                </a:lnTo>
                <a:lnTo>
                  <a:pt x="129965" y="144277"/>
                </a:lnTo>
                <a:lnTo>
                  <a:pt x="129965" y="144171"/>
                </a:lnTo>
                <a:lnTo>
                  <a:pt x="130018" y="144171"/>
                </a:lnTo>
                <a:lnTo>
                  <a:pt x="130124" y="144277"/>
                </a:lnTo>
                <a:lnTo>
                  <a:pt x="130176" y="144224"/>
                </a:lnTo>
                <a:lnTo>
                  <a:pt x="130176" y="144118"/>
                </a:lnTo>
                <a:lnTo>
                  <a:pt x="130124" y="144013"/>
                </a:lnTo>
                <a:lnTo>
                  <a:pt x="130124" y="143960"/>
                </a:lnTo>
                <a:lnTo>
                  <a:pt x="130176" y="143854"/>
                </a:lnTo>
                <a:lnTo>
                  <a:pt x="130229" y="143696"/>
                </a:lnTo>
                <a:lnTo>
                  <a:pt x="130229" y="143590"/>
                </a:lnTo>
                <a:lnTo>
                  <a:pt x="130124" y="143485"/>
                </a:lnTo>
                <a:lnTo>
                  <a:pt x="130282" y="143485"/>
                </a:lnTo>
                <a:lnTo>
                  <a:pt x="130704" y="143379"/>
                </a:lnTo>
                <a:lnTo>
                  <a:pt x="130810" y="143379"/>
                </a:lnTo>
                <a:lnTo>
                  <a:pt x="130863" y="143485"/>
                </a:lnTo>
                <a:lnTo>
                  <a:pt x="130916" y="143696"/>
                </a:lnTo>
                <a:lnTo>
                  <a:pt x="130863" y="143960"/>
                </a:lnTo>
                <a:lnTo>
                  <a:pt x="130757" y="144171"/>
                </a:lnTo>
                <a:lnTo>
                  <a:pt x="130652" y="144330"/>
                </a:lnTo>
                <a:lnTo>
                  <a:pt x="130810" y="144435"/>
                </a:lnTo>
                <a:lnTo>
                  <a:pt x="130916" y="144435"/>
                </a:lnTo>
                <a:lnTo>
                  <a:pt x="131074" y="144330"/>
                </a:lnTo>
                <a:lnTo>
                  <a:pt x="131180" y="144330"/>
                </a:lnTo>
                <a:lnTo>
                  <a:pt x="131338" y="144541"/>
                </a:lnTo>
                <a:lnTo>
                  <a:pt x="131391" y="144541"/>
                </a:lnTo>
                <a:lnTo>
                  <a:pt x="131497" y="144594"/>
                </a:lnTo>
                <a:lnTo>
                  <a:pt x="131866" y="145069"/>
                </a:lnTo>
                <a:lnTo>
                  <a:pt x="132711" y="145914"/>
                </a:lnTo>
                <a:lnTo>
                  <a:pt x="133134" y="146653"/>
                </a:lnTo>
                <a:lnTo>
                  <a:pt x="133398" y="147287"/>
                </a:lnTo>
                <a:lnTo>
                  <a:pt x="133556" y="147551"/>
                </a:lnTo>
                <a:lnTo>
                  <a:pt x="133715" y="147551"/>
                </a:lnTo>
                <a:lnTo>
                  <a:pt x="133715" y="147762"/>
                </a:lnTo>
                <a:lnTo>
                  <a:pt x="133767" y="147815"/>
                </a:lnTo>
                <a:lnTo>
                  <a:pt x="133979" y="147815"/>
                </a:lnTo>
                <a:lnTo>
                  <a:pt x="133979" y="147974"/>
                </a:lnTo>
                <a:lnTo>
                  <a:pt x="133820" y="147974"/>
                </a:lnTo>
                <a:lnTo>
                  <a:pt x="133926" y="148132"/>
                </a:lnTo>
                <a:lnTo>
                  <a:pt x="134084" y="148238"/>
                </a:lnTo>
                <a:lnTo>
                  <a:pt x="134771" y="148396"/>
                </a:lnTo>
                <a:lnTo>
                  <a:pt x="134929" y="148343"/>
                </a:lnTo>
                <a:lnTo>
                  <a:pt x="135088" y="148185"/>
                </a:lnTo>
                <a:lnTo>
                  <a:pt x="134982" y="148185"/>
                </a:lnTo>
                <a:lnTo>
                  <a:pt x="134982" y="148132"/>
                </a:lnTo>
                <a:lnTo>
                  <a:pt x="135088" y="148132"/>
                </a:lnTo>
                <a:lnTo>
                  <a:pt x="135193" y="148026"/>
                </a:lnTo>
                <a:lnTo>
                  <a:pt x="135299" y="147974"/>
                </a:lnTo>
                <a:lnTo>
                  <a:pt x="135405" y="147710"/>
                </a:lnTo>
                <a:lnTo>
                  <a:pt x="135457" y="147657"/>
                </a:lnTo>
                <a:lnTo>
                  <a:pt x="135510" y="147551"/>
                </a:lnTo>
                <a:lnTo>
                  <a:pt x="135457" y="147445"/>
                </a:lnTo>
                <a:lnTo>
                  <a:pt x="135299" y="147445"/>
                </a:lnTo>
                <a:lnTo>
                  <a:pt x="135246" y="147340"/>
                </a:lnTo>
                <a:lnTo>
                  <a:pt x="135246" y="147076"/>
                </a:lnTo>
                <a:lnTo>
                  <a:pt x="135246" y="146970"/>
                </a:lnTo>
                <a:lnTo>
                  <a:pt x="135193" y="146970"/>
                </a:lnTo>
                <a:lnTo>
                  <a:pt x="135140" y="146917"/>
                </a:lnTo>
                <a:lnTo>
                  <a:pt x="134718" y="145650"/>
                </a:lnTo>
                <a:lnTo>
                  <a:pt x="134612" y="145333"/>
                </a:lnTo>
                <a:lnTo>
                  <a:pt x="134612" y="145175"/>
                </a:lnTo>
                <a:lnTo>
                  <a:pt x="134612" y="145016"/>
                </a:lnTo>
                <a:lnTo>
                  <a:pt x="134718" y="145016"/>
                </a:lnTo>
                <a:lnTo>
                  <a:pt x="134824" y="144911"/>
                </a:lnTo>
                <a:lnTo>
                  <a:pt x="134876" y="144858"/>
                </a:lnTo>
                <a:lnTo>
                  <a:pt x="134771" y="144858"/>
                </a:lnTo>
                <a:lnTo>
                  <a:pt x="134824" y="144699"/>
                </a:lnTo>
                <a:lnTo>
                  <a:pt x="134929" y="144647"/>
                </a:lnTo>
                <a:lnTo>
                  <a:pt x="135035" y="144647"/>
                </a:lnTo>
                <a:lnTo>
                  <a:pt x="135140" y="144752"/>
                </a:lnTo>
                <a:lnTo>
                  <a:pt x="135140" y="144858"/>
                </a:lnTo>
                <a:lnTo>
                  <a:pt x="135088" y="144963"/>
                </a:lnTo>
                <a:lnTo>
                  <a:pt x="134876" y="145069"/>
                </a:lnTo>
                <a:lnTo>
                  <a:pt x="134771" y="145069"/>
                </a:lnTo>
                <a:lnTo>
                  <a:pt x="134718" y="145122"/>
                </a:lnTo>
                <a:lnTo>
                  <a:pt x="134718" y="145227"/>
                </a:lnTo>
                <a:lnTo>
                  <a:pt x="134718" y="145280"/>
                </a:lnTo>
                <a:lnTo>
                  <a:pt x="134771" y="145333"/>
                </a:lnTo>
                <a:lnTo>
                  <a:pt x="134929" y="145333"/>
                </a:lnTo>
                <a:lnTo>
                  <a:pt x="134982" y="145280"/>
                </a:lnTo>
                <a:lnTo>
                  <a:pt x="135088" y="145227"/>
                </a:lnTo>
                <a:lnTo>
                  <a:pt x="135140" y="145069"/>
                </a:lnTo>
                <a:lnTo>
                  <a:pt x="135193" y="144963"/>
                </a:lnTo>
                <a:lnTo>
                  <a:pt x="135193" y="144858"/>
                </a:lnTo>
                <a:lnTo>
                  <a:pt x="135193" y="144699"/>
                </a:lnTo>
                <a:lnTo>
                  <a:pt x="135140" y="144541"/>
                </a:lnTo>
                <a:lnTo>
                  <a:pt x="135246" y="143696"/>
                </a:lnTo>
                <a:lnTo>
                  <a:pt x="135246" y="143590"/>
                </a:lnTo>
                <a:lnTo>
                  <a:pt x="135088" y="143168"/>
                </a:lnTo>
                <a:lnTo>
                  <a:pt x="134982" y="143062"/>
                </a:lnTo>
                <a:lnTo>
                  <a:pt x="135352" y="142904"/>
                </a:lnTo>
                <a:lnTo>
                  <a:pt x="135405" y="143062"/>
                </a:lnTo>
                <a:lnTo>
                  <a:pt x="135352" y="143115"/>
                </a:lnTo>
                <a:lnTo>
                  <a:pt x="135140" y="143221"/>
                </a:lnTo>
                <a:lnTo>
                  <a:pt x="135246" y="143326"/>
                </a:lnTo>
                <a:lnTo>
                  <a:pt x="135299" y="143379"/>
                </a:lnTo>
                <a:lnTo>
                  <a:pt x="135457" y="143538"/>
                </a:lnTo>
                <a:lnTo>
                  <a:pt x="135405" y="143696"/>
                </a:lnTo>
                <a:lnTo>
                  <a:pt x="135352" y="143802"/>
                </a:lnTo>
                <a:lnTo>
                  <a:pt x="135352" y="143854"/>
                </a:lnTo>
                <a:lnTo>
                  <a:pt x="135405" y="144013"/>
                </a:lnTo>
                <a:lnTo>
                  <a:pt x="135457" y="144013"/>
                </a:lnTo>
                <a:lnTo>
                  <a:pt x="135563" y="143960"/>
                </a:lnTo>
                <a:lnTo>
                  <a:pt x="135669" y="143854"/>
                </a:lnTo>
                <a:lnTo>
                  <a:pt x="135880" y="143696"/>
                </a:lnTo>
                <a:lnTo>
                  <a:pt x="136038" y="143485"/>
                </a:lnTo>
                <a:lnTo>
                  <a:pt x="136197" y="143273"/>
                </a:lnTo>
                <a:lnTo>
                  <a:pt x="136302" y="143009"/>
                </a:lnTo>
                <a:lnTo>
                  <a:pt x="136302" y="142957"/>
                </a:lnTo>
                <a:lnTo>
                  <a:pt x="136302" y="142904"/>
                </a:lnTo>
                <a:lnTo>
                  <a:pt x="136302" y="142745"/>
                </a:lnTo>
                <a:lnTo>
                  <a:pt x="136302" y="142693"/>
                </a:lnTo>
                <a:lnTo>
                  <a:pt x="136408" y="142587"/>
                </a:lnTo>
                <a:lnTo>
                  <a:pt x="136566" y="142481"/>
                </a:lnTo>
                <a:lnTo>
                  <a:pt x="136672" y="142429"/>
                </a:lnTo>
                <a:lnTo>
                  <a:pt x="136672" y="142217"/>
                </a:lnTo>
                <a:lnTo>
                  <a:pt x="136408" y="141900"/>
                </a:lnTo>
                <a:lnTo>
                  <a:pt x="136408" y="141795"/>
                </a:lnTo>
                <a:lnTo>
                  <a:pt x="136514" y="141953"/>
                </a:lnTo>
                <a:lnTo>
                  <a:pt x="136619" y="142112"/>
                </a:lnTo>
                <a:lnTo>
                  <a:pt x="136830" y="142217"/>
                </a:lnTo>
                <a:lnTo>
                  <a:pt x="137253" y="142323"/>
                </a:lnTo>
                <a:lnTo>
                  <a:pt x="137623" y="142534"/>
                </a:lnTo>
                <a:lnTo>
                  <a:pt x="138098" y="142534"/>
                </a:lnTo>
                <a:lnTo>
                  <a:pt x="138256" y="142745"/>
                </a:lnTo>
                <a:lnTo>
                  <a:pt x="138467" y="143115"/>
                </a:lnTo>
                <a:lnTo>
                  <a:pt x="138573" y="143379"/>
                </a:lnTo>
                <a:lnTo>
                  <a:pt x="138520" y="143273"/>
                </a:lnTo>
                <a:lnTo>
                  <a:pt x="138415" y="143062"/>
                </a:lnTo>
                <a:lnTo>
                  <a:pt x="138256" y="142904"/>
                </a:lnTo>
                <a:lnTo>
                  <a:pt x="138098" y="142745"/>
                </a:lnTo>
                <a:lnTo>
                  <a:pt x="137094" y="142534"/>
                </a:lnTo>
                <a:lnTo>
                  <a:pt x="136989" y="142534"/>
                </a:lnTo>
                <a:lnTo>
                  <a:pt x="136883" y="142587"/>
                </a:lnTo>
                <a:lnTo>
                  <a:pt x="136778" y="142640"/>
                </a:lnTo>
                <a:lnTo>
                  <a:pt x="136725" y="142745"/>
                </a:lnTo>
                <a:lnTo>
                  <a:pt x="136566" y="142851"/>
                </a:lnTo>
                <a:lnTo>
                  <a:pt x="136566" y="142957"/>
                </a:lnTo>
                <a:lnTo>
                  <a:pt x="136672" y="143009"/>
                </a:lnTo>
                <a:lnTo>
                  <a:pt x="136725" y="142957"/>
                </a:lnTo>
                <a:lnTo>
                  <a:pt x="136725" y="142904"/>
                </a:lnTo>
                <a:lnTo>
                  <a:pt x="136830" y="142904"/>
                </a:lnTo>
                <a:lnTo>
                  <a:pt x="136830" y="143009"/>
                </a:lnTo>
                <a:lnTo>
                  <a:pt x="136830" y="143062"/>
                </a:lnTo>
                <a:lnTo>
                  <a:pt x="136883" y="143115"/>
                </a:lnTo>
                <a:lnTo>
                  <a:pt x="136936" y="143115"/>
                </a:lnTo>
                <a:lnTo>
                  <a:pt x="136672" y="143221"/>
                </a:lnTo>
                <a:lnTo>
                  <a:pt x="136566" y="143326"/>
                </a:lnTo>
                <a:lnTo>
                  <a:pt x="136619" y="143590"/>
                </a:lnTo>
                <a:lnTo>
                  <a:pt x="136619" y="143696"/>
                </a:lnTo>
                <a:lnTo>
                  <a:pt x="136514" y="143960"/>
                </a:lnTo>
                <a:lnTo>
                  <a:pt x="136461" y="144118"/>
                </a:lnTo>
                <a:lnTo>
                  <a:pt x="136461" y="144171"/>
                </a:lnTo>
                <a:lnTo>
                  <a:pt x="136408" y="144224"/>
                </a:lnTo>
                <a:lnTo>
                  <a:pt x="136355" y="144277"/>
                </a:lnTo>
                <a:lnTo>
                  <a:pt x="136302" y="144330"/>
                </a:lnTo>
                <a:lnTo>
                  <a:pt x="136249" y="144435"/>
                </a:lnTo>
                <a:lnTo>
                  <a:pt x="136249" y="144594"/>
                </a:lnTo>
                <a:lnTo>
                  <a:pt x="136302" y="144699"/>
                </a:lnTo>
                <a:lnTo>
                  <a:pt x="136355" y="144752"/>
                </a:lnTo>
                <a:lnTo>
                  <a:pt x="137042" y="145016"/>
                </a:lnTo>
                <a:lnTo>
                  <a:pt x="137147" y="145122"/>
                </a:lnTo>
                <a:lnTo>
                  <a:pt x="137253" y="145280"/>
                </a:lnTo>
                <a:lnTo>
                  <a:pt x="137306" y="145439"/>
                </a:lnTo>
                <a:lnTo>
                  <a:pt x="137358" y="145650"/>
                </a:lnTo>
                <a:lnTo>
                  <a:pt x="137306" y="145808"/>
                </a:lnTo>
                <a:lnTo>
                  <a:pt x="137464" y="146125"/>
                </a:lnTo>
                <a:lnTo>
                  <a:pt x="137728" y="146336"/>
                </a:lnTo>
                <a:lnTo>
                  <a:pt x="137992" y="146442"/>
                </a:lnTo>
                <a:lnTo>
                  <a:pt x="138203" y="146442"/>
                </a:lnTo>
                <a:lnTo>
                  <a:pt x="139048" y="146125"/>
                </a:lnTo>
                <a:lnTo>
                  <a:pt x="139788" y="145597"/>
                </a:lnTo>
                <a:lnTo>
                  <a:pt x="140791" y="145122"/>
                </a:lnTo>
                <a:lnTo>
                  <a:pt x="141055" y="145016"/>
                </a:lnTo>
                <a:lnTo>
                  <a:pt x="141425" y="144752"/>
                </a:lnTo>
                <a:lnTo>
                  <a:pt x="141689" y="144699"/>
                </a:lnTo>
                <a:lnTo>
                  <a:pt x="141742" y="144647"/>
                </a:lnTo>
                <a:lnTo>
                  <a:pt x="141794" y="144594"/>
                </a:lnTo>
                <a:lnTo>
                  <a:pt x="141847" y="144541"/>
                </a:lnTo>
                <a:lnTo>
                  <a:pt x="141900" y="144541"/>
                </a:lnTo>
                <a:lnTo>
                  <a:pt x="142481" y="144382"/>
                </a:lnTo>
                <a:lnTo>
                  <a:pt x="143062" y="144066"/>
                </a:lnTo>
                <a:lnTo>
                  <a:pt x="143273" y="143960"/>
                </a:lnTo>
                <a:lnTo>
                  <a:pt x="143326" y="143854"/>
                </a:lnTo>
                <a:lnTo>
                  <a:pt x="143432" y="143485"/>
                </a:lnTo>
                <a:lnTo>
                  <a:pt x="143537" y="143326"/>
                </a:lnTo>
                <a:lnTo>
                  <a:pt x="143590" y="143168"/>
                </a:lnTo>
                <a:lnTo>
                  <a:pt x="143696" y="143115"/>
                </a:lnTo>
                <a:lnTo>
                  <a:pt x="144013" y="143062"/>
                </a:lnTo>
                <a:lnTo>
                  <a:pt x="144118" y="142957"/>
                </a:lnTo>
                <a:lnTo>
                  <a:pt x="144224" y="142798"/>
                </a:lnTo>
                <a:lnTo>
                  <a:pt x="144277" y="142640"/>
                </a:lnTo>
                <a:lnTo>
                  <a:pt x="144277" y="142534"/>
                </a:lnTo>
                <a:lnTo>
                  <a:pt x="144277" y="142429"/>
                </a:lnTo>
                <a:lnTo>
                  <a:pt x="144277" y="142323"/>
                </a:lnTo>
                <a:lnTo>
                  <a:pt x="144277" y="142217"/>
                </a:lnTo>
                <a:lnTo>
                  <a:pt x="144329" y="142006"/>
                </a:lnTo>
                <a:lnTo>
                  <a:pt x="144329" y="141900"/>
                </a:lnTo>
                <a:lnTo>
                  <a:pt x="144382" y="141795"/>
                </a:lnTo>
                <a:lnTo>
                  <a:pt x="144752" y="141478"/>
                </a:lnTo>
                <a:lnTo>
                  <a:pt x="144646" y="141636"/>
                </a:lnTo>
                <a:lnTo>
                  <a:pt x="144541" y="141795"/>
                </a:lnTo>
                <a:lnTo>
                  <a:pt x="144435" y="141953"/>
                </a:lnTo>
                <a:lnTo>
                  <a:pt x="144382" y="142217"/>
                </a:lnTo>
                <a:lnTo>
                  <a:pt x="144382" y="142745"/>
                </a:lnTo>
                <a:lnTo>
                  <a:pt x="144382" y="142957"/>
                </a:lnTo>
                <a:lnTo>
                  <a:pt x="144277" y="143062"/>
                </a:lnTo>
                <a:lnTo>
                  <a:pt x="144065" y="143115"/>
                </a:lnTo>
                <a:lnTo>
                  <a:pt x="143907" y="143273"/>
                </a:lnTo>
                <a:lnTo>
                  <a:pt x="143801" y="143326"/>
                </a:lnTo>
                <a:lnTo>
                  <a:pt x="143801" y="143432"/>
                </a:lnTo>
                <a:lnTo>
                  <a:pt x="143801" y="143696"/>
                </a:lnTo>
                <a:lnTo>
                  <a:pt x="143801" y="143749"/>
                </a:lnTo>
                <a:lnTo>
                  <a:pt x="143801" y="143802"/>
                </a:lnTo>
                <a:lnTo>
                  <a:pt x="143801" y="143854"/>
                </a:lnTo>
                <a:lnTo>
                  <a:pt x="143696" y="144013"/>
                </a:lnTo>
                <a:lnTo>
                  <a:pt x="143643" y="144118"/>
                </a:lnTo>
                <a:lnTo>
                  <a:pt x="143643" y="144171"/>
                </a:lnTo>
                <a:lnTo>
                  <a:pt x="143748" y="144382"/>
                </a:lnTo>
                <a:lnTo>
                  <a:pt x="143432" y="144911"/>
                </a:lnTo>
                <a:lnTo>
                  <a:pt x="143379" y="145122"/>
                </a:lnTo>
                <a:lnTo>
                  <a:pt x="143432" y="145386"/>
                </a:lnTo>
                <a:lnTo>
                  <a:pt x="143643" y="145386"/>
                </a:lnTo>
                <a:lnTo>
                  <a:pt x="143854" y="145280"/>
                </a:lnTo>
                <a:lnTo>
                  <a:pt x="144013" y="145227"/>
                </a:lnTo>
                <a:lnTo>
                  <a:pt x="144013" y="145333"/>
                </a:lnTo>
                <a:lnTo>
                  <a:pt x="143907" y="145333"/>
                </a:lnTo>
                <a:lnTo>
                  <a:pt x="143748" y="145439"/>
                </a:lnTo>
                <a:lnTo>
                  <a:pt x="143326" y="145544"/>
                </a:lnTo>
                <a:lnTo>
                  <a:pt x="143220" y="145650"/>
                </a:lnTo>
                <a:lnTo>
                  <a:pt x="143115" y="145756"/>
                </a:lnTo>
                <a:lnTo>
                  <a:pt x="142481" y="146389"/>
                </a:lnTo>
                <a:lnTo>
                  <a:pt x="142059" y="147023"/>
                </a:lnTo>
                <a:lnTo>
                  <a:pt x="141953" y="147129"/>
                </a:lnTo>
                <a:lnTo>
                  <a:pt x="141689" y="147234"/>
                </a:lnTo>
                <a:lnTo>
                  <a:pt x="141583" y="147393"/>
                </a:lnTo>
                <a:lnTo>
                  <a:pt x="141372" y="147762"/>
                </a:lnTo>
                <a:lnTo>
                  <a:pt x="141108" y="148660"/>
                </a:lnTo>
                <a:lnTo>
                  <a:pt x="141055" y="149083"/>
                </a:lnTo>
                <a:lnTo>
                  <a:pt x="141214" y="149347"/>
                </a:lnTo>
                <a:lnTo>
                  <a:pt x="141161" y="149505"/>
                </a:lnTo>
                <a:lnTo>
                  <a:pt x="141214" y="149663"/>
                </a:lnTo>
                <a:lnTo>
                  <a:pt x="141478" y="149875"/>
                </a:lnTo>
                <a:lnTo>
                  <a:pt x="141583" y="149980"/>
                </a:lnTo>
                <a:lnTo>
                  <a:pt x="141689" y="149980"/>
                </a:lnTo>
                <a:lnTo>
                  <a:pt x="141953" y="149822"/>
                </a:lnTo>
                <a:lnTo>
                  <a:pt x="142111" y="149822"/>
                </a:lnTo>
                <a:lnTo>
                  <a:pt x="142851" y="150139"/>
                </a:lnTo>
                <a:lnTo>
                  <a:pt x="142956" y="150244"/>
                </a:lnTo>
                <a:lnTo>
                  <a:pt x="143062" y="150456"/>
                </a:lnTo>
                <a:lnTo>
                  <a:pt x="143009" y="150456"/>
                </a:lnTo>
                <a:lnTo>
                  <a:pt x="142956" y="150403"/>
                </a:lnTo>
                <a:lnTo>
                  <a:pt x="142956" y="150350"/>
                </a:lnTo>
                <a:lnTo>
                  <a:pt x="142904" y="150297"/>
                </a:lnTo>
                <a:lnTo>
                  <a:pt x="142851" y="150244"/>
                </a:lnTo>
                <a:lnTo>
                  <a:pt x="142111" y="150086"/>
                </a:lnTo>
                <a:lnTo>
                  <a:pt x="141953" y="150086"/>
                </a:lnTo>
                <a:lnTo>
                  <a:pt x="141900" y="150139"/>
                </a:lnTo>
                <a:lnTo>
                  <a:pt x="141847" y="150244"/>
                </a:lnTo>
                <a:lnTo>
                  <a:pt x="141742" y="150350"/>
                </a:lnTo>
                <a:lnTo>
                  <a:pt x="141636" y="150456"/>
                </a:lnTo>
                <a:lnTo>
                  <a:pt x="141319" y="150456"/>
                </a:lnTo>
                <a:lnTo>
                  <a:pt x="141214" y="150350"/>
                </a:lnTo>
                <a:lnTo>
                  <a:pt x="141161" y="150508"/>
                </a:lnTo>
                <a:lnTo>
                  <a:pt x="141055" y="150667"/>
                </a:lnTo>
                <a:lnTo>
                  <a:pt x="140950" y="150773"/>
                </a:lnTo>
                <a:lnTo>
                  <a:pt x="140897" y="150984"/>
                </a:lnTo>
                <a:lnTo>
                  <a:pt x="140897" y="151089"/>
                </a:lnTo>
                <a:lnTo>
                  <a:pt x="140897" y="151565"/>
                </a:lnTo>
                <a:lnTo>
                  <a:pt x="140844" y="152146"/>
                </a:lnTo>
                <a:lnTo>
                  <a:pt x="140844" y="152726"/>
                </a:lnTo>
                <a:lnTo>
                  <a:pt x="140791" y="153043"/>
                </a:lnTo>
                <a:lnTo>
                  <a:pt x="140685" y="153519"/>
                </a:lnTo>
                <a:lnTo>
                  <a:pt x="140527" y="154047"/>
                </a:lnTo>
                <a:lnTo>
                  <a:pt x="140474" y="154311"/>
                </a:lnTo>
                <a:lnTo>
                  <a:pt x="140527" y="154522"/>
                </a:lnTo>
                <a:lnTo>
                  <a:pt x="140527" y="154628"/>
                </a:lnTo>
                <a:lnTo>
                  <a:pt x="140527" y="154839"/>
                </a:lnTo>
                <a:lnTo>
                  <a:pt x="140527" y="154997"/>
                </a:lnTo>
                <a:lnTo>
                  <a:pt x="140527" y="155103"/>
                </a:lnTo>
                <a:lnTo>
                  <a:pt x="140580" y="155103"/>
                </a:lnTo>
                <a:lnTo>
                  <a:pt x="140633" y="155156"/>
                </a:lnTo>
                <a:lnTo>
                  <a:pt x="140633" y="155209"/>
                </a:lnTo>
                <a:lnTo>
                  <a:pt x="140685" y="155261"/>
                </a:lnTo>
                <a:lnTo>
                  <a:pt x="140685" y="155314"/>
                </a:lnTo>
                <a:lnTo>
                  <a:pt x="140791" y="155367"/>
                </a:lnTo>
                <a:lnTo>
                  <a:pt x="140685" y="155367"/>
                </a:lnTo>
                <a:lnTo>
                  <a:pt x="140685" y="155420"/>
                </a:lnTo>
                <a:lnTo>
                  <a:pt x="140685" y="155473"/>
                </a:lnTo>
                <a:lnTo>
                  <a:pt x="140738" y="155631"/>
                </a:lnTo>
                <a:lnTo>
                  <a:pt x="140738" y="155842"/>
                </a:lnTo>
                <a:lnTo>
                  <a:pt x="140738" y="156212"/>
                </a:lnTo>
                <a:lnTo>
                  <a:pt x="140738" y="156370"/>
                </a:lnTo>
                <a:lnTo>
                  <a:pt x="140738" y="156423"/>
                </a:lnTo>
                <a:lnTo>
                  <a:pt x="140897" y="156423"/>
                </a:lnTo>
                <a:lnTo>
                  <a:pt x="140950" y="156370"/>
                </a:lnTo>
                <a:lnTo>
                  <a:pt x="141002" y="156265"/>
                </a:lnTo>
                <a:lnTo>
                  <a:pt x="141108" y="156265"/>
                </a:lnTo>
                <a:lnTo>
                  <a:pt x="141583" y="156370"/>
                </a:lnTo>
                <a:lnTo>
                  <a:pt x="141530" y="156265"/>
                </a:lnTo>
                <a:lnTo>
                  <a:pt x="141425" y="156053"/>
                </a:lnTo>
                <a:lnTo>
                  <a:pt x="141372" y="155895"/>
                </a:lnTo>
                <a:lnTo>
                  <a:pt x="141478" y="155895"/>
                </a:lnTo>
                <a:lnTo>
                  <a:pt x="141583" y="155842"/>
                </a:lnTo>
                <a:lnTo>
                  <a:pt x="141689" y="155789"/>
                </a:lnTo>
                <a:lnTo>
                  <a:pt x="141689" y="155895"/>
                </a:lnTo>
                <a:lnTo>
                  <a:pt x="141636" y="155948"/>
                </a:lnTo>
                <a:lnTo>
                  <a:pt x="141583" y="156001"/>
                </a:lnTo>
                <a:lnTo>
                  <a:pt x="141530" y="156106"/>
                </a:lnTo>
                <a:lnTo>
                  <a:pt x="141636" y="156159"/>
                </a:lnTo>
                <a:lnTo>
                  <a:pt x="141689" y="156265"/>
                </a:lnTo>
                <a:lnTo>
                  <a:pt x="141689" y="156370"/>
                </a:lnTo>
                <a:lnTo>
                  <a:pt x="141583" y="156476"/>
                </a:lnTo>
                <a:lnTo>
                  <a:pt x="141266" y="156476"/>
                </a:lnTo>
                <a:lnTo>
                  <a:pt x="141108" y="156687"/>
                </a:lnTo>
                <a:lnTo>
                  <a:pt x="141108" y="156634"/>
                </a:lnTo>
                <a:lnTo>
                  <a:pt x="141108" y="156582"/>
                </a:lnTo>
                <a:lnTo>
                  <a:pt x="140369" y="156476"/>
                </a:lnTo>
                <a:lnTo>
                  <a:pt x="140369" y="156423"/>
                </a:lnTo>
                <a:lnTo>
                  <a:pt x="140421" y="156318"/>
                </a:lnTo>
                <a:lnTo>
                  <a:pt x="140263" y="156001"/>
                </a:lnTo>
                <a:lnTo>
                  <a:pt x="140210" y="155842"/>
                </a:lnTo>
                <a:lnTo>
                  <a:pt x="140263" y="155737"/>
                </a:lnTo>
                <a:lnTo>
                  <a:pt x="140105" y="155737"/>
                </a:lnTo>
                <a:lnTo>
                  <a:pt x="139999" y="155789"/>
                </a:lnTo>
                <a:lnTo>
                  <a:pt x="139946" y="155789"/>
                </a:lnTo>
                <a:lnTo>
                  <a:pt x="139788" y="155842"/>
                </a:lnTo>
                <a:lnTo>
                  <a:pt x="139418" y="156265"/>
                </a:lnTo>
                <a:lnTo>
                  <a:pt x="139101" y="156370"/>
                </a:lnTo>
                <a:lnTo>
                  <a:pt x="138996" y="156476"/>
                </a:lnTo>
                <a:lnTo>
                  <a:pt x="138837" y="156846"/>
                </a:lnTo>
                <a:lnTo>
                  <a:pt x="138732" y="157004"/>
                </a:lnTo>
                <a:lnTo>
                  <a:pt x="138415" y="157268"/>
                </a:lnTo>
                <a:lnTo>
                  <a:pt x="138309" y="157427"/>
                </a:lnTo>
                <a:lnTo>
                  <a:pt x="138520" y="157427"/>
                </a:lnTo>
                <a:lnTo>
                  <a:pt x="138520" y="157532"/>
                </a:lnTo>
                <a:lnTo>
                  <a:pt x="137939" y="157585"/>
                </a:lnTo>
                <a:lnTo>
                  <a:pt x="137411" y="157902"/>
                </a:lnTo>
                <a:lnTo>
                  <a:pt x="137358" y="157955"/>
                </a:lnTo>
                <a:lnTo>
                  <a:pt x="137306" y="158007"/>
                </a:lnTo>
                <a:lnTo>
                  <a:pt x="135880" y="159856"/>
                </a:lnTo>
                <a:lnTo>
                  <a:pt x="135721" y="160225"/>
                </a:lnTo>
                <a:lnTo>
                  <a:pt x="135563" y="160542"/>
                </a:lnTo>
                <a:lnTo>
                  <a:pt x="135563" y="160648"/>
                </a:lnTo>
                <a:lnTo>
                  <a:pt x="135510" y="160912"/>
                </a:lnTo>
                <a:lnTo>
                  <a:pt x="135510" y="161018"/>
                </a:lnTo>
                <a:lnTo>
                  <a:pt x="135510" y="161229"/>
                </a:lnTo>
                <a:lnTo>
                  <a:pt x="135510" y="161757"/>
                </a:lnTo>
                <a:lnTo>
                  <a:pt x="135563" y="161863"/>
                </a:lnTo>
                <a:lnTo>
                  <a:pt x="135669" y="162127"/>
                </a:lnTo>
                <a:lnTo>
                  <a:pt x="135669" y="162232"/>
                </a:lnTo>
                <a:lnTo>
                  <a:pt x="135669" y="162338"/>
                </a:lnTo>
                <a:lnTo>
                  <a:pt x="135669" y="162391"/>
                </a:lnTo>
                <a:lnTo>
                  <a:pt x="135774" y="162760"/>
                </a:lnTo>
                <a:lnTo>
                  <a:pt x="135669" y="162708"/>
                </a:lnTo>
                <a:lnTo>
                  <a:pt x="135563" y="162549"/>
                </a:lnTo>
                <a:lnTo>
                  <a:pt x="135457" y="162496"/>
                </a:lnTo>
                <a:lnTo>
                  <a:pt x="135246" y="162496"/>
                </a:lnTo>
                <a:lnTo>
                  <a:pt x="135193" y="162549"/>
                </a:lnTo>
                <a:lnTo>
                  <a:pt x="135088" y="162602"/>
                </a:lnTo>
                <a:lnTo>
                  <a:pt x="134929" y="162549"/>
                </a:lnTo>
                <a:lnTo>
                  <a:pt x="134771" y="162496"/>
                </a:lnTo>
                <a:lnTo>
                  <a:pt x="134665" y="162391"/>
                </a:lnTo>
                <a:lnTo>
                  <a:pt x="134454" y="162232"/>
                </a:lnTo>
                <a:lnTo>
                  <a:pt x="134295" y="162021"/>
                </a:lnTo>
                <a:lnTo>
                  <a:pt x="134243" y="162021"/>
                </a:lnTo>
                <a:lnTo>
                  <a:pt x="134190" y="162127"/>
                </a:lnTo>
                <a:lnTo>
                  <a:pt x="134137" y="162338"/>
                </a:lnTo>
                <a:lnTo>
                  <a:pt x="134137" y="162496"/>
                </a:lnTo>
                <a:lnTo>
                  <a:pt x="133979" y="162496"/>
                </a:lnTo>
                <a:lnTo>
                  <a:pt x="133926" y="162391"/>
                </a:lnTo>
                <a:lnTo>
                  <a:pt x="133926" y="162285"/>
                </a:lnTo>
                <a:lnTo>
                  <a:pt x="133926" y="162232"/>
                </a:lnTo>
                <a:lnTo>
                  <a:pt x="134031" y="162127"/>
                </a:lnTo>
                <a:lnTo>
                  <a:pt x="134243" y="161915"/>
                </a:lnTo>
                <a:lnTo>
                  <a:pt x="134560" y="161757"/>
                </a:lnTo>
                <a:lnTo>
                  <a:pt x="134665" y="161546"/>
                </a:lnTo>
                <a:lnTo>
                  <a:pt x="134560" y="161599"/>
                </a:lnTo>
                <a:lnTo>
                  <a:pt x="134295" y="161757"/>
                </a:lnTo>
                <a:lnTo>
                  <a:pt x="134084" y="162021"/>
                </a:lnTo>
                <a:lnTo>
                  <a:pt x="133820" y="162285"/>
                </a:lnTo>
                <a:lnTo>
                  <a:pt x="133609" y="162496"/>
                </a:lnTo>
                <a:lnTo>
                  <a:pt x="133186" y="162708"/>
                </a:lnTo>
                <a:lnTo>
                  <a:pt x="133081" y="162813"/>
                </a:lnTo>
                <a:lnTo>
                  <a:pt x="132764" y="163183"/>
                </a:lnTo>
                <a:lnTo>
                  <a:pt x="132764" y="163236"/>
                </a:lnTo>
                <a:lnTo>
                  <a:pt x="132975" y="163236"/>
                </a:lnTo>
                <a:lnTo>
                  <a:pt x="133028" y="163288"/>
                </a:lnTo>
                <a:lnTo>
                  <a:pt x="132658" y="163288"/>
                </a:lnTo>
                <a:lnTo>
                  <a:pt x="132553" y="163394"/>
                </a:lnTo>
                <a:lnTo>
                  <a:pt x="132500" y="163447"/>
                </a:lnTo>
                <a:lnTo>
                  <a:pt x="131866" y="163869"/>
                </a:lnTo>
                <a:lnTo>
                  <a:pt x="131655" y="163922"/>
                </a:lnTo>
                <a:lnTo>
                  <a:pt x="131549" y="163975"/>
                </a:lnTo>
                <a:lnTo>
                  <a:pt x="131444" y="163975"/>
                </a:lnTo>
                <a:lnTo>
                  <a:pt x="131391" y="163922"/>
                </a:lnTo>
                <a:lnTo>
                  <a:pt x="131761" y="163658"/>
                </a:lnTo>
                <a:lnTo>
                  <a:pt x="130493" y="164239"/>
                </a:lnTo>
                <a:lnTo>
                  <a:pt x="130018" y="164609"/>
                </a:lnTo>
                <a:lnTo>
                  <a:pt x="129648" y="165031"/>
                </a:lnTo>
                <a:lnTo>
                  <a:pt x="129226" y="165401"/>
                </a:lnTo>
                <a:lnTo>
                  <a:pt x="128434" y="165876"/>
                </a:lnTo>
                <a:lnTo>
                  <a:pt x="128170" y="166299"/>
                </a:lnTo>
                <a:lnTo>
                  <a:pt x="127536" y="166827"/>
                </a:lnTo>
                <a:lnTo>
                  <a:pt x="127430" y="167144"/>
                </a:lnTo>
                <a:lnTo>
                  <a:pt x="127377" y="167144"/>
                </a:lnTo>
                <a:lnTo>
                  <a:pt x="127272" y="167513"/>
                </a:lnTo>
                <a:lnTo>
                  <a:pt x="127219" y="167619"/>
                </a:lnTo>
                <a:lnTo>
                  <a:pt x="127166" y="167725"/>
                </a:lnTo>
                <a:lnTo>
                  <a:pt x="127113" y="167883"/>
                </a:lnTo>
                <a:lnTo>
                  <a:pt x="127113" y="168200"/>
                </a:lnTo>
                <a:lnTo>
                  <a:pt x="127061" y="168358"/>
                </a:lnTo>
                <a:lnTo>
                  <a:pt x="126849" y="168569"/>
                </a:lnTo>
                <a:lnTo>
                  <a:pt x="126796" y="168834"/>
                </a:lnTo>
                <a:lnTo>
                  <a:pt x="126638" y="169098"/>
                </a:lnTo>
                <a:lnTo>
                  <a:pt x="126585" y="169256"/>
                </a:lnTo>
                <a:lnTo>
                  <a:pt x="126585" y="169256"/>
                </a:lnTo>
                <a:lnTo>
                  <a:pt x="126638" y="169203"/>
                </a:lnTo>
                <a:lnTo>
                  <a:pt x="126744" y="169203"/>
                </a:lnTo>
                <a:lnTo>
                  <a:pt x="126744" y="169256"/>
                </a:lnTo>
                <a:lnTo>
                  <a:pt x="126744" y="169414"/>
                </a:lnTo>
                <a:lnTo>
                  <a:pt x="126744" y="169520"/>
                </a:lnTo>
                <a:lnTo>
                  <a:pt x="126744" y="169573"/>
                </a:lnTo>
                <a:lnTo>
                  <a:pt x="126638" y="169678"/>
                </a:lnTo>
                <a:lnTo>
                  <a:pt x="126638" y="169731"/>
                </a:lnTo>
                <a:lnTo>
                  <a:pt x="126744" y="169678"/>
                </a:lnTo>
                <a:lnTo>
                  <a:pt x="126849" y="169678"/>
                </a:lnTo>
                <a:lnTo>
                  <a:pt x="127800" y="170259"/>
                </a:lnTo>
                <a:lnTo>
                  <a:pt x="128011" y="170312"/>
                </a:lnTo>
                <a:lnTo>
                  <a:pt x="128117" y="170365"/>
                </a:lnTo>
                <a:lnTo>
                  <a:pt x="128170" y="170523"/>
                </a:lnTo>
                <a:lnTo>
                  <a:pt x="127800" y="170629"/>
                </a:lnTo>
                <a:lnTo>
                  <a:pt x="127853" y="170682"/>
                </a:lnTo>
                <a:lnTo>
                  <a:pt x="127958" y="170893"/>
                </a:lnTo>
                <a:lnTo>
                  <a:pt x="128011" y="170946"/>
                </a:lnTo>
                <a:lnTo>
                  <a:pt x="128170" y="171052"/>
                </a:lnTo>
                <a:lnTo>
                  <a:pt x="127958" y="171052"/>
                </a:lnTo>
                <a:lnTo>
                  <a:pt x="127853" y="170999"/>
                </a:lnTo>
                <a:lnTo>
                  <a:pt x="127589" y="170946"/>
                </a:lnTo>
                <a:lnTo>
                  <a:pt x="127536" y="170946"/>
                </a:lnTo>
                <a:lnTo>
                  <a:pt x="127536" y="170893"/>
                </a:lnTo>
                <a:lnTo>
                  <a:pt x="127483" y="170787"/>
                </a:lnTo>
                <a:lnTo>
                  <a:pt x="127483" y="170735"/>
                </a:lnTo>
                <a:lnTo>
                  <a:pt x="127377" y="170735"/>
                </a:lnTo>
                <a:lnTo>
                  <a:pt x="127272" y="170840"/>
                </a:lnTo>
                <a:lnTo>
                  <a:pt x="127166" y="170893"/>
                </a:lnTo>
                <a:lnTo>
                  <a:pt x="127113" y="170787"/>
                </a:lnTo>
                <a:lnTo>
                  <a:pt x="127113" y="170629"/>
                </a:lnTo>
                <a:lnTo>
                  <a:pt x="127113" y="170523"/>
                </a:lnTo>
                <a:lnTo>
                  <a:pt x="127113" y="170418"/>
                </a:lnTo>
                <a:lnTo>
                  <a:pt x="127008" y="170312"/>
                </a:lnTo>
                <a:lnTo>
                  <a:pt x="126955" y="170259"/>
                </a:lnTo>
                <a:lnTo>
                  <a:pt x="126110" y="170312"/>
                </a:lnTo>
                <a:lnTo>
                  <a:pt x="126004" y="170312"/>
                </a:lnTo>
                <a:lnTo>
                  <a:pt x="125793" y="170207"/>
                </a:lnTo>
                <a:lnTo>
                  <a:pt x="125687" y="170154"/>
                </a:lnTo>
                <a:lnTo>
                  <a:pt x="125687" y="170207"/>
                </a:lnTo>
                <a:lnTo>
                  <a:pt x="125687" y="170312"/>
                </a:lnTo>
                <a:lnTo>
                  <a:pt x="125740" y="170365"/>
                </a:lnTo>
                <a:lnTo>
                  <a:pt x="125740" y="170523"/>
                </a:lnTo>
                <a:lnTo>
                  <a:pt x="125793" y="170893"/>
                </a:lnTo>
                <a:lnTo>
                  <a:pt x="125846" y="171052"/>
                </a:lnTo>
                <a:lnTo>
                  <a:pt x="125952" y="171157"/>
                </a:lnTo>
                <a:lnTo>
                  <a:pt x="126057" y="171263"/>
                </a:lnTo>
                <a:lnTo>
                  <a:pt x="126110" y="171316"/>
                </a:lnTo>
                <a:lnTo>
                  <a:pt x="126163" y="171368"/>
                </a:lnTo>
                <a:lnTo>
                  <a:pt x="126268" y="171368"/>
                </a:lnTo>
                <a:lnTo>
                  <a:pt x="126268" y="171474"/>
                </a:lnTo>
                <a:lnTo>
                  <a:pt x="126216" y="171685"/>
                </a:lnTo>
                <a:lnTo>
                  <a:pt x="126110" y="171685"/>
                </a:lnTo>
                <a:lnTo>
                  <a:pt x="126004" y="171474"/>
                </a:lnTo>
                <a:lnTo>
                  <a:pt x="125846" y="171316"/>
                </a:lnTo>
                <a:lnTo>
                  <a:pt x="125740" y="171210"/>
                </a:lnTo>
                <a:lnTo>
                  <a:pt x="125687" y="171263"/>
                </a:lnTo>
                <a:lnTo>
                  <a:pt x="125635" y="171580"/>
                </a:lnTo>
                <a:lnTo>
                  <a:pt x="125529" y="171368"/>
                </a:lnTo>
                <a:lnTo>
                  <a:pt x="125054" y="170735"/>
                </a:lnTo>
                <a:lnTo>
                  <a:pt x="125001" y="170682"/>
                </a:lnTo>
                <a:lnTo>
                  <a:pt x="124895" y="170682"/>
                </a:lnTo>
                <a:lnTo>
                  <a:pt x="124895" y="170576"/>
                </a:lnTo>
                <a:lnTo>
                  <a:pt x="124948" y="170471"/>
                </a:lnTo>
                <a:lnTo>
                  <a:pt x="125001" y="170207"/>
                </a:lnTo>
                <a:lnTo>
                  <a:pt x="125001" y="170207"/>
                </a:lnTo>
                <a:lnTo>
                  <a:pt x="124948" y="170259"/>
                </a:lnTo>
                <a:lnTo>
                  <a:pt x="124843" y="170312"/>
                </a:lnTo>
                <a:lnTo>
                  <a:pt x="124737" y="170312"/>
                </a:lnTo>
                <a:lnTo>
                  <a:pt x="124684" y="170259"/>
                </a:lnTo>
                <a:lnTo>
                  <a:pt x="124631" y="170154"/>
                </a:lnTo>
                <a:lnTo>
                  <a:pt x="124578" y="170101"/>
                </a:lnTo>
                <a:lnTo>
                  <a:pt x="124578" y="169995"/>
                </a:lnTo>
                <a:lnTo>
                  <a:pt x="124631" y="169890"/>
                </a:lnTo>
                <a:lnTo>
                  <a:pt x="124790" y="169678"/>
                </a:lnTo>
                <a:lnTo>
                  <a:pt x="124948" y="169678"/>
                </a:lnTo>
                <a:lnTo>
                  <a:pt x="125159" y="169731"/>
                </a:lnTo>
                <a:lnTo>
                  <a:pt x="125318" y="169731"/>
                </a:lnTo>
                <a:lnTo>
                  <a:pt x="125318" y="169626"/>
                </a:lnTo>
                <a:lnTo>
                  <a:pt x="125318" y="169520"/>
                </a:lnTo>
                <a:lnTo>
                  <a:pt x="125318" y="169256"/>
                </a:lnTo>
                <a:lnTo>
                  <a:pt x="125054" y="169256"/>
                </a:lnTo>
                <a:lnTo>
                  <a:pt x="124948" y="169309"/>
                </a:lnTo>
                <a:lnTo>
                  <a:pt x="124895" y="169362"/>
                </a:lnTo>
                <a:lnTo>
                  <a:pt x="124631" y="169520"/>
                </a:lnTo>
                <a:lnTo>
                  <a:pt x="124526" y="169626"/>
                </a:lnTo>
                <a:lnTo>
                  <a:pt x="124473" y="169678"/>
                </a:lnTo>
                <a:lnTo>
                  <a:pt x="124367" y="169678"/>
                </a:lnTo>
                <a:lnTo>
                  <a:pt x="124103" y="169520"/>
                </a:lnTo>
                <a:lnTo>
                  <a:pt x="124050" y="169520"/>
                </a:lnTo>
                <a:lnTo>
                  <a:pt x="123998" y="169573"/>
                </a:lnTo>
                <a:lnTo>
                  <a:pt x="123892" y="169573"/>
                </a:lnTo>
                <a:lnTo>
                  <a:pt x="123734" y="169520"/>
                </a:lnTo>
                <a:lnTo>
                  <a:pt x="122941" y="169520"/>
                </a:lnTo>
                <a:lnTo>
                  <a:pt x="123417" y="169309"/>
                </a:lnTo>
                <a:lnTo>
                  <a:pt x="123469" y="169256"/>
                </a:lnTo>
                <a:lnTo>
                  <a:pt x="123628" y="169203"/>
                </a:lnTo>
                <a:lnTo>
                  <a:pt x="123998" y="168992"/>
                </a:lnTo>
                <a:lnTo>
                  <a:pt x="123998" y="168992"/>
                </a:lnTo>
                <a:lnTo>
                  <a:pt x="123047" y="169362"/>
                </a:lnTo>
                <a:lnTo>
                  <a:pt x="122941" y="169467"/>
                </a:lnTo>
                <a:lnTo>
                  <a:pt x="122889" y="169467"/>
                </a:lnTo>
                <a:lnTo>
                  <a:pt x="122519" y="169520"/>
                </a:lnTo>
                <a:lnTo>
                  <a:pt x="122202" y="169678"/>
                </a:lnTo>
                <a:lnTo>
                  <a:pt x="121674" y="169837"/>
                </a:lnTo>
                <a:lnTo>
                  <a:pt x="121463" y="169943"/>
                </a:lnTo>
                <a:lnTo>
                  <a:pt x="121040" y="170048"/>
                </a:lnTo>
                <a:lnTo>
                  <a:pt x="120935" y="170101"/>
                </a:lnTo>
                <a:lnTo>
                  <a:pt x="120776" y="170154"/>
                </a:lnTo>
                <a:lnTo>
                  <a:pt x="120459" y="170471"/>
                </a:lnTo>
                <a:lnTo>
                  <a:pt x="120407" y="170576"/>
                </a:lnTo>
                <a:lnTo>
                  <a:pt x="119720" y="171052"/>
                </a:lnTo>
                <a:lnTo>
                  <a:pt x="119614" y="171052"/>
                </a:lnTo>
                <a:lnTo>
                  <a:pt x="119509" y="171104"/>
                </a:lnTo>
                <a:lnTo>
                  <a:pt x="119350" y="171368"/>
                </a:lnTo>
                <a:lnTo>
                  <a:pt x="119245" y="171474"/>
                </a:lnTo>
                <a:lnTo>
                  <a:pt x="118875" y="171685"/>
                </a:lnTo>
                <a:lnTo>
                  <a:pt x="117344" y="173639"/>
                </a:lnTo>
                <a:lnTo>
                  <a:pt x="117238" y="173745"/>
                </a:lnTo>
                <a:lnTo>
                  <a:pt x="117185" y="173850"/>
                </a:lnTo>
                <a:lnTo>
                  <a:pt x="117344" y="173745"/>
                </a:lnTo>
                <a:lnTo>
                  <a:pt x="117449" y="173745"/>
                </a:lnTo>
                <a:lnTo>
                  <a:pt x="117555" y="173798"/>
                </a:lnTo>
                <a:lnTo>
                  <a:pt x="117555" y="173956"/>
                </a:lnTo>
                <a:lnTo>
                  <a:pt x="117555" y="174062"/>
                </a:lnTo>
                <a:lnTo>
                  <a:pt x="117608" y="174167"/>
                </a:lnTo>
                <a:lnTo>
                  <a:pt x="117608" y="174220"/>
                </a:lnTo>
                <a:lnTo>
                  <a:pt x="117608" y="174273"/>
                </a:lnTo>
                <a:lnTo>
                  <a:pt x="117608" y="174326"/>
                </a:lnTo>
                <a:lnTo>
                  <a:pt x="117449" y="174326"/>
                </a:lnTo>
                <a:lnTo>
                  <a:pt x="117344" y="174484"/>
                </a:lnTo>
                <a:lnTo>
                  <a:pt x="117291" y="174537"/>
                </a:lnTo>
                <a:lnTo>
                  <a:pt x="117079" y="174537"/>
                </a:lnTo>
                <a:lnTo>
                  <a:pt x="116974" y="174484"/>
                </a:lnTo>
                <a:lnTo>
                  <a:pt x="116868" y="174431"/>
                </a:lnTo>
                <a:lnTo>
                  <a:pt x="116868" y="174273"/>
                </a:lnTo>
                <a:lnTo>
                  <a:pt x="116815" y="174431"/>
                </a:lnTo>
                <a:lnTo>
                  <a:pt x="116499" y="174748"/>
                </a:lnTo>
                <a:lnTo>
                  <a:pt x="116393" y="174854"/>
                </a:lnTo>
                <a:lnTo>
                  <a:pt x="116129" y="174959"/>
                </a:lnTo>
                <a:lnTo>
                  <a:pt x="116129" y="175012"/>
                </a:lnTo>
                <a:lnTo>
                  <a:pt x="115654" y="175224"/>
                </a:lnTo>
                <a:lnTo>
                  <a:pt x="115706" y="175382"/>
                </a:lnTo>
                <a:lnTo>
                  <a:pt x="115918" y="175382"/>
                </a:lnTo>
                <a:lnTo>
                  <a:pt x="115970" y="175488"/>
                </a:lnTo>
                <a:lnTo>
                  <a:pt x="115759" y="175752"/>
                </a:lnTo>
                <a:lnTo>
                  <a:pt x="115654" y="175857"/>
                </a:lnTo>
                <a:lnTo>
                  <a:pt x="115390" y="176016"/>
                </a:lnTo>
                <a:lnTo>
                  <a:pt x="115337" y="176016"/>
                </a:lnTo>
                <a:lnTo>
                  <a:pt x="115337" y="175963"/>
                </a:lnTo>
                <a:lnTo>
                  <a:pt x="114914" y="175963"/>
                </a:lnTo>
                <a:lnTo>
                  <a:pt x="114914" y="175752"/>
                </a:lnTo>
                <a:lnTo>
                  <a:pt x="115020" y="175646"/>
                </a:lnTo>
                <a:lnTo>
                  <a:pt x="115126" y="175540"/>
                </a:lnTo>
                <a:lnTo>
                  <a:pt x="115178" y="175514"/>
                </a:lnTo>
                <a:lnTo>
                  <a:pt x="115178" y="175514"/>
                </a:lnTo>
                <a:lnTo>
                  <a:pt x="115178" y="175540"/>
                </a:lnTo>
                <a:lnTo>
                  <a:pt x="115178" y="175593"/>
                </a:lnTo>
                <a:lnTo>
                  <a:pt x="115284" y="175540"/>
                </a:lnTo>
                <a:lnTo>
                  <a:pt x="115284" y="175488"/>
                </a:lnTo>
                <a:lnTo>
                  <a:pt x="115284" y="175435"/>
                </a:lnTo>
                <a:lnTo>
                  <a:pt x="115442" y="175224"/>
                </a:lnTo>
                <a:lnTo>
                  <a:pt x="115442" y="175136"/>
                </a:lnTo>
                <a:lnTo>
                  <a:pt x="115442" y="175136"/>
                </a:lnTo>
                <a:lnTo>
                  <a:pt x="115218" y="175435"/>
                </a:lnTo>
                <a:lnTo>
                  <a:pt x="115126" y="175435"/>
                </a:lnTo>
                <a:lnTo>
                  <a:pt x="114545" y="175963"/>
                </a:lnTo>
                <a:lnTo>
                  <a:pt x="113647" y="176491"/>
                </a:lnTo>
                <a:lnTo>
                  <a:pt x="113700" y="176491"/>
                </a:lnTo>
                <a:lnTo>
                  <a:pt x="113700" y="176544"/>
                </a:lnTo>
                <a:lnTo>
                  <a:pt x="113647" y="176649"/>
                </a:lnTo>
                <a:lnTo>
                  <a:pt x="113647" y="176702"/>
                </a:lnTo>
                <a:lnTo>
                  <a:pt x="113700" y="176808"/>
                </a:lnTo>
                <a:lnTo>
                  <a:pt x="113700" y="176913"/>
                </a:lnTo>
                <a:lnTo>
                  <a:pt x="113752" y="177283"/>
                </a:lnTo>
                <a:lnTo>
                  <a:pt x="113805" y="177494"/>
                </a:lnTo>
                <a:lnTo>
                  <a:pt x="113964" y="177653"/>
                </a:lnTo>
                <a:lnTo>
                  <a:pt x="113911" y="177811"/>
                </a:lnTo>
                <a:lnTo>
                  <a:pt x="113805" y="177864"/>
                </a:lnTo>
                <a:lnTo>
                  <a:pt x="113700" y="177758"/>
                </a:lnTo>
                <a:lnTo>
                  <a:pt x="113594" y="177706"/>
                </a:lnTo>
                <a:lnTo>
                  <a:pt x="113488" y="177917"/>
                </a:lnTo>
                <a:lnTo>
                  <a:pt x="113488" y="178075"/>
                </a:lnTo>
                <a:lnTo>
                  <a:pt x="113700" y="178022"/>
                </a:lnTo>
                <a:lnTo>
                  <a:pt x="113805" y="178128"/>
                </a:lnTo>
                <a:lnTo>
                  <a:pt x="113647" y="178128"/>
                </a:lnTo>
                <a:lnTo>
                  <a:pt x="113594" y="178181"/>
                </a:lnTo>
                <a:lnTo>
                  <a:pt x="113594" y="178286"/>
                </a:lnTo>
                <a:lnTo>
                  <a:pt x="113594" y="178339"/>
                </a:lnTo>
                <a:lnTo>
                  <a:pt x="113541" y="178392"/>
                </a:lnTo>
                <a:lnTo>
                  <a:pt x="113330" y="178551"/>
                </a:lnTo>
                <a:lnTo>
                  <a:pt x="113383" y="178656"/>
                </a:lnTo>
                <a:lnTo>
                  <a:pt x="113436" y="178815"/>
                </a:lnTo>
                <a:lnTo>
                  <a:pt x="113488" y="178867"/>
                </a:lnTo>
                <a:lnTo>
                  <a:pt x="113541" y="178920"/>
                </a:lnTo>
                <a:lnTo>
                  <a:pt x="113647" y="178920"/>
                </a:lnTo>
                <a:lnTo>
                  <a:pt x="113858" y="178762"/>
                </a:lnTo>
                <a:lnTo>
                  <a:pt x="113964" y="178762"/>
                </a:lnTo>
                <a:lnTo>
                  <a:pt x="114069" y="178709"/>
                </a:lnTo>
                <a:lnTo>
                  <a:pt x="114228" y="178498"/>
                </a:lnTo>
                <a:lnTo>
                  <a:pt x="114333" y="178392"/>
                </a:lnTo>
                <a:lnTo>
                  <a:pt x="114545" y="178234"/>
                </a:lnTo>
                <a:lnTo>
                  <a:pt x="114861" y="178234"/>
                </a:lnTo>
                <a:lnTo>
                  <a:pt x="114914" y="178128"/>
                </a:lnTo>
                <a:lnTo>
                  <a:pt x="114914" y="177970"/>
                </a:lnTo>
                <a:lnTo>
                  <a:pt x="114861" y="177864"/>
                </a:lnTo>
                <a:lnTo>
                  <a:pt x="114756" y="177758"/>
                </a:lnTo>
                <a:lnTo>
                  <a:pt x="114650" y="177706"/>
                </a:lnTo>
                <a:lnTo>
                  <a:pt x="114333" y="177653"/>
                </a:lnTo>
                <a:lnTo>
                  <a:pt x="114228" y="177494"/>
                </a:lnTo>
                <a:lnTo>
                  <a:pt x="114175" y="177283"/>
                </a:lnTo>
                <a:lnTo>
                  <a:pt x="114228" y="177019"/>
                </a:lnTo>
                <a:lnTo>
                  <a:pt x="114122" y="177019"/>
                </a:lnTo>
                <a:lnTo>
                  <a:pt x="114069" y="176966"/>
                </a:lnTo>
                <a:lnTo>
                  <a:pt x="114069" y="176861"/>
                </a:lnTo>
                <a:lnTo>
                  <a:pt x="114069" y="176755"/>
                </a:lnTo>
                <a:lnTo>
                  <a:pt x="114175" y="176913"/>
                </a:lnTo>
                <a:lnTo>
                  <a:pt x="114228" y="176913"/>
                </a:lnTo>
                <a:lnTo>
                  <a:pt x="114281" y="176861"/>
                </a:lnTo>
                <a:lnTo>
                  <a:pt x="114281" y="176808"/>
                </a:lnTo>
                <a:lnTo>
                  <a:pt x="114281" y="176755"/>
                </a:lnTo>
                <a:lnTo>
                  <a:pt x="114281" y="176649"/>
                </a:lnTo>
                <a:lnTo>
                  <a:pt x="114281" y="176544"/>
                </a:lnTo>
                <a:lnTo>
                  <a:pt x="114333" y="176491"/>
                </a:lnTo>
                <a:lnTo>
                  <a:pt x="114492" y="176491"/>
                </a:lnTo>
                <a:lnTo>
                  <a:pt x="114597" y="176544"/>
                </a:lnTo>
                <a:lnTo>
                  <a:pt x="114703" y="176597"/>
                </a:lnTo>
                <a:lnTo>
                  <a:pt x="114650" y="176649"/>
                </a:lnTo>
                <a:lnTo>
                  <a:pt x="114492" y="176755"/>
                </a:lnTo>
                <a:lnTo>
                  <a:pt x="114439" y="176808"/>
                </a:lnTo>
                <a:lnTo>
                  <a:pt x="114492" y="176808"/>
                </a:lnTo>
                <a:lnTo>
                  <a:pt x="114650" y="176755"/>
                </a:lnTo>
                <a:lnTo>
                  <a:pt x="114914" y="176755"/>
                </a:lnTo>
                <a:lnTo>
                  <a:pt x="115020" y="176808"/>
                </a:lnTo>
                <a:lnTo>
                  <a:pt x="115126" y="176966"/>
                </a:lnTo>
                <a:lnTo>
                  <a:pt x="115231" y="177230"/>
                </a:lnTo>
                <a:lnTo>
                  <a:pt x="115284" y="177336"/>
                </a:lnTo>
                <a:lnTo>
                  <a:pt x="115495" y="177389"/>
                </a:lnTo>
                <a:lnTo>
                  <a:pt x="115601" y="177494"/>
                </a:lnTo>
                <a:lnTo>
                  <a:pt x="115548" y="177547"/>
                </a:lnTo>
                <a:lnTo>
                  <a:pt x="115337" y="177547"/>
                </a:lnTo>
                <a:lnTo>
                  <a:pt x="115337" y="177653"/>
                </a:lnTo>
                <a:lnTo>
                  <a:pt x="115495" y="177811"/>
                </a:lnTo>
                <a:lnTo>
                  <a:pt x="115495" y="177864"/>
                </a:lnTo>
                <a:lnTo>
                  <a:pt x="115495" y="177917"/>
                </a:lnTo>
                <a:lnTo>
                  <a:pt x="115495" y="177970"/>
                </a:lnTo>
                <a:lnTo>
                  <a:pt x="115706" y="178128"/>
                </a:lnTo>
                <a:lnTo>
                  <a:pt x="116287" y="178128"/>
                </a:lnTo>
                <a:lnTo>
                  <a:pt x="116340" y="178075"/>
                </a:lnTo>
                <a:lnTo>
                  <a:pt x="116446" y="177970"/>
                </a:lnTo>
                <a:lnTo>
                  <a:pt x="116446" y="177917"/>
                </a:lnTo>
                <a:lnTo>
                  <a:pt x="116446" y="177864"/>
                </a:lnTo>
                <a:lnTo>
                  <a:pt x="116604" y="177653"/>
                </a:lnTo>
                <a:lnTo>
                  <a:pt x="116657" y="177547"/>
                </a:lnTo>
                <a:lnTo>
                  <a:pt x="116710" y="177389"/>
                </a:lnTo>
                <a:lnTo>
                  <a:pt x="116710" y="177230"/>
                </a:lnTo>
                <a:lnTo>
                  <a:pt x="116815" y="177230"/>
                </a:lnTo>
                <a:lnTo>
                  <a:pt x="116868" y="177283"/>
                </a:lnTo>
                <a:lnTo>
                  <a:pt x="116921" y="177442"/>
                </a:lnTo>
                <a:lnTo>
                  <a:pt x="116921" y="177547"/>
                </a:lnTo>
                <a:lnTo>
                  <a:pt x="116763" y="177547"/>
                </a:lnTo>
                <a:lnTo>
                  <a:pt x="116815" y="177653"/>
                </a:lnTo>
                <a:lnTo>
                  <a:pt x="116974" y="177811"/>
                </a:lnTo>
                <a:lnTo>
                  <a:pt x="117132" y="177917"/>
                </a:lnTo>
                <a:lnTo>
                  <a:pt x="117238" y="177970"/>
                </a:lnTo>
                <a:lnTo>
                  <a:pt x="116974" y="177125"/>
                </a:lnTo>
                <a:lnTo>
                  <a:pt x="116974" y="177019"/>
                </a:lnTo>
                <a:lnTo>
                  <a:pt x="116868" y="177125"/>
                </a:lnTo>
                <a:lnTo>
                  <a:pt x="116868" y="177072"/>
                </a:lnTo>
                <a:lnTo>
                  <a:pt x="116868" y="176913"/>
                </a:lnTo>
                <a:lnTo>
                  <a:pt x="116868" y="176755"/>
                </a:lnTo>
                <a:lnTo>
                  <a:pt x="116868" y="176597"/>
                </a:lnTo>
                <a:lnTo>
                  <a:pt x="116921" y="176544"/>
                </a:lnTo>
                <a:lnTo>
                  <a:pt x="116921" y="176491"/>
                </a:lnTo>
                <a:lnTo>
                  <a:pt x="116815" y="176385"/>
                </a:lnTo>
                <a:lnTo>
                  <a:pt x="116815" y="176280"/>
                </a:lnTo>
                <a:lnTo>
                  <a:pt x="116763" y="176121"/>
                </a:lnTo>
                <a:lnTo>
                  <a:pt x="116604" y="176068"/>
                </a:lnTo>
                <a:lnTo>
                  <a:pt x="116393" y="175963"/>
                </a:lnTo>
                <a:lnTo>
                  <a:pt x="116340" y="175857"/>
                </a:lnTo>
                <a:lnTo>
                  <a:pt x="116340" y="175646"/>
                </a:lnTo>
                <a:lnTo>
                  <a:pt x="116393" y="175488"/>
                </a:lnTo>
                <a:lnTo>
                  <a:pt x="116499" y="175329"/>
                </a:lnTo>
                <a:lnTo>
                  <a:pt x="116604" y="175224"/>
                </a:lnTo>
                <a:lnTo>
                  <a:pt x="116710" y="175171"/>
                </a:lnTo>
                <a:lnTo>
                  <a:pt x="116815" y="175118"/>
                </a:lnTo>
                <a:lnTo>
                  <a:pt x="116974" y="175118"/>
                </a:lnTo>
                <a:lnTo>
                  <a:pt x="117079" y="175171"/>
                </a:lnTo>
                <a:lnTo>
                  <a:pt x="117079" y="175276"/>
                </a:lnTo>
                <a:lnTo>
                  <a:pt x="116921" y="175382"/>
                </a:lnTo>
                <a:lnTo>
                  <a:pt x="117132" y="175382"/>
                </a:lnTo>
                <a:lnTo>
                  <a:pt x="117238" y="175540"/>
                </a:lnTo>
                <a:lnTo>
                  <a:pt x="117449" y="176016"/>
                </a:lnTo>
                <a:lnTo>
                  <a:pt x="117502" y="176121"/>
                </a:lnTo>
                <a:lnTo>
                  <a:pt x="117713" y="176438"/>
                </a:lnTo>
                <a:lnTo>
                  <a:pt x="117766" y="176491"/>
                </a:lnTo>
                <a:lnTo>
                  <a:pt x="118030" y="176702"/>
                </a:lnTo>
                <a:lnTo>
                  <a:pt x="117924" y="176808"/>
                </a:lnTo>
                <a:lnTo>
                  <a:pt x="117766" y="176808"/>
                </a:lnTo>
                <a:lnTo>
                  <a:pt x="117555" y="176649"/>
                </a:lnTo>
                <a:lnTo>
                  <a:pt x="117291" y="176649"/>
                </a:lnTo>
                <a:lnTo>
                  <a:pt x="117291" y="176702"/>
                </a:lnTo>
                <a:lnTo>
                  <a:pt x="117344" y="176913"/>
                </a:lnTo>
                <a:lnTo>
                  <a:pt x="117449" y="177072"/>
                </a:lnTo>
                <a:lnTo>
                  <a:pt x="117502" y="177177"/>
                </a:lnTo>
                <a:lnTo>
                  <a:pt x="117608" y="177230"/>
                </a:lnTo>
                <a:lnTo>
                  <a:pt x="117766" y="177283"/>
                </a:lnTo>
                <a:lnTo>
                  <a:pt x="118188" y="177283"/>
                </a:lnTo>
                <a:lnTo>
                  <a:pt x="118241" y="177230"/>
                </a:lnTo>
                <a:lnTo>
                  <a:pt x="118294" y="177072"/>
                </a:lnTo>
                <a:lnTo>
                  <a:pt x="118347" y="177019"/>
                </a:lnTo>
                <a:lnTo>
                  <a:pt x="118347" y="176966"/>
                </a:lnTo>
                <a:lnTo>
                  <a:pt x="118400" y="177072"/>
                </a:lnTo>
                <a:lnTo>
                  <a:pt x="118453" y="177283"/>
                </a:lnTo>
                <a:lnTo>
                  <a:pt x="118505" y="177336"/>
                </a:lnTo>
                <a:lnTo>
                  <a:pt x="118558" y="177389"/>
                </a:lnTo>
                <a:lnTo>
                  <a:pt x="118769" y="177389"/>
                </a:lnTo>
                <a:lnTo>
                  <a:pt x="118928" y="177283"/>
                </a:lnTo>
                <a:lnTo>
                  <a:pt x="118928" y="177125"/>
                </a:lnTo>
                <a:lnTo>
                  <a:pt x="118875" y="176861"/>
                </a:lnTo>
                <a:lnTo>
                  <a:pt x="118769" y="176702"/>
                </a:lnTo>
                <a:lnTo>
                  <a:pt x="118928" y="176438"/>
                </a:lnTo>
                <a:lnTo>
                  <a:pt x="119403" y="176227"/>
                </a:lnTo>
                <a:lnTo>
                  <a:pt x="119403" y="176333"/>
                </a:lnTo>
                <a:lnTo>
                  <a:pt x="119403" y="176385"/>
                </a:lnTo>
                <a:lnTo>
                  <a:pt x="119403" y="176438"/>
                </a:lnTo>
                <a:lnTo>
                  <a:pt x="119350" y="176544"/>
                </a:lnTo>
                <a:lnTo>
                  <a:pt x="119350" y="176597"/>
                </a:lnTo>
                <a:lnTo>
                  <a:pt x="119297" y="176597"/>
                </a:lnTo>
                <a:lnTo>
                  <a:pt x="119192" y="176649"/>
                </a:lnTo>
                <a:lnTo>
                  <a:pt x="119297" y="176755"/>
                </a:lnTo>
                <a:lnTo>
                  <a:pt x="119403" y="176861"/>
                </a:lnTo>
                <a:lnTo>
                  <a:pt x="119509" y="176966"/>
                </a:lnTo>
                <a:lnTo>
                  <a:pt x="119614" y="176966"/>
                </a:lnTo>
                <a:lnTo>
                  <a:pt x="119720" y="176913"/>
                </a:lnTo>
                <a:lnTo>
                  <a:pt x="119878" y="176861"/>
                </a:lnTo>
                <a:lnTo>
                  <a:pt x="119984" y="176702"/>
                </a:lnTo>
                <a:lnTo>
                  <a:pt x="120090" y="176544"/>
                </a:lnTo>
                <a:lnTo>
                  <a:pt x="120037" y="176544"/>
                </a:lnTo>
                <a:lnTo>
                  <a:pt x="119984" y="176491"/>
                </a:lnTo>
                <a:lnTo>
                  <a:pt x="119984" y="176385"/>
                </a:lnTo>
                <a:lnTo>
                  <a:pt x="119984" y="176333"/>
                </a:lnTo>
                <a:lnTo>
                  <a:pt x="119720" y="176174"/>
                </a:lnTo>
                <a:lnTo>
                  <a:pt x="119826" y="176068"/>
                </a:lnTo>
                <a:lnTo>
                  <a:pt x="119826" y="175963"/>
                </a:lnTo>
                <a:lnTo>
                  <a:pt x="119720" y="175699"/>
                </a:lnTo>
                <a:lnTo>
                  <a:pt x="119720" y="175646"/>
                </a:lnTo>
                <a:lnTo>
                  <a:pt x="119826" y="175593"/>
                </a:lnTo>
                <a:lnTo>
                  <a:pt x="119984" y="175593"/>
                </a:lnTo>
                <a:lnTo>
                  <a:pt x="120142" y="175646"/>
                </a:lnTo>
                <a:lnTo>
                  <a:pt x="120301" y="175699"/>
                </a:lnTo>
                <a:lnTo>
                  <a:pt x="120301" y="175752"/>
                </a:lnTo>
                <a:lnTo>
                  <a:pt x="120142" y="175752"/>
                </a:lnTo>
                <a:lnTo>
                  <a:pt x="120195" y="175804"/>
                </a:lnTo>
                <a:lnTo>
                  <a:pt x="120407" y="175804"/>
                </a:lnTo>
                <a:lnTo>
                  <a:pt x="120407" y="175752"/>
                </a:lnTo>
                <a:lnTo>
                  <a:pt x="120407" y="175699"/>
                </a:lnTo>
                <a:lnTo>
                  <a:pt x="120407" y="175646"/>
                </a:lnTo>
                <a:lnTo>
                  <a:pt x="120618" y="175224"/>
                </a:lnTo>
                <a:lnTo>
                  <a:pt x="120671" y="175224"/>
                </a:lnTo>
                <a:lnTo>
                  <a:pt x="120723" y="175065"/>
                </a:lnTo>
                <a:lnTo>
                  <a:pt x="121199" y="174379"/>
                </a:lnTo>
                <a:lnTo>
                  <a:pt x="121199" y="174326"/>
                </a:lnTo>
                <a:lnTo>
                  <a:pt x="121199" y="174062"/>
                </a:lnTo>
                <a:lnTo>
                  <a:pt x="121304" y="173639"/>
                </a:lnTo>
                <a:lnTo>
                  <a:pt x="121304" y="173534"/>
                </a:lnTo>
                <a:lnTo>
                  <a:pt x="121304" y="173428"/>
                </a:lnTo>
                <a:lnTo>
                  <a:pt x="121304" y="173322"/>
                </a:lnTo>
                <a:lnTo>
                  <a:pt x="121568" y="173006"/>
                </a:lnTo>
                <a:lnTo>
                  <a:pt x="121674" y="172847"/>
                </a:lnTo>
                <a:lnTo>
                  <a:pt x="121727" y="172794"/>
                </a:lnTo>
                <a:lnTo>
                  <a:pt x="121780" y="172794"/>
                </a:lnTo>
                <a:lnTo>
                  <a:pt x="121780" y="172741"/>
                </a:lnTo>
                <a:lnTo>
                  <a:pt x="121780" y="172636"/>
                </a:lnTo>
                <a:lnTo>
                  <a:pt x="122625" y="172425"/>
                </a:lnTo>
                <a:lnTo>
                  <a:pt x="122783" y="172425"/>
                </a:lnTo>
                <a:lnTo>
                  <a:pt x="122941" y="172636"/>
                </a:lnTo>
                <a:lnTo>
                  <a:pt x="123205" y="172689"/>
                </a:lnTo>
                <a:lnTo>
                  <a:pt x="123311" y="172741"/>
                </a:lnTo>
                <a:lnTo>
                  <a:pt x="123364" y="172847"/>
                </a:lnTo>
                <a:lnTo>
                  <a:pt x="123417" y="172953"/>
                </a:lnTo>
                <a:lnTo>
                  <a:pt x="123469" y="173006"/>
                </a:lnTo>
                <a:lnTo>
                  <a:pt x="123522" y="173058"/>
                </a:lnTo>
                <a:lnTo>
                  <a:pt x="123945" y="173164"/>
                </a:lnTo>
                <a:lnTo>
                  <a:pt x="123998" y="173217"/>
                </a:lnTo>
                <a:lnTo>
                  <a:pt x="123998" y="173322"/>
                </a:lnTo>
                <a:lnTo>
                  <a:pt x="123839" y="173322"/>
                </a:lnTo>
                <a:lnTo>
                  <a:pt x="123311" y="173217"/>
                </a:lnTo>
                <a:lnTo>
                  <a:pt x="123205" y="173164"/>
                </a:lnTo>
                <a:lnTo>
                  <a:pt x="123047" y="172900"/>
                </a:lnTo>
                <a:lnTo>
                  <a:pt x="122941" y="172847"/>
                </a:lnTo>
                <a:lnTo>
                  <a:pt x="122836" y="172900"/>
                </a:lnTo>
                <a:lnTo>
                  <a:pt x="122730" y="173217"/>
                </a:lnTo>
                <a:lnTo>
                  <a:pt x="122625" y="173322"/>
                </a:lnTo>
                <a:lnTo>
                  <a:pt x="122519" y="173375"/>
                </a:lnTo>
                <a:lnTo>
                  <a:pt x="122413" y="173639"/>
                </a:lnTo>
                <a:lnTo>
                  <a:pt x="122413" y="173692"/>
                </a:lnTo>
                <a:lnTo>
                  <a:pt x="122413" y="174009"/>
                </a:lnTo>
                <a:lnTo>
                  <a:pt x="122413" y="174115"/>
                </a:lnTo>
                <a:lnTo>
                  <a:pt x="122308" y="174431"/>
                </a:lnTo>
                <a:lnTo>
                  <a:pt x="122308" y="174484"/>
                </a:lnTo>
                <a:lnTo>
                  <a:pt x="122360" y="174643"/>
                </a:lnTo>
                <a:lnTo>
                  <a:pt x="122466" y="174643"/>
                </a:lnTo>
                <a:lnTo>
                  <a:pt x="122994" y="174431"/>
                </a:lnTo>
                <a:lnTo>
                  <a:pt x="123153" y="174431"/>
                </a:lnTo>
                <a:lnTo>
                  <a:pt x="123205" y="174590"/>
                </a:lnTo>
                <a:lnTo>
                  <a:pt x="123258" y="174695"/>
                </a:lnTo>
                <a:lnTo>
                  <a:pt x="123417" y="174695"/>
                </a:lnTo>
                <a:lnTo>
                  <a:pt x="124420" y="174220"/>
                </a:lnTo>
                <a:lnTo>
                  <a:pt x="124631" y="174062"/>
                </a:lnTo>
                <a:lnTo>
                  <a:pt x="124790" y="173798"/>
                </a:lnTo>
                <a:lnTo>
                  <a:pt x="124948" y="173534"/>
                </a:lnTo>
                <a:lnTo>
                  <a:pt x="125107" y="173322"/>
                </a:lnTo>
                <a:lnTo>
                  <a:pt x="125371" y="173270"/>
                </a:lnTo>
                <a:lnTo>
                  <a:pt x="125476" y="173322"/>
                </a:lnTo>
                <a:lnTo>
                  <a:pt x="125529" y="173375"/>
                </a:lnTo>
                <a:lnTo>
                  <a:pt x="125529" y="173481"/>
                </a:lnTo>
                <a:lnTo>
                  <a:pt x="125476" y="173639"/>
                </a:lnTo>
                <a:lnTo>
                  <a:pt x="125476" y="173692"/>
                </a:lnTo>
                <a:lnTo>
                  <a:pt x="125476" y="173745"/>
                </a:lnTo>
                <a:lnTo>
                  <a:pt x="125529" y="173745"/>
                </a:lnTo>
                <a:lnTo>
                  <a:pt x="125635" y="173850"/>
                </a:lnTo>
                <a:lnTo>
                  <a:pt x="125793" y="173850"/>
                </a:lnTo>
                <a:lnTo>
                  <a:pt x="126268" y="173692"/>
                </a:lnTo>
                <a:lnTo>
                  <a:pt x="126321" y="173586"/>
                </a:lnTo>
                <a:lnTo>
                  <a:pt x="126321" y="173375"/>
                </a:lnTo>
                <a:lnTo>
                  <a:pt x="126268" y="173217"/>
                </a:lnTo>
                <a:lnTo>
                  <a:pt x="125952" y="173217"/>
                </a:lnTo>
                <a:lnTo>
                  <a:pt x="125846" y="173164"/>
                </a:lnTo>
                <a:lnTo>
                  <a:pt x="125846" y="173058"/>
                </a:lnTo>
                <a:lnTo>
                  <a:pt x="125952" y="173058"/>
                </a:lnTo>
                <a:lnTo>
                  <a:pt x="126268" y="173111"/>
                </a:lnTo>
                <a:lnTo>
                  <a:pt x="126374" y="173058"/>
                </a:lnTo>
                <a:lnTo>
                  <a:pt x="126427" y="172900"/>
                </a:lnTo>
                <a:lnTo>
                  <a:pt x="126532" y="172689"/>
                </a:lnTo>
                <a:lnTo>
                  <a:pt x="126585" y="172583"/>
                </a:lnTo>
                <a:lnTo>
                  <a:pt x="126638" y="172583"/>
                </a:lnTo>
                <a:lnTo>
                  <a:pt x="126638" y="172741"/>
                </a:lnTo>
                <a:lnTo>
                  <a:pt x="126638" y="172953"/>
                </a:lnTo>
                <a:lnTo>
                  <a:pt x="126691" y="173111"/>
                </a:lnTo>
                <a:lnTo>
                  <a:pt x="126849" y="173586"/>
                </a:lnTo>
                <a:lnTo>
                  <a:pt x="126955" y="173692"/>
                </a:lnTo>
                <a:lnTo>
                  <a:pt x="127113" y="173586"/>
                </a:lnTo>
                <a:lnTo>
                  <a:pt x="127219" y="173534"/>
                </a:lnTo>
                <a:lnTo>
                  <a:pt x="127219" y="173428"/>
                </a:lnTo>
                <a:lnTo>
                  <a:pt x="127219" y="173375"/>
                </a:lnTo>
                <a:lnTo>
                  <a:pt x="127219" y="173217"/>
                </a:lnTo>
                <a:lnTo>
                  <a:pt x="127219" y="173111"/>
                </a:lnTo>
                <a:lnTo>
                  <a:pt x="127272" y="173058"/>
                </a:lnTo>
                <a:lnTo>
                  <a:pt x="127272" y="173006"/>
                </a:lnTo>
                <a:lnTo>
                  <a:pt x="127272" y="172847"/>
                </a:lnTo>
                <a:lnTo>
                  <a:pt x="127377" y="172847"/>
                </a:lnTo>
                <a:lnTo>
                  <a:pt x="127589" y="172636"/>
                </a:lnTo>
                <a:lnTo>
                  <a:pt x="127694" y="172583"/>
                </a:lnTo>
                <a:lnTo>
                  <a:pt x="127694" y="172530"/>
                </a:lnTo>
                <a:lnTo>
                  <a:pt x="127430" y="172319"/>
                </a:lnTo>
                <a:lnTo>
                  <a:pt x="127325" y="172213"/>
                </a:lnTo>
                <a:lnTo>
                  <a:pt x="127430" y="172161"/>
                </a:lnTo>
                <a:lnTo>
                  <a:pt x="127536" y="172161"/>
                </a:lnTo>
                <a:lnTo>
                  <a:pt x="127747" y="172213"/>
                </a:lnTo>
                <a:lnTo>
                  <a:pt x="128222" y="172213"/>
                </a:lnTo>
                <a:lnTo>
                  <a:pt x="128222" y="172161"/>
                </a:lnTo>
                <a:lnTo>
                  <a:pt x="128275" y="172055"/>
                </a:lnTo>
                <a:lnTo>
                  <a:pt x="128645" y="172161"/>
                </a:lnTo>
                <a:lnTo>
                  <a:pt x="128803" y="172002"/>
                </a:lnTo>
                <a:lnTo>
                  <a:pt x="128750" y="171896"/>
                </a:lnTo>
                <a:lnTo>
                  <a:pt x="128750" y="171632"/>
                </a:lnTo>
                <a:lnTo>
                  <a:pt x="128750" y="171474"/>
                </a:lnTo>
                <a:lnTo>
                  <a:pt x="128803" y="171474"/>
                </a:lnTo>
                <a:lnTo>
                  <a:pt x="128803" y="171527"/>
                </a:lnTo>
                <a:lnTo>
                  <a:pt x="128803" y="171580"/>
                </a:lnTo>
                <a:lnTo>
                  <a:pt x="128856" y="171632"/>
                </a:lnTo>
                <a:lnTo>
                  <a:pt x="128909" y="171738"/>
                </a:lnTo>
                <a:lnTo>
                  <a:pt x="129120" y="171738"/>
                </a:lnTo>
                <a:lnTo>
                  <a:pt x="128962" y="171632"/>
                </a:lnTo>
                <a:lnTo>
                  <a:pt x="128962" y="171580"/>
                </a:lnTo>
                <a:lnTo>
                  <a:pt x="128962" y="171527"/>
                </a:lnTo>
                <a:lnTo>
                  <a:pt x="129279" y="171527"/>
                </a:lnTo>
                <a:lnTo>
                  <a:pt x="129279" y="171474"/>
                </a:lnTo>
                <a:lnTo>
                  <a:pt x="129120" y="171157"/>
                </a:lnTo>
                <a:lnTo>
                  <a:pt x="129173" y="171104"/>
                </a:lnTo>
                <a:lnTo>
                  <a:pt x="129226" y="170999"/>
                </a:lnTo>
                <a:lnTo>
                  <a:pt x="129279" y="170999"/>
                </a:lnTo>
                <a:lnTo>
                  <a:pt x="129331" y="171052"/>
                </a:lnTo>
                <a:lnTo>
                  <a:pt x="129331" y="171104"/>
                </a:lnTo>
                <a:lnTo>
                  <a:pt x="129490" y="171157"/>
                </a:lnTo>
                <a:lnTo>
                  <a:pt x="129543" y="171157"/>
                </a:lnTo>
                <a:lnTo>
                  <a:pt x="129543" y="171052"/>
                </a:lnTo>
                <a:lnTo>
                  <a:pt x="129543" y="170946"/>
                </a:lnTo>
                <a:lnTo>
                  <a:pt x="129543" y="170893"/>
                </a:lnTo>
                <a:lnTo>
                  <a:pt x="129543" y="170787"/>
                </a:lnTo>
                <a:lnTo>
                  <a:pt x="129595" y="170787"/>
                </a:lnTo>
                <a:lnTo>
                  <a:pt x="129754" y="171052"/>
                </a:lnTo>
                <a:lnTo>
                  <a:pt x="129859" y="171104"/>
                </a:lnTo>
                <a:lnTo>
                  <a:pt x="130071" y="170999"/>
                </a:lnTo>
                <a:lnTo>
                  <a:pt x="130071" y="170893"/>
                </a:lnTo>
                <a:lnTo>
                  <a:pt x="130071" y="170787"/>
                </a:lnTo>
                <a:lnTo>
                  <a:pt x="130071" y="170576"/>
                </a:lnTo>
                <a:lnTo>
                  <a:pt x="130071" y="170523"/>
                </a:lnTo>
                <a:lnTo>
                  <a:pt x="130176" y="170523"/>
                </a:lnTo>
                <a:lnTo>
                  <a:pt x="130757" y="170576"/>
                </a:lnTo>
                <a:lnTo>
                  <a:pt x="130968" y="170682"/>
                </a:lnTo>
                <a:lnTo>
                  <a:pt x="131074" y="170735"/>
                </a:lnTo>
                <a:lnTo>
                  <a:pt x="131127" y="170840"/>
                </a:lnTo>
                <a:lnTo>
                  <a:pt x="131127" y="170999"/>
                </a:lnTo>
                <a:lnTo>
                  <a:pt x="131021" y="171104"/>
                </a:lnTo>
                <a:lnTo>
                  <a:pt x="130916" y="171421"/>
                </a:lnTo>
                <a:lnTo>
                  <a:pt x="130916" y="171474"/>
                </a:lnTo>
                <a:lnTo>
                  <a:pt x="130916" y="171527"/>
                </a:lnTo>
                <a:lnTo>
                  <a:pt x="130968" y="171527"/>
                </a:lnTo>
                <a:lnTo>
                  <a:pt x="130968" y="171685"/>
                </a:lnTo>
                <a:lnTo>
                  <a:pt x="131021" y="171738"/>
                </a:lnTo>
                <a:lnTo>
                  <a:pt x="131074" y="171844"/>
                </a:lnTo>
                <a:lnTo>
                  <a:pt x="130810" y="172002"/>
                </a:lnTo>
                <a:lnTo>
                  <a:pt x="130704" y="172108"/>
                </a:lnTo>
                <a:lnTo>
                  <a:pt x="130810" y="172161"/>
                </a:lnTo>
                <a:lnTo>
                  <a:pt x="130968" y="172213"/>
                </a:lnTo>
                <a:lnTo>
                  <a:pt x="131127" y="172319"/>
                </a:lnTo>
                <a:lnTo>
                  <a:pt x="131180" y="172372"/>
                </a:lnTo>
                <a:lnTo>
                  <a:pt x="131127" y="172372"/>
                </a:lnTo>
                <a:lnTo>
                  <a:pt x="131127" y="172425"/>
                </a:lnTo>
                <a:lnTo>
                  <a:pt x="131127" y="172477"/>
                </a:lnTo>
                <a:lnTo>
                  <a:pt x="131127" y="172530"/>
                </a:lnTo>
                <a:lnTo>
                  <a:pt x="131021" y="172583"/>
                </a:lnTo>
                <a:lnTo>
                  <a:pt x="130916" y="172477"/>
                </a:lnTo>
                <a:lnTo>
                  <a:pt x="130757" y="172477"/>
                </a:lnTo>
                <a:lnTo>
                  <a:pt x="130652" y="172530"/>
                </a:lnTo>
                <a:lnTo>
                  <a:pt x="130546" y="172636"/>
                </a:lnTo>
                <a:lnTo>
                  <a:pt x="130863" y="172636"/>
                </a:lnTo>
                <a:lnTo>
                  <a:pt x="130810" y="172689"/>
                </a:lnTo>
                <a:lnTo>
                  <a:pt x="130704" y="172847"/>
                </a:lnTo>
                <a:lnTo>
                  <a:pt x="130652" y="172900"/>
                </a:lnTo>
                <a:lnTo>
                  <a:pt x="130757" y="172953"/>
                </a:lnTo>
                <a:lnTo>
                  <a:pt x="131180" y="172847"/>
                </a:lnTo>
                <a:lnTo>
                  <a:pt x="131180" y="172741"/>
                </a:lnTo>
                <a:lnTo>
                  <a:pt x="131233" y="172583"/>
                </a:lnTo>
                <a:lnTo>
                  <a:pt x="131338" y="172425"/>
                </a:lnTo>
                <a:lnTo>
                  <a:pt x="131391" y="172319"/>
                </a:lnTo>
                <a:lnTo>
                  <a:pt x="131444" y="172319"/>
                </a:lnTo>
                <a:lnTo>
                  <a:pt x="131444" y="172213"/>
                </a:lnTo>
                <a:lnTo>
                  <a:pt x="131444" y="172055"/>
                </a:lnTo>
                <a:lnTo>
                  <a:pt x="131444" y="172002"/>
                </a:lnTo>
                <a:lnTo>
                  <a:pt x="131338" y="171896"/>
                </a:lnTo>
                <a:lnTo>
                  <a:pt x="131391" y="171738"/>
                </a:lnTo>
                <a:lnTo>
                  <a:pt x="131497" y="171580"/>
                </a:lnTo>
                <a:lnTo>
                  <a:pt x="131549" y="171474"/>
                </a:lnTo>
                <a:lnTo>
                  <a:pt x="131549" y="171421"/>
                </a:lnTo>
                <a:lnTo>
                  <a:pt x="131549" y="171368"/>
                </a:lnTo>
                <a:lnTo>
                  <a:pt x="131549" y="171210"/>
                </a:lnTo>
                <a:lnTo>
                  <a:pt x="131549" y="171052"/>
                </a:lnTo>
                <a:lnTo>
                  <a:pt x="131549" y="170999"/>
                </a:lnTo>
                <a:lnTo>
                  <a:pt x="131549" y="170840"/>
                </a:lnTo>
                <a:lnTo>
                  <a:pt x="131444" y="170629"/>
                </a:lnTo>
                <a:lnTo>
                  <a:pt x="131444" y="170471"/>
                </a:lnTo>
                <a:lnTo>
                  <a:pt x="131497" y="170418"/>
                </a:lnTo>
                <a:lnTo>
                  <a:pt x="131602" y="170365"/>
                </a:lnTo>
                <a:lnTo>
                  <a:pt x="131866" y="170365"/>
                </a:lnTo>
                <a:lnTo>
                  <a:pt x="131866" y="170523"/>
                </a:lnTo>
                <a:lnTo>
                  <a:pt x="131866" y="170682"/>
                </a:lnTo>
                <a:lnTo>
                  <a:pt x="131866" y="170787"/>
                </a:lnTo>
                <a:lnTo>
                  <a:pt x="131866" y="170946"/>
                </a:lnTo>
                <a:lnTo>
                  <a:pt x="131866" y="171052"/>
                </a:lnTo>
                <a:lnTo>
                  <a:pt x="131919" y="171157"/>
                </a:lnTo>
                <a:lnTo>
                  <a:pt x="131972" y="171263"/>
                </a:lnTo>
                <a:lnTo>
                  <a:pt x="132077" y="171263"/>
                </a:lnTo>
                <a:lnTo>
                  <a:pt x="132077" y="171210"/>
                </a:lnTo>
                <a:lnTo>
                  <a:pt x="132077" y="170840"/>
                </a:lnTo>
                <a:lnTo>
                  <a:pt x="132130" y="170735"/>
                </a:lnTo>
                <a:lnTo>
                  <a:pt x="132236" y="170629"/>
                </a:lnTo>
                <a:lnTo>
                  <a:pt x="132342" y="170523"/>
                </a:lnTo>
                <a:lnTo>
                  <a:pt x="132447" y="170523"/>
                </a:lnTo>
                <a:lnTo>
                  <a:pt x="132500" y="170682"/>
                </a:lnTo>
                <a:lnTo>
                  <a:pt x="132711" y="170312"/>
                </a:lnTo>
                <a:lnTo>
                  <a:pt x="132817" y="170259"/>
                </a:lnTo>
                <a:lnTo>
                  <a:pt x="133134" y="170207"/>
                </a:lnTo>
                <a:lnTo>
                  <a:pt x="133186" y="170207"/>
                </a:lnTo>
                <a:lnTo>
                  <a:pt x="133239" y="170101"/>
                </a:lnTo>
                <a:lnTo>
                  <a:pt x="133398" y="170101"/>
                </a:lnTo>
                <a:lnTo>
                  <a:pt x="133556" y="169995"/>
                </a:lnTo>
                <a:lnTo>
                  <a:pt x="133662" y="169995"/>
                </a:lnTo>
                <a:lnTo>
                  <a:pt x="133767" y="170048"/>
                </a:lnTo>
                <a:lnTo>
                  <a:pt x="133873" y="170207"/>
                </a:lnTo>
                <a:lnTo>
                  <a:pt x="133873" y="170259"/>
                </a:lnTo>
                <a:lnTo>
                  <a:pt x="133926" y="170259"/>
                </a:lnTo>
                <a:lnTo>
                  <a:pt x="133926" y="170154"/>
                </a:lnTo>
                <a:lnTo>
                  <a:pt x="133926" y="170101"/>
                </a:lnTo>
                <a:lnTo>
                  <a:pt x="133926" y="169995"/>
                </a:lnTo>
                <a:lnTo>
                  <a:pt x="133979" y="169943"/>
                </a:lnTo>
                <a:lnTo>
                  <a:pt x="134295" y="169943"/>
                </a:lnTo>
                <a:lnTo>
                  <a:pt x="134348" y="170048"/>
                </a:lnTo>
                <a:lnTo>
                  <a:pt x="134560" y="169520"/>
                </a:lnTo>
                <a:lnTo>
                  <a:pt x="134665" y="169256"/>
                </a:lnTo>
                <a:lnTo>
                  <a:pt x="134771" y="169256"/>
                </a:lnTo>
                <a:lnTo>
                  <a:pt x="134824" y="169414"/>
                </a:lnTo>
                <a:lnTo>
                  <a:pt x="134876" y="169467"/>
                </a:lnTo>
                <a:lnTo>
                  <a:pt x="134929" y="169467"/>
                </a:lnTo>
                <a:lnTo>
                  <a:pt x="134982" y="169362"/>
                </a:lnTo>
                <a:lnTo>
                  <a:pt x="135088" y="169362"/>
                </a:lnTo>
                <a:lnTo>
                  <a:pt x="135140" y="169414"/>
                </a:lnTo>
                <a:lnTo>
                  <a:pt x="135140" y="169467"/>
                </a:lnTo>
                <a:lnTo>
                  <a:pt x="135193" y="169573"/>
                </a:lnTo>
                <a:lnTo>
                  <a:pt x="135193" y="169626"/>
                </a:lnTo>
                <a:lnTo>
                  <a:pt x="135140" y="169626"/>
                </a:lnTo>
                <a:lnTo>
                  <a:pt x="135088" y="169678"/>
                </a:lnTo>
                <a:lnTo>
                  <a:pt x="135035" y="169678"/>
                </a:lnTo>
                <a:lnTo>
                  <a:pt x="135140" y="169731"/>
                </a:lnTo>
                <a:lnTo>
                  <a:pt x="135405" y="169731"/>
                </a:lnTo>
                <a:lnTo>
                  <a:pt x="135510" y="169626"/>
                </a:lnTo>
                <a:lnTo>
                  <a:pt x="135457" y="169573"/>
                </a:lnTo>
                <a:lnTo>
                  <a:pt x="135457" y="169520"/>
                </a:lnTo>
                <a:lnTo>
                  <a:pt x="135616" y="169467"/>
                </a:lnTo>
                <a:lnTo>
                  <a:pt x="135669" y="169414"/>
                </a:lnTo>
                <a:lnTo>
                  <a:pt x="135669" y="169256"/>
                </a:lnTo>
                <a:lnTo>
                  <a:pt x="135563" y="169150"/>
                </a:lnTo>
                <a:lnTo>
                  <a:pt x="135299" y="169150"/>
                </a:lnTo>
                <a:lnTo>
                  <a:pt x="135246" y="169045"/>
                </a:lnTo>
                <a:lnTo>
                  <a:pt x="135563" y="168886"/>
                </a:lnTo>
                <a:lnTo>
                  <a:pt x="135563" y="168728"/>
                </a:lnTo>
                <a:lnTo>
                  <a:pt x="135563" y="168622"/>
                </a:lnTo>
                <a:lnTo>
                  <a:pt x="135563" y="168569"/>
                </a:lnTo>
                <a:lnTo>
                  <a:pt x="135405" y="168517"/>
                </a:lnTo>
                <a:lnTo>
                  <a:pt x="135457" y="168411"/>
                </a:lnTo>
                <a:lnTo>
                  <a:pt x="135457" y="168358"/>
                </a:lnTo>
                <a:lnTo>
                  <a:pt x="135457" y="168253"/>
                </a:lnTo>
                <a:lnTo>
                  <a:pt x="135405" y="168147"/>
                </a:lnTo>
                <a:lnTo>
                  <a:pt x="135457" y="168094"/>
                </a:lnTo>
                <a:lnTo>
                  <a:pt x="135563" y="168147"/>
                </a:lnTo>
                <a:lnTo>
                  <a:pt x="135563" y="168305"/>
                </a:lnTo>
                <a:lnTo>
                  <a:pt x="135563" y="168464"/>
                </a:lnTo>
                <a:lnTo>
                  <a:pt x="135721" y="168411"/>
                </a:lnTo>
                <a:lnTo>
                  <a:pt x="135827" y="168253"/>
                </a:lnTo>
                <a:lnTo>
                  <a:pt x="135933" y="168094"/>
                </a:lnTo>
                <a:lnTo>
                  <a:pt x="136038" y="167989"/>
                </a:lnTo>
                <a:lnTo>
                  <a:pt x="135827" y="167883"/>
                </a:lnTo>
                <a:lnTo>
                  <a:pt x="135721" y="167830"/>
                </a:lnTo>
                <a:lnTo>
                  <a:pt x="135669" y="167725"/>
                </a:lnTo>
                <a:lnTo>
                  <a:pt x="136038" y="167777"/>
                </a:lnTo>
                <a:lnTo>
                  <a:pt x="136461" y="167777"/>
                </a:lnTo>
                <a:lnTo>
                  <a:pt x="136461" y="167883"/>
                </a:lnTo>
                <a:lnTo>
                  <a:pt x="136408" y="167936"/>
                </a:lnTo>
                <a:lnTo>
                  <a:pt x="136302" y="167989"/>
                </a:lnTo>
                <a:lnTo>
                  <a:pt x="136302" y="168094"/>
                </a:lnTo>
                <a:lnTo>
                  <a:pt x="136144" y="168094"/>
                </a:lnTo>
                <a:lnTo>
                  <a:pt x="136144" y="168147"/>
                </a:lnTo>
                <a:lnTo>
                  <a:pt x="136144" y="168358"/>
                </a:lnTo>
                <a:lnTo>
                  <a:pt x="135985" y="168411"/>
                </a:lnTo>
                <a:lnTo>
                  <a:pt x="135933" y="168517"/>
                </a:lnTo>
                <a:lnTo>
                  <a:pt x="135933" y="168675"/>
                </a:lnTo>
                <a:lnTo>
                  <a:pt x="136038" y="168728"/>
                </a:lnTo>
                <a:lnTo>
                  <a:pt x="136038" y="168781"/>
                </a:lnTo>
                <a:lnTo>
                  <a:pt x="135933" y="168834"/>
                </a:lnTo>
                <a:lnTo>
                  <a:pt x="135933" y="168939"/>
                </a:lnTo>
                <a:lnTo>
                  <a:pt x="135933" y="169045"/>
                </a:lnTo>
                <a:lnTo>
                  <a:pt x="136038" y="169045"/>
                </a:lnTo>
                <a:lnTo>
                  <a:pt x="136091" y="168992"/>
                </a:lnTo>
                <a:lnTo>
                  <a:pt x="136355" y="168886"/>
                </a:lnTo>
                <a:lnTo>
                  <a:pt x="136355" y="168939"/>
                </a:lnTo>
                <a:lnTo>
                  <a:pt x="136091" y="169150"/>
                </a:lnTo>
                <a:lnTo>
                  <a:pt x="136144" y="169256"/>
                </a:lnTo>
                <a:lnTo>
                  <a:pt x="136249" y="169362"/>
                </a:lnTo>
                <a:lnTo>
                  <a:pt x="136355" y="169414"/>
                </a:lnTo>
                <a:lnTo>
                  <a:pt x="136461" y="169414"/>
                </a:lnTo>
                <a:lnTo>
                  <a:pt x="136408" y="169309"/>
                </a:lnTo>
                <a:lnTo>
                  <a:pt x="136408" y="169203"/>
                </a:lnTo>
                <a:lnTo>
                  <a:pt x="136408" y="168992"/>
                </a:lnTo>
                <a:lnTo>
                  <a:pt x="136461" y="168992"/>
                </a:lnTo>
                <a:lnTo>
                  <a:pt x="136514" y="169045"/>
                </a:lnTo>
                <a:lnTo>
                  <a:pt x="136619" y="169203"/>
                </a:lnTo>
                <a:lnTo>
                  <a:pt x="136725" y="169256"/>
                </a:lnTo>
                <a:lnTo>
                  <a:pt x="136778" y="169256"/>
                </a:lnTo>
                <a:lnTo>
                  <a:pt x="136778" y="169150"/>
                </a:lnTo>
                <a:lnTo>
                  <a:pt x="136725" y="168992"/>
                </a:lnTo>
                <a:lnTo>
                  <a:pt x="136619" y="168886"/>
                </a:lnTo>
                <a:lnTo>
                  <a:pt x="136619" y="168939"/>
                </a:lnTo>
                <a:lnTo>
                  <a:pt x="136514" y="168992"/>
                </a:lnTo>
                <a:lnTo>
                  <a:pt x="136461" y="168939"/>
                </a:lnTo>
                <a:lnTo>
                  <a:pt x="136461" y="168781"/>
                </a:lnTo>
                <a:lnTo>
                  <a:pt x="136566" y="168675"/>
                </a:lnTo>
                <a:lnTo>
                  <a:pt x="136461" y="168517"/>
                </a:lnTo>
                <a:lnTo>
                  <a:pt x="136408" y="168411"/>
                </a:lnTo>
                <a:lnTo>
                  <a:pt x="136408" y="168358"/>
                </a:lnTo>
                <a:lnTo>
                  <a:pt x="136672" y="168358"/>
                </a:lnTo>
                <a:lnTo>
                  <a:pt x="136672" y="168464"/>
                </a:lnTo>
                <a:lnTo>
                  <a:pt x="136672" y="168569"/>
                </a:lnTo>
                <a:lnTo>
                  <a:pt x="136725" y="168728"/>
                </a:lnTo>
                <a:lnTo>
                  <a:pt x="136830" y="168622"/>
                </a:lnTo>
                <a:lnTo>
                  <a:pt x="136830" y="168464"/>
                </a:lnTo>
                <a:lnTo>
                  <a:pt x="136725" y="168305"/>
                </a:lnTo>
                <a:lnTo>
                  <a:pt x="136672" y="168147"/>
                </a:lnTo>
                <a:lnTo>
                  <a:pt x="136830" y="168147"/>
                </a:lnTo>
                <a:lnTo>
                  <a:pt x="136778" y="168041"/>
                </a:lnTo>
                <a:lnTo>
                  <a:pt x="136778" y="167883"/>
                </a:lnTo>
                <a:lnTo>
                  <a:pt x="136830" y="167725"/>
                </a:lnTo>
                <a:lnTo>
                  <a:pt x="136883" y="167725"/>
                </a:lnTo>
                <a:lnTo>
                  <a:pt x="136883" y="167830"/>
                </a:lnTo>
                <a:lnTo>
                  <a:pt x="136883" y="167989"/>
                </a:lnTo>
                <a:lnTo>
                  <a:pt x="136883" y="168147"/>
                </a:lnTo>
                <a:lnTo>
                  <a:pt x="136989" y="168200"/>
                </a:lnTo>
                <a:lnTo>
                  <a:pt x="137042" y="167989"/>
                </a:lnTo>
                <a:lnTo>
                  <a:pt x="137200" y="167936"/>
                </a:lnTo>
                <a:lnTo>
                  <a:pt x="137358" y="167936"/>
                </a:lnTo>
                <a:lnTo>
                  <a:pt x="137464" y="167883"/>
                </a:lnTo>
                <a:lnTo>
                  <a:pt x="137411" y="167830"/>
                </a:lnTo>
                <a:lnTo>
                  <a:pt x="137464" y="167777"/>
                </a:lnTo>
                <a:lnTo>
                  <a:pt x="137675" y="167777"/>
                </a:lnTo>
                <a:lnTo>
                  <a:pt x="137675" y="167725"/>
                </a:lnTo>
                <a:lnTo>
                  <a:pt x="137781" y="167619"/>
                </a:lnTo>
                <a:lnTo>
                  <a:pt x="137834" y="167566"/>
                </a:lnTo>
                <a:lnTo>
                  <a:pt x="137887" y="167513"/>
                </a:lnTo>
                <a:lnTo>
                  <a:pt x="137887" y="167460"/>
                </a:lnTo>
                <a:lnTo>
                  <a:pt x="137887" y="167408"/>
                </a:lnTo>
                <a:lnTo>
                  <a:pt x="137939" y="167355"/>
                </a:lnTo>
                <a:lnTo>
                  <a:pt x="138098" y="167302"/>
                </a:lnTo>
                <a:lnTo>
                  <a:pt x="137939" y="167196"/>
                </a:lnTo>
                <a:lnTo>
                  <a:pt x="137834" y="167302"/>
                </a:lnTo>
                <a:lnTo>
                  <a:pt x="137675" y="167460"/>
                </a:lnTo>
                <a:lnTo>
                  <a:pt x="137411" y="167619"/>
                </a:lnTo>
                <a:lnTo>
                  <a:pt x="137306" y="167725"/>
                </a:lnTo>
                <a:lnTo>
                  <a:pt x="137147" y="167830"/>
                </a:lnTo>
                <a:lnTo>
                  <a:pt x="137042" y="167777"/>
                </a:lnTo>
                <a:lnTo>
                  <a:pt x="137306" y="167672"/>
                </a:lnTo>
                <a:lnTo>
                  <a:pt x="137306" y="167619"/>
                </a:lnTo>
                <a:lnTo>
                  <a:pt x="137094" y="167460"/>
                </a:lnTo>
                <a:lnTo>
                  <a:pt x="137042" y="167513"/>
                </a:lnTo>
                <a:lnTo>
                  <a:pt x="136989" y="167566"/>
                </a:lnTo>
                <a:lnTo>
                  <a:pt x="136883" y="167619"/>
                </a:lnTo>
                <a:lnTo>
                  <a:pt x="136936" y="167513"/>
                </a:lnTo>
                <a:lnTo>
                  <a:pt x="136989" y="167460"/>
                </a:lnTo>
                <a:lnTo>
                  <a:pt x="136989" y="167408"/>
                </a:lnTo>
                <a:lnTo>
                  <a:pt x="136989" y="167302"/>
                </a:lnTo>
                <a:lnTo>
                  <a:pt x="137042" y="167302"/>
                </a:lnTo>
                <a:lnTo>
                  <a:pt x="137147" y="167355"/>
                </a:lnTo>
                <a:lnTo>
                  <a:pt x="137253" y="167355"/>
                </a:lnTo>
                <a:lnTo>
                  <a:pt x="137411" y="167302"/>
                </a:lnTo>
                <a:lnTo>
                  <a:pt x="137570" y="167249"/>
                </a:lnTo>
                <a:lnTo>
                  <a:pt x="137675" y="167144"/>
                </a:lnTo>
                <a:lnTo>
                  <a:pt x="137781" y="167038"/>
                </a:lnTo>
                <a:lnTo>
                  <a:pt x="137887" y="166932"/>
                </a:lnTo>
                <a:lnTo>
                  <a:pt x="137781" y="166827"/>
                </a:lnTo>
                <a:lnTo>
                  <a:pt x="137623" y="166721"/>
                </a:lnTo>
                <a:lnTo>
                  <a:pt x="137358" y="166668"/>
                </a:lnTo>
                <a:lnTo>
                  <a:pt x="137253" y="166615"/>
                </a:lnTo>
                <a:lnTo>
                  <a:pt x="137094" y="166668"/>
                </a:lnTo>
                <a:lnTo>
                  <a:pt x="136883" y="166827"/>
                </a:lnTo>
                <a:lnTo>
                  <a:pt x="136883" y="166721"/>
                </a:lnTo>
                <a:lnTo>
                  <a:pt x="136883" y="166668"/>
                </a:lnTo>
                <a:lnTo>
                  <a:pt x="136778" y="166668"/>
                </a:lnTo>
                <a:lnTo>
                  <a:pt x="136725" y="166721"/>
                </a:lnTo>
                <a:lnTo>
                  <a:pt x="136725" y="166457"/>
                </a:lnTo>
                <a:lnTo>
                  <a:pt x="136619" y="166457"/>
                </a:lnTo>
                <a:lnTo>
                  <a:pt x="136249" y="166774"/>
                </a:lnTo>
                <a:lnTo>
                  <a:pt x="136197" y="166827"/>
                </a:lnTo>
                <a:lnTo>
                  <a:pt x="136197" y="166932"/>
                </a:lnTo>
                <a:lnTo>
                  <a:pt x="136197" y="167038"/>
                </a:lnTo>
                <a:lnTo>
                  <a:pt x="136197" y="167091"/>
                </a:lnTo>
                <a:lnTo>
                  <a:pt x="136249" y="167144"/>
                </a:lnTo>
                <a:lnTo>
                  <a:pt x="136302" y="167249"/>
                </a:lnTo>
                <a:lnTo>
                  <a:pt x="136302" y="167249"/>
                </a:lnTo>
                <a:lnTo>
                  <a:pt x="135880" y="167196"/>
                </a:lnTo>
                <a:lnTo>
                  <a:pt x="135774" y="167091"/>
                </a:lnTo>
                <a:lnTo>
                  <a:pt x="135827" y="166827"/>
                </a:lnTo>
                <a:lnTo>
                  <a:pt x="135933" y="166721"/>
                </a:lnTo>
                <a:lnTo>
                  <a:pt x="136091" y="166563"/>
                </a:lnTo>
                <a:lnTo>
                  <a:pt x="136249" y="166457"/>
                </a:lnTo>
                <a:lnTo>
                  <a:pt x="136408" y="166457"/>
                </a:lnTo>
                <a:lnTo>
                  <a:pt x="136355" y="166351"/>
                </a:lnTo>
                <a:lnTo>
                  <a:pt x="136355" y="166299"/>
                </a:lnTo>
                <a:lnTo>
                  <a:pt x="136461" y="166193"/>
                </a:lnTo>
                <a:lnTo>
                  <a:pt x="136619" y="165982"/>
                </a:lnTo>
                <a:lnTo>
                  <a:pt x="136725" y="165876"/>
                </a:lnTo>
                <a:lnTo>
                  <a:pt x="136778" y="165771"/>
                </a:lnTo>
                <a:lnTo>
                  <a:pt x="136830" y="165665"/>
                </a:lnTo>
                <a:lnTo>
                  <a:pt x="136883" y="165612"/>
                </a:lnTo>
                <a:lnTo>
                  <a:pt x="137200" y="165401"/>
                </a:lnTo>
                <a:lnTo>
                  <a:pt x="137306" y="165401"/>
                </a:lnTo>
                <a:lnTo>
                  <a:pt x="137464" y="165454"/>
                </a:lnTo>
                <a:lnTo>
                  <a:pt x="137517" y="165454"/>
                </a:lnTo>
                <a:lnTo>
                  <a:pt x="137570" y="165506"/>
                </a:lnTo>
                <a:lnTo>
                  <a:pt x="137623" y="165506"/>
                </a:lnTo>
                <a:lnTo>
                  <a:pt x="137781" y="165454"/>
                </a:lnTo>
                <a:lnTo>
                  <a:pt x="138045" y="165454"/>
                </a:lnTo>
                <a:lnTo>
                  <a:pt x="138151" y="165401"/>
                </a:lnTo>
                <a:lnTo>
                  <a:pt x="138203" y="165242"/>
                </a:lnTo>
                <a:lnTo>
                  <a:pt x="138203" y="165137"/>
                </a:lnTo>
                <a:lnTo>
                  <a:pt x="138098" y="165190"/>
                </a:lnTo>
                <a:lnTo>
                  <a:pt x="138045" y="165137"/>
                </a:lnTo>
                <a:lnTo>
                  <a:pt x="138045" y="165031"/>
                </a:lnTo>
                <a:lnTo>
                  <a:pt x="138098" y="164978"/>
                </a:lnTo>
                <a:lnTo>
                  <a:pt x="138256" y="164978"/>
                </a:lnTo>
                <a:lnTo>
                  <a:pt x="138520" y="165031"/>
                </a:lnTo>
                <a:lnTo>
                  <a:pt x="139048" y="165242"/>
                </a:lnTo>
                <a:lnTo>
                  <a:pt x="139312" y="165295"/>
                </a:lnTo>
                <a:lnTo>
                  <a:pt x="139365" y="165295"/>
                </a:lnTo>
                <a:lnTo>
                  <a:pt x="139471" y="165190"/>
                </a:lnTo>
                <a:lnTo>
                  <a:pt x="139524" y="165084"/>
                </a:lnTo>
                <a:lnTo>
                  <a:pt x="139524" y="164978"/>
                </a:lnTo>
                <a:lnTo>
                  <a:pt x="139524" y="164926"/>
                </a:lnTo>
                <a:lnTo>
                  <a:pt x="139524" y="164820"/>
                </a:lnTo>
                <a:lnTo>
                  <a:pt x="139524" y="164662"/>
                </a:lnTo>
                <a:lnTo>
                  <a:pt x="139471" y="164556"/>
                </a:lnTo>
                <a:lnTo>
                  <a:pt x="138996" y="164556"/>
                </a:lnTo>
                <a:lnTo>
                  <a:pt x="138467" y="164820"/>
                </a:lnTo>
                <a:lnTo>
                  <a:pt x="138203" y="164926"/>
                </a:lnTo>
                <a:lnTo>
                  <a:pt x="138203" y="164767"/>
                </a:lnTo>
                <a:lnTo>
                  <a:pt x="138256" y="164609"/>
                </a:lnTo>
                <a:lnTo>
                  <a:pt x="138309" y="164556"/>
                </a:lnTo>
                <a:lnTo>
                  <a:pt x="138415" y="164503"/>
                </a:lnTo>
                <a:lnTo>
                  <a:pt x="138520" y="164503"/>
                </a:lnTo>
                <a:lnTo>
                  <a:pt x="138520" y="164450"/>
                </a:lnTo>
                <a:lnTo>
                  <a:pt x="138520" y="164397"/>
                </a:lnTo>
                <a:lnTo>
                  <a:pt x="138520" y="164345"/>
                </a:lnTo>
                <a:lnTo>
                  <a:pt x="138784" y="164292"/>
                </a:lnTo>
                <a:lnTo>
                  <a:pt x="138890" y="164239"/>
                </a:lnTo>
                <a:lnTo>
                  <a:pt x="139048" y="163975"/>
                </a:lnTo>
                <a:lnTo>
                  <a:pt x="139101" y="163869"/>
                </a:lnTo>
                <a:lnTo>
                  <a:pt x="139471" y="163869"/>
                </a:lnTo>
                <a:lnTo>
                  <a:pt x="139524" y="163817"/>
                </a:lnTo>
                <a:lnTo>
                  <a:pt x="139576" y="163764"/>
                </a:lnTo>
                <a:lnTo>
                  <a:pt x="139735" y="163658"/>
                </a:lnTo>
                <a:lnTo>
                  <a:pt x="139893" y="163605"/>
                </a:lnTo>
                <a:lnTo>
                  <a:pt x="139999" y="163658"/>
                </a:lnTo>
                <a:lnTo>
                  <a:pt x="140157" y="164028"/>
                </a:lnTo>
                <a:lnTo>
                  <a:pt x="140263" y="164133"/>
                </a:lnTo>
                <a:lnTo>
                  <a:pt x="140369" y="164239"/>
                </a:lnTo>
                <a:lnTo>
                  <a:pt x="140527" y="164239"/>
                </a:lnTo>
                <a:lnTo>
                  <a:pt x="140633" y="164133"/>
                </a:lnTo>
                <a:lnTo>
                  <a:pt x="140791" y="164028"/>
                </a:lnTo>
                <a:lnTo>
                  <a:pt x="141108" y="164133"/>
                </a:lnTo>
                <a:lnTo>
                  <a:pt x="141266" y="164133"/>
                </a:lnTo>
                <a:lnTo>
                  <a:pt x="141319" y="164081"/>
                </a:lnTo>
                <a:lnTo>
                  <a:pt x="141372" y="164028"/>
                </a:lnTo>
                <a:lnTo>
                  <a:pt x="141372" y="163922"/>
                </a:lnTo>
                <a:lnTo>
                  <a:pt x="141372" y="163869"/>
                </a:lnTo>
                <a:lnTo>
                  <a:pt x="141266" y="163711"/>
                </a:lnTo>
                <a:lnTo>
                  <a:pt x="141266" y="163658"/>
                </a:lnTo>
                <a:lnTo>
                  <a:pt x="141055" y="163658"/>
                </a:lnTo>
                <a:lnTo>
                  <a:pt x="140950" y="163605"/>
                </a:lnTo>
                <a:lnTo>
                  <a:pt x="140897" y="163447"/>
                </a:lnTo>
                <a:lnTo>
                  <a:pt x="140844" y="163500"/>
                </a:lnTo>
                <a:lnTo>
                  <a:pt x="140844" y="163447"/>
                </a:lnTo>
                <a:lnTo>
                  <a:pt x="140844" y="163341"/>
                </a:lnTo>
                <a:lnTo>
                  <a:pt x="140791" y="163341"/>
                </a:lnTo>
                <a:lnTo>
                  <a:pt x="140738" y="163288"/>
                </a:lnTo>
                <a:lnTo>
                  <a:pt x="140738" y="163236"/>
                </a:lnTo>
                <a:lnTo>
                  <a:pt x="140897" y="163341"/>
                </a:lnTo>
                <a:lnTo>
                  <a:pt x="140950" y="163183"/>
                </a:lnTo>
                <a:lnTo>
                  <a:pt x="141055" y="163024"/>
                </a:lnTo>
                <a:lnTo>
                  <a:pt x="141161" y="162919"/>
                </a:lnTo>
                <a:lnTo>
                  <a:pt x="141425" y="162972"/>
                </a:lnTo>
                <a:lnTo>
                  <a:pt x="141478" y="162972"/>
                </a:lnTo>
                <a:lnTo>
                  <a:pt x="141478" y="162919"/>
                </a:lnTo>
                <a:lnTo>
                  <a:pt x="141478" y="162866"/>
                </a:lnTo>
                <a:lnTo>
                  <a:pt x="141530" y="162866"/>
                </a:lnTo>
                <a:lnTo>
                  <a:pt x="141530" y="162813"/>
                </a:lnTo>
                <a:lnTo>
                  <a:pt x="141530" y="162708"/>
                </a:lnTo>
                <a:lnTo>
                  <a:pt x="141530" y="162602"/>
                </a:lnTo>
                <a:lnTo>
                  <a:pt x="141478" y="162549"/>
                </a:lnTo>
                <a:lnTo>
                  <a:pt x="141425" y="162496"/>
                </a:lnTo>
                <a:lnTo>
                  <a:pt x="141372" y="162496"/>
                </a:lnTo>
                <a:lnTo>
                  <a:pt x="141319" y="162444"/>
                </a:lnTo>
                <a:lnTo>
                  <a:pt x="141319" y="162338"/>
                </a:lnTo>
                <a:lnTo>
                  <a:pt x="141319" y="162232"/>
                </a:lnTo>
                <a:lnTo>
                  <a:pt x="141319" y="162179"/>
                </a:lnTo>
                <a:lnTo>
                  <a:pt x="141372" y="162127"/>
                </a:lnTo>
                <a:lnTo>
                  <a:pt x="141478" y="162021"/>
                </a:lnTo>
                <a:lnTo>
                  <a:pt x="141636" y="162074"/>
                </a:lnTo>
                <a:lnTo>
                  <a:pt x="141742" y="162127"/>
                </a:lnTo>
                <a:lnTo>
                  <a:pt x="142006" y="162496"/>
                </a:lnTo>
                <a:lnTo>
                  <a:pt x="142111" y="162602"/>
                </a:lnTo>
                <a:lnTo>
                  <a:pt x="142323" y="162655"/>
                </a:lnTo>
                <a:lnTo>
                  <a:pt x="142428" y="162760"/>
                </a:lnTo>
                <a:lnTo>
                  <a:pt x="142587" y="162760"/>
                </a:lnTo>
                <a:lnTo>
                  <a:pt x="142692" y="162655"/>
                </a:lnTo>
                <a:lnTo>
                  <a:pt x="142745" y="162444"/>
                </a:lnTo>
                <a:lnTo>
                  <a:pt x="142692" y="162285"/>
                </a:lnTo>
                <a:lnTo>
                  <a:pt x="142587" y="162179"/>
                </a:lnTo>
                <a:lnTo>
                  <a:pt x="142587" y="162127"/>
                </a:lnTo>
                <a:lnTo>
                  <a:pt x="142692" y="162074"/>
                </a:lnTo>
                <a:lnTo>
                  <a:pt x="142956" y="162285"/>
                </a:lnTo>
                <a:lnTo>
                  <a:pt x="143062" y="162338"/>
                </a:lnTo>
                <a:lnTo>
                  <a:pt x="143115" y="162232"/>
                </a:lnTo>
                <a:lnTo>
                  <a:pt x="143273" y="161863"/>
                </a:lnTo>
                <a:lnTo>
                  <a:pt x="143326" y="161810"/>
                </a:lnTo>
                <a:lnTo>
                  <a:pt x="143537" y="161651"/>
                </a:lnTo>
                <a:lnTo>
                  <a:pt x="143696" y="161651"/>
                </a:lnTo>
                <a:lnTo>
                  <a:pt x="143801" y="161599"/>
                </a:lnTo>
                <a:lnTo>
                  <a:pt x="143801" y="161546"/>
                </a:lnTo>
                <a:lnTo>
                  <a:pt x="143801" y="161493"/>
                </a:lnTo>
                <a:lnTo>
                  <a:pt x="143801" y="161440"/>
                </a:lnTo>
                <a:lnTo>
                  <a:pt x="143801" y="161387"/>
                </a:lnTo>
                <a:lnTo>
                  <a:pt x="143801" y="161282"/>
                </a:lnTo>
                <a:lnTo>
                  <a:pt x="143801" y="161176"/>
                </a:lnTo>
                <a:lnTo>
                  <a:pt x="143748" y="161070"/>
                </a:lnTo>
                <a:lnTo>
                  <a:pt x="143801" y="161070"/>
                </a:lnTo>
                <a:lnTo>
                  <a:pt x="143907" y="161123"/>
                </a:lnTo>
                <a:lnTo>
                  <a:pt x="144013" y="161229"/>
                </a:lnTo>
                <a:lnTo>
                  <a:pt x="144118" y="161282"/>
                </a:lnTo>
                <a:lnTo>
                  <a:pt x="144329" y="161704"/>
                </a:lnTo>
                <a:lnTo>
                  <a:pt x="144435" y="161757"/>
                </a:lnTo>
                <a:lnTo>
                  <a:pt x="144488" y="161704"/>
                </a:lnTo>
                <a:lnTo>
                  <a:pt x="144541" y="161546"/>
                </a:lnTo>
                <a:lnTo>
                  <a:pt x="144593" y="161387"/>
                </a:lnTo>
                <a:lnTo>
                  <a:pt x="144593" y="161282"/>
                </a:lnTo>
                <a:lnTo>
                  <a:pt x="144593" y="161176"/>
                </a:lnTo>
                <a:lnTo>
                  <a:pt x="144593" y="161070"/>
                </a:lnTo>
                <a:lnTo>
                  <a:pt x="144593" y="161018"/>
                </a:lnTo>
                <a:lnTo>
                  <a:pt x="144646" y="161018"/>
                </a:lnTo>
                <a:lnTo>
                  <a:pt x="144646" y="160965"/>
                </a:lnTo>
                <a:lnTo>
                  <a:pt x="144646" y="160859"/>
                </a:lnTo>
                <a:lnTo>
                  <a:pt x="144646" y="160806"/>
                </a:lnTo>
                <a:lnTo>
                  <a:pt x="144593" y="160754"/>
                </a:lnTo>
                <a:lnTo>
                  <a:pt x="144541" y="160701"/>
                </a:lnTo>
                <a:lnTo>
                  <a:pt x="144541" y="160648"/>
                </a:lnTo>
                <a:lnTo>
                  <a:pt x="144541" y="160595"/>
                </a:lnTo>
                <a:lnTo>
                  <a:pt x="144541" y="160542"/>
                </a:lnTo>
                <a:lnTo>
                  <a:pt x="144541" y="160490"/>
                </a:lnTo>
                <a:lnTo>
                  <a:pt x="144593" y="160490"/>
                </a:lnTo>
                <a:lnTo>
                  <a:pt x="144805" y="160542"/>
                </a:lnTo>
                <a:lnTo>
                  <a:pt x="144857" y="160595"/>
                </a:lnTo>
                <a:lnTo>
                  <a:pt x="144910" y="160648"/>
                </a:lnTo>
                <a:lnTo>
                  <a:pt x="144963" y="160806"/>
                </a:lnTo>
                <a:lnTo>
                  <a:pt x="144963" y="160859"/>
                </a:lnTo>
                <a:lnTo>
                  <a:pt x="145069" y="160859"/>
                </a:lnTo>
                <a:lnTo>
                  <a:pt x="145491" y="161018"/>
                </a:lnTo>
                <a:lnTo>
                  <a:pt x="145597" y="161018"/>
                </a:lnTo>
                <a:lnTo>
                  <a:pt x="145544" y="160806"/>
                </a:lnTo>
                <a:lnTo>
                  <a:pt x="145174" y="160331"/>
                </a:lnTo>
                <a:lnTo>
                  <a:pt x="145227" y="160331"/>
                </a:lnTo>
                <a:lnTo>
                  <a:pt x="145227" y="160225"/>
                </a:lnTo>
                <a:lnTo>
                  <a:pt x="145227" y="160173"/>
                </a:lnTo>
                <a:lnTo>
                  <a:pt x="145386" y="160331"/>
                </a:lnTo>
                <a:lnTo>
                  <a:pt x="145491" y="160384"/>
                </a:lnTo>
                <a:lnTo>
                  <a:pt x="145702" y="160384"/>
                </a:lnTo>
                <a:lnTo>
                  <a:pt x="145808" y="160331"/>
                </a:lnTo>
                <a:lnTo>
                  <a:pt x="145808" y="160225"/>
                </a:lnTo>
                <a:lnTo>
                  <a:pt x="145808" y="160014"/>
                </a:lnTo>
                <a:lnTo>
                  <a:pt x="145861" y="160067"/>
                </a:lnTo>
                <a:lnTo>
                  <a:pt x="145966" y="160014"/>
                </a:lnTo>
                <a:lnTo>
                  <a:pt x="145861" y="159909"/>
                </a:lnTo>
                <a:lnTo>
                  <a:pt x="145808" y="159750"/>
                </a:lnTo>
                <a:lnTo>
                  <a:pt x="145914" y="159697"/>
                </a:lnTo>
                <a:lnTo>
                  <a:pt x="146336" y="159539"/>
                </a:lnTo>
                <a:lnTo>
                  <a:pt x="146442" y="159328"/>
                </a:lnTo>
                <a:lnTo>
                  <a:pt x="146442" y="159275"/>
                </a:lnTo>
                <a:lnTo>
                  <a:pt x="146442" y="159222"/>
                </a:lnTo>
                <a:lnTo>
                  <a:pt x="146442" y="159169"/>
                </a:lnTo>
                <a:lnTo>
                  <a:pt x="146283" y="159169"/>
                </a:lnTo>
                <a:lnTo>
                  <a:pt x="146283" y="159116"/>
                </a:lnTo>
                <a:lnTo>
                  <a:pt x="146231" y="159011"/>
                </a:lnTo>
                <a:lnTo>
                  <a:pt x="146178" y="158958"/>
                </a:lnTo>
                <a:lnTo>
                  <a:pt x="145966" y="158958"/>
                </a:lnTo>
                <a:lnTo>
                  <a:pt x="145966" y="158852"/>
                </a:lnTo>
                <a:lnTo>
                  <a:pt x="146283" y="158800"/>
                </a:lnTo>
                <a:lnTo>
                  <a:pt x="146389" y="158694"/>
                </a:lnTo>
                <a:lnTo>
                  <a:pt x="146442" y="158483"/>
                </a:lnTo>
                <a:lnTo>
                  <a:pt x="146442" y="158377"/>
                </a:lnTo>
                <a:lnTo>
                  <a:pt x="146389" y="158272"/>
                </a:lnTo>
                <a:lnTo>
                  <a:pt x="146389" y="158166"/>
                </a:lnTo>
                <a:lnTo>
                  <a:pt x="146178" y="158166"/>
                </a:lnTo>
                <a:lnTo>
                  <a:pt x="145491" y="158483"/>
                </a:lnTo>
                <a:lnTo>
                  <a:pt x="145438" y="158483"/>
                </a:lnTo>
                <a:lnTo>
                  <a:pt x="145438" y="158272"/>
                </a:lnTo>
                <a:lnTo>
                  <a:pt x="145491" y="158113"/>
                </a:lnTo>
                <a:lnTo>
                  <a:pt x="145597" y="158060"/>
                </a:lnTo>
                <a:lnTo>
                  <a:pt x="145702" y="158007"/>
                </a:lnTo>
                <a:lnTo>
                  <a:pt x="145808" y="158007"/>
                </a:lnTo>
                <a:lnTo>
                  <a:pt x="146442" y="157321"/>
                </a:lnTo>
                <a:lnTo>
                  <a:pt x="146600" y="157268"/>
                </a:lnTo>
                <a:lnTo>
                  <a:pt x="146759" y="157215"/>
                </a:lnTo>
                <a:lnTo>
                  <a:pt x="146917" y="157163"/>
                </a:lnTo>
                <a:lnTo>
                  <a:pt x="146970" y="157110"/>
                </a:lnTo>
                <a:lnTo>
                  <a:pt x="146970" y="156951"/>
                </a:lnTo>
                <a:lnTo>
                  <a:pt x="146970" y="156846"/>
                </a:lnTo>
                <a:lnTo>
                  <a:pt x="147023" y="156793"/>
                </a:lnTo>
                <a:lnTo>
                  <a:pt x="147234" y="156793"/>
                </a:lnTo>
                <a:lnTo>
                  <a:pt x="147498" y="157004"/>
                </a:lnTo>
                <a:lnTo>
                  <a:pt x="147762" y="157163"/>
                </a:lnTo>
                <a:lnTo>
                  <a:pt x="147920" y="156951"/>
                </a:lnTo>
                <a:lnTo>
                  <a:pt x="147868" y="156898"/>
                </a:lnTo>
                <a:lnTo>
                  <a:pt x="147868" y="156793"/>
                </a:lnTo>
                <a:lnTo>
                  <a:pt x="147868" y="156476"/>
                </a:lnTo>
                <a:lnTo>
                  <a:pt x="147815" y="156423"/>
                </a:lnTo>
                <a:lnTo>
                  <a:pt x="147656" y="156423"/>
                </a:lnTo>
                <a:lnTo>
                  <a:pt x="147551" y="156318"/>
                </a:lnTo>
                <a:lnTo>
                  <a:pt x="147656" y="156265"/>
                </a:lnTo>
                <a:lnTo>
                  <a:pt x="147973" y="156318"/>
                </a:lnTo>
                <a:lnTo>
                  <a:pt x="147973" y="156265"/>
                </a:lnTo>
                <a:lnTo>
                  <a:pt x="147920" y="156106"/>
                </a:lnTo>
                <a:lnTo>
                  <a:pt x="147920" y="155948"/>
                </a:lnTo>
                <a:lnTo>
                  <a:pt x="147973" y="155895"/>
                </a:lnTo>
                <a:lnTo>
                  <a:pt x="148184" y="156159"/>
                </a:lnTo>
                <a:lnTo>
                  <a:pt x="148290" y="156265"/>
                </a:lnTo>
                <a:lnTo>
                  <a:pt x="148449" y="156265"/>
                </a:lnTo>
                <a:lnTo>
                  <a:pt x="148501" y="156106"/>
                </a:lnTo>
                <a:lnTo>
                  <a:pt x="148501" y="156053"/>
                </a:lnTo>
                <a:lnTo>
                  <a:pt x="148765" y="156053"/>
                </a:lnTo>
                <a:lnTo>
                  <a:pt x="148871" y="155895"/>
                </a:lnTo>
                <a:lnTo>
                  <a:pt x="148924" y="155948"/>
                </a:lnTo>
                <a:lnTo>
                  <a:pt x="148924" y="156053"/>
                </a:lnTo>
                <a:lnTo>
                  <a:pt x="148924" y="156106"/>
                </a:lnTo>
                <a:lnTo>
                  <a:pt x="148924" y="156159"/>
                </a:lnTo>
                <a:lnTo>
                  <a:pt x="148977" y="156212"/>
                </a:lnTo>
                <a:lnTo>
                  <a:pt x="149188" y="156159"/>
                </a:lnTo>
                <a:lnTo>
                  <a:pt x="149241" y="156106"/>
                </a:lnTo>
                <a:lnTo>
                  <a:pt x="149241" y="155948"/>
                </a:lnTo>
                <a:lnTo>
                  <a:pt x="149241" y="155789"/>
                </a:lnTo>
                <a:lnTo>
                  <a:pt x="149188" y="155684"/>
                </a:lnTo>
                <a:lnTo>
                  <a:pt x="149188" y="155631"/>
                </a:lnTo>
                <a:lnTo>
                  <a:pt x="149188" y="155578"/>
                </a:lnTo>
                <a:lnTo>
                  <a:pt x="149188" y="155473"/>
                </a:lnTo>
                <a:lnTo>
                  <a:pt x="149082" y="155420"/>
                </a:lnTo>
                <a:lnTo>
                  <a:pt x="149029" y="155314"/>
                </a:lnTo>
                <a:lnTo>
                  <a:pt x="149346" y="155314"/>
                </a:lnTo>
                <a:lnTo>
                  <a:pt x="149769" y="155156"/>
                </a:lnTo>
                <a:lnTo>
                  <a:pt x="149874" y="155050"/>
                </a:lnTo>
                <a:lnTo>
                  <a:pt x="149874" y="154944"/>
                </a:lnTo>
                <a:lnTo>
                  <a:pt x="149716" y="154786"/>
                </a:lnTo>
                <a:lnTo>
                  <a:pt x="149663" y="154628"/>
                </a:lnTo>
                <a:lnTo>
                  <a:pt x="149663" y="154469"/>
                </a:lnTo>
                <a:lnTo>
                  <a:pt x="149716" y="154311"/>
                </a:lnTo>
                <a:lnTo>
                  <a:pt x="149769" y="154152"/>
                </a:lnTo>
                <a:lnTo>
                  <a:pt x="149822" y="154047"/>
                </a:lnTo>
                <a:lnTo>
                  <a:pt x="149927" y="153941"/>
                </a:lnTo>
                <a:lnTo>
                  <a:pt x="150086" y="154047"/>
                </a:lnTo>
                <a:lnTo>
                  <a:pt x="150191" y="154205"/>
                </a:lnTo>
                <a:lnTo>
                  <a:pt x="150297" y="154258"/>
                </a:lnTo>
                <a:lnTo>
                  <a:pt x="150350" y="154258"/>
                </a:lnTo>
                <a:lnTo>
                  <a:pt x="150614" y="154416"/>
                </a:lnTo>
                <a:lnTo>
                  <a:pt x="150772" y="154575"/>
                </a:lnTo>
                <a:lnTo>
                  <a:pt x="151353" y="154575"/>
                </a:lnTo>
                <a:lnTo>
                  <a:pt x="151459" y="154522"/>
                </a:lnTo>
                <a:lnTo>
                  <a:pt x="151512" y="154522"/>
                </a:lnTo>
                <a:lnTo>
                  <a:pt x="151564" y="154364"/>
                </a:lnTo>
                <a:lnTo>
                  <a:pt x="151512" y="154205"/>
                </a:lnTo>
                <a:lnTo>
                  <a:pt x="151406" y="154047"/>
                </a:lnTo>
                <a:lnTo>
                  <a:pt x="151300" y="153994"/>
                </a:lnTo>
                <a:lnTo>
                  <a:pt x="151300" y="153941"/>
                </a:lnTo>
                <a:lnTo>
                  <a:pt x="151353" y="153941"/>
                </a:lnTo>
                <a:lnTo>
                  <a:pt x="151512" y="153994"/>
                </a:lnTo>
                <a:lnTo>
                  <a:pt x="151406" y="153730"/>
                </a:lnTo>
                <a:lnTo>
                  <a:pt x="151406" y="153677"/>
                </a:lnTo>
                <a:lnTo>
                  <a:pt x="151459" y="153624"/>
                </a:lnTo>
                <a:lnTo>
                  <a:pt x="151564" y="153624"/>
                </a:lnTo>
                <a:lnTo>
                  <a:pt x="151723" y="153677"/>
                </a:lnTo>
                <a:lnTo>
                  <a:pt x="151881" y="153677"/>
                </a:lnTo>
                <a:lnTo>
                  <a:pt x="151934" y="153624"/>
                </a:lnTo>
                <a:lnTo>
                  <a:pt x="151987" y="153571"/>
                </a:lnTo>
                <a:lnTo>
                  <a:pt x="151987" y="153519"/>
                </a:lnTo>
                <a:lnTo>
                  <a:pt x="151828" y="153307"/>
                </a:lnTo>
                <a:lnTo>
                  <a:pt x="152356" y="153360"/>
                </a:lnTo>
                <a:lnTo>
                  <a:pt x="152568" y="153307"/>
                </a:lnTo>
                <a:lnTo>
                  <a:pt x="152673" y="153149"/>
                </a:lnTo>
                <a:lnTo>
                  <a:pt x="152673" y="152991"/>
                </a:lnTo>
                <a:lnTo>
                  <a:pt x="152409" y="152621"/>
                </a:lnTo>
                <a:lnTo>
                  <a:pt x="152621" y="152621"/>
                </a:lnTo>
                <a:lnTo>
                  <a:pt x="152726" y="152568"/>
                </a:lnTo>
                <a:lnTo>
                  <a:pt x="152832" y="152462"/>
                </a:lnTo>
                <a:lnTo>
                  <a:pt x="152885" y="152198"/>
                </a:lnTo>
                <a:lnTo>
                  <a:pt x="152832" y="152093"/>
                </a:lnTo>
                <a:lnTo>
                  <a:pt x="152937" y="151987"/>
                </a:lnTo>
                <a:lnTo>
                  <a:pt x="153149" y="151934"/>
                </a:lnTo>
                <a:lnTo>
                  <a:pt x="153571" y="151934"/>
                </a:lnTo>
                <a:lnTo>
                  <a:pt x="153677" y="151987"/>
                </a:lnTo>
                <a:lnTo>
                  <a:pt x="153941" y="152146"/>
                </a:lnTo>
                <a:lnTo>
                  <a:pt x="154046" y="152198"/>
                </a:lnTo>
                <a:lnTo>
                  <a:pt x="154152" y="152198"/>
                </a:lnTo>
                <a:lnTo>
                  <a:pt x="154205" y="152146"/>
                </a:lnTo>
                <a:lnTo>
                  <a:pt x="154205" y="152040"/>
                </a:lnTo>
                <a:lnTo>
                  <a:pt x="154205" y="151934"/>
                </a:lnTo>
                <a:lnTo>
                  <a:pt x="154205" y="151882"/>
                </a:lnTo>
                <a:lnTo>
                  <a:pt x="154310" y="151776"/>
                </a:lnTo>
                <a:lnTo>
                  <a:pt x="154416" y="151670"/>
                </a:lnTo>
                <a:lnTo>
                  <a:pt x="154522" y="151670"/>
                </a:lnTo>
                <a:lnTo>
                  <a:pt x="154627" y="151723"/>
                </a:lnTo>
                <a:lnTo>
                  <a:pt x="154627" y="151776"/>
                </a:lnTo>
                <a:lnTo>
                  <a:pt x="154627" y="151882"/>
                </a:lnTo>
                <a:lnTo>
                  <a:pt x="154627" y="151987"/>
                </a:lnTo>
                <a:lnTo>
                  <a:pt x="154680" y="152040"/>
                </a:lnTo>
                <a:lnTo>
                  <a:pt x="154891" y="152093"/>
                </a:lnTo>
                <a:lnTo>
                  <a:pt x="154997" y="151987"/>
                </a:lnTo>
                <a:lnTo>
                  <a:pt x="155050" y="151829"/>
                </a:lnTo>
                <a:lnTo>
                  <a:pt x="155050" y="151670"/>
                </a:lnTo>
                <a:lnTo>
                  <a:pt x="154997" y="151617"/>
                </a:lnTo>
                <a:lnTo>
                  <a:pt x="154997" y="151195"/>
                </a:lnTo>
                <a:lnTo>
                  <a:pt x="154786" y="150878"/>
                </a:lnTo>
                <a:lnTo>
                  <a:pt x="154786" y="150825"/>
                </a:lnTo>
                <a:lnTo>
                  <a:pt x="154944" y="150773"/>
                </a:lnTo>
                <a:lnTo>
                  <a:pt x="155314" y="151142"/>
                </a:lnTo>
                <a:lnTo>
                  <a:pt x="155419" y="151142"/>
                </a:lnTo>
                <a:lnTo>
                  <a:pt x="155472" y="150878"/>
                </a:lnTo>
                <a:lnTo>
                  <a:pt x="155472" y="150614"/>
                </a:lnTo>
                <a:lnTo>
                  <a:pt x="155367" y="150086"/>
                </a:lnTo>
                <a:lnTo>
                  <a:pt x="155472" y="150192"/>
                </a:lnTo>
                <a:lnTo>
                  <a:pt x="155525" y="150244"/>
                </a:lnTo>
                <a:lnTo>
                  <a:pt x="155525" y="150350"/>
                </a:lnTo>
                <a:lnTo>
                  <a:pt x="155525" y="150508"/>
                </a:lnTo>
                <a:lnTo>
                  <a:pt x="155525" y="150614"/>
                </a:lnTo>
                <a:lnTo>
                  <a:pt x="155525" y="150667"/>
                </a:lnTo>
                <a:lnTo>
                  <a:pt x="155578" y="150720"/>
                </a:lnTo>
                <a:lnTo>
                  <a:pt x="155683" y="150825"/>
                </a:lnTo>
                <a:lnTo>
                  <a:pt x="155789" y="150878"/>
                </a:lnTo>
                <a:lnTo>
                  <a:pt x="155842" y="151142"/>
                </a:lnTo>
                <a:lnTo>
                  <a:pt x="155948" y="151195"/>
                </a:lnTo>
                <a:lnTo>
                  <a:pt x="156053" y="151195"/>
                </a:lnTo>
                <a:lnTo>
                  <a:pt x="156053" y="151037"/>
                </a:lnTo>
                <a:lnTo>
                  <a:pt x="156053" y="150878"/>
                </a:lnTo>
                <a:lnTo>
                  <a:pt x="156000" y="150773"/>
                </a:lnTo>
                <a:lnTo>
                  <a:pt x="156000" y="150667"/>
                </a:lnTo>
                <a:lnTo>
                  <a:pt x="156053" y="150508"/>
                </a:lnTo>
                <a:lnTo>
                  <a:pt x="156317" y="150773"/>
                </a:lnTo>
                <a:lnTo>
                  <a:pt x="156476" y="150825"/>
                </a:lnTo>
                <a:lnTo>
                  <a:pt x="156581" y="150720"/>
                </a:lnTo>
                <a:lnTo>
                  <a:pt x="156528" y="150561"/>
                </a:lnTo>
                <a:lnTo>
                  <a:pt x="156264" y="150350"/>
                </a:lnTo>
                <a:lnTo>
                  <a:pt x="156212" y="150192"/>
                </a:lnTo>
                <a:lnTo>
                  <a:pt x="156264" y="150192"/>
                </a:lnTo>
                <a:lnTo>
                  <a:pt x="156370" y="150244"/>
                </a:lnTo>
                <a:lnTo>
                  <a:pt x="156581" y="150244"/>
                </a:lnTo>
                <a:lnTo>
                  <a:pt x="156740" y="150192"/>
                </a:lnTo>
                <a:lnTo>
                  <a:pt x="156845" y="150033"/>
                </a:lnTo>
                <a:lnTo>
                  <a:pt x="156845" y="149822"/>
                </a:lnTo>
                <a:lnTo>
                  <a:pt x="156740" y="149716"/>
                </a:lnTo>
                <a:lnTo>
                  <a:pt x="156423" y="149663"/>
                </a:lnTo>
                <a:lnTo>
                  <a:pt x="156634" y="149611"/>
                </a:lnTo>
                <a:lnTo>
                  <a:pt x="156898" y="149611"/>
                </a:lnTo>
                <a:lnTo>
                  <a:pt x="157057" y="149505"/>
                </a:lnTo>
                <a:lnTo>
                  <a:pt x="156845" y="149188"/>
                </a:lnTo>
                <a:lnTo>
                  <a:pt x="156845" y="149135"/>
                </a:lnTo>
                <a:lnTo>
                  <a:pt x="156792" y="149135"/>
                </a:lnTo>
                <a:lnTo>
                  <a:pt x="156740" y="149188"/>
                </a:lnTo>
                <a:lnTo>
                  <a:pt x="156740" y="149241"/>
                </a:lnTo>
                <a:lnTo>
                  <a:pt x="156740" y="149294"/>
                </a:lnTo>
                <a:lnTo>
                  <a:pt x="156528" y="149294"/>
                </a:lnTo>
                <a:lnTo>
                  <a:pt x="156423" y="149347"/>
                </a:lnTo>
                <a:lnTo>
                  <a:pt x="156423" y="149505"/>
                </a:lnTo>
                <a:lnTo>
                  <a:pt x="156370" y="149558"/>
                </a:lnTo>
                <a:lnTo>
                  <a:pt x="156159" y="149558"/>
                </a:lnTo>
                <a:lnTo>
                  <a:pt x="156106" y="149611"/>
                </a:lnTo>
                <a:lnTo>
                  <a:pt x="156053" y="149663"/>
                </a:lnTo>
                <a:lnTo>
                  <a:pt x="155948" y="149663"/>
                </a:lnTo>
                <a:lnTo>
                  <a:pt x="156000" y="149611"/>
                </a:lnTo>
                <a:lnTo>
                  <a:pt x="156000" y="149505"/>
                </a:lnTo>
                <a:lnTo>
                  <a:pt x="156000" y="149452"/>
                </a:lnTo>
                <a:lnTo>
                  <a:pt x="156000" y="149399"/>
                </a:lnTo>
                <a:lnTo>
                  <a:pt x="156159" y="149294"/>
                </a:lnTo>
                <a:lnTo>
                  <a:pt x="156159" y="149188"/>
                </a:lnTo>
                <a:lnTo>
                  <a:pt x="156264" y="149083"/>
                </a:lnTo>
                <a:lnTo>
                  <a:pt x="156528" y="148977"/>
                </a:lnTo>
                <a:lnTo>
                  <a:pt x="156687" y="148977"/>
                </a:lnTo>
                <a:lnTo>
                  <a:pt x="156740" y="148924"/>
                </a:lnTo>
                <a:lnTo>
                  <a:pt x="156740" y="148871"/>
                </a:lnTo>
                <a:lnTo>
                  <a:pt x="156740" y="148819"/>
                </a:lnTo>
                <a:lnTo>
                  <a:pt x="157268" y="148819"/>
                </a:lnTo>
                <a:lnTo>
                  <a:pt x="157373" y="148766"/>
                </a:lnTo>
                <a:lnTo>
                  <a:pt x="157585" y="148607"/>
                </a:lnTo>
                <a:lnTo>
                  <a:pt x="157637" y="148607"/>
                </a:lnTo>
                <a:lnTo>
                  <a:pt x="157637" y="148502"/>
                </a:lnTo>
                <a:lnTo>
                  <a:pt x="157532" y="148396"/>
                </a:lnTo>
                <a:lnTo>
                  <a:pt x="157321" y="148396"/>
                </a:lnTo>
                <a:lnTo>
                  <a:pt x="157321" y="148290"/>
                </a:lnTo>
                <a:lnTo>
                  <a:pt x="157268" y="148132"/>
                </a:lnTo>
                <a:lnTo>
                  <a:pt x="157215" y="147868"/>
                </a:lnTo>
                <a:lnTo>
                  <a:pt x="157109" y="147762"/>
                </a:lnTo>
                <a:lnTo>
                  <a:pt x="157268" y="147604"/>
                </a:lnTo>
                <a:lnTo>
                  <a:pt x="157426" y="147604"/>
                </a:lnTo>
                <a:lnTo>
                  <a:pt x="157637" y="147657"/>
                </a:lnTo>
                <a:lnTo>
                  <a:pt x="157796" y="147657"/>
                </a:lnTo>
                <a:lnTo>
                  <a:pt x="157849" y="147604"/>
                </a:lnTo>
                <a:lnTo>
                  <a:pt x="157902" y="147551"/>
                </a:lnTo>
                <a:lnTo>
                  <a:pt x="158007" y="147445"/>
                </a:lnTo>
                <a:lnTo>
                  <a:pt x="158007" y="147393"/>
                </a:lnTo>
                <a:lnTo>
                  <a:pt x="158007" y="147340"/>
                </a:lnTo>
                <a:lnTo>
                  <a:pt x="157849" y="147287"/>
                </a:lnTo>
                <a:lnTo>
                  <a:pt x="157796" y="147287"/>
                </a:lnTo>
                <a:lnTo>
                  <a:pt x="157849" y="147234"/>
                </a:lnTo>
                <a:lnTo>
                  <a:pt x="157954" y="147234"/>
                </a:lnTo>
                <a:lnTo>
                  <a:pt x="157954" y="147181"/>
                </a:lnTo>
                <a:lnTo>
                  <a:pt x="158007" y="147023"/>
                </a:lnTo>
                <a:lnTo>
                  <a:pt x="158007" y="146917"/>
                </a:lnTo>
                <a:lnTo>
                  <a:pt x="158060" y="146812"/>
                </a:lnTo>
                <a:lnTo>
                  <a:pt x="158060" y="146759"/>
                </a:lnTo>
                <a:lnTo>
                  <a:pt x="158060" y="146653"/>
                </a:lnTo>
                <a:lnTo>
                  <a:pt x="158113" y="146495"/>
                </a:lnTo>
                <a:lnTo>
                  <a:pt x="158271" y="146495"/>
                </a:lnTo>
                <a:lnTo>
                  <a:pt x="158588" y="146548"/>
                </a:lnTo>
                <a:lnTo>
                  <a:pt x="159116" y="146495"/>
                </a:lnTo>
                <a:lnTo>
                  <a:pt x="159380" y="146389"/>
                </a:lnTo>
                <a:lnTo>
                  <a:pt x="159486" y="146284"/>
                </a:lnTo>
                <a:lnTo>
                  <a:pt x="159591" y="146178"/>
                </a:lnTo>
                <a:lnTo>
                  <a:pt x="159591" y="145967"/>
                </a:lnTo>
                <a:lnTo>
                  <a:pt x="159644" y="145861"/>
                </a:lnTo>
                <a:lnTo>
                  <a:pt x="159855" y="145861"/>
                </a:lnTo>
                <a:lnTo>
                  <a:pt x="160278" y="145492"/>
                </a:lnTo>
                <a:lnTo>
                  <a:pt x="160384" y="145386"/>
                </a:lnTo>
                <a:lnTo>
                  <a:pt x="160436" y="145227"/>
                </a:lnTo>
                <a:lnTo>
                  <a:pt x="160489" y="145069"/>
                </a:lnTo>
                <a:lnTo>
                  <a:pt x="160595" y="144647"/>
                </a:lnTo>
                <a:lnTo>
                  <a:pt x="160648" y="144488"/>
                </a:lnTo>
                <a:lnTo>
                  <a:pt x="160753" y="144382"/>
                </a:lnTo>
                <a:lnTo>
                  <a:pt x="161017" y="144488"/>
                </a:lnTo>
                <a:lnTo>
                  <a:pt x="161123" y="144382"/>
                </a:lnTo>
                <a:lnTo>
                  <a:pt x="161123" y="144277"/>
                </a:lnTo>
                <a:lnTo>
                  <a:pt x="161070" y="144277"/>
                </a:lnTo>
                <a:lnTo>
                  <a:pt x="160753" y="144330"/>
                </a:lnTo>
                <a:lnTo>
                  <a:pt x="160700" y="144330"/>
                </a:lnTo>
                <a:lnTo>
                  <a:pt x="160648" y="144277"/>
                </a:lnTo>
                <a:lnTo>
                  <a:pt x="160859" y="144277"/>
                </a:lnTo>
                <a:lnTo>
                  <a:pt x="160964" y="144224"/>
                </a:lnTo>
                <a:lnTo>
                  <a:pt x="160964" y="143907"/>
                </a:lnTo>
                <a:lnTo>
                  <a:pt x="160859" y="143907"/>
                </a:lnTo>
                <a:lnTo>
                  <a:pt x="160806" y="143854"/>
                </a:lnTo>
                <a:lnTo>
                  <a:pt x="160753" y="143643"/>
                </a:lnTo>
                <a:lnTo>
                  <a:pt x="160753" y="143590"/>
                </a:lnTo>
                <a:lnTo>
                  <a:pt x="160753" y="143538"/>
                </a:lnTo>
                <a:lnTo>
                  <a:pt x="160753" y="143485"/>
                </a:lnTo>
                <a:lnTo>
                  <a:pt x="160542" y="143485"/>
                </a:lnTo>
                <a:lnTo>
                  <a:pt x="160542" y="143432"/>
                </a:lnTo>
                <a:lnTo>
                  <a:pt x="160384" y="143168"/>
                </a:lnTo>
                <a:lnTo>
                  <a:pt x="160278" y="143062"/>
                </a:lnTo>
                <a:lnTo>
                  <a:pt x="160120" y="143009"/>
                </a:lnTo>
                <a:lnTo>
                  <a:pt x="160014" y="142904"/>
                </a:lnTo>
                <a:lnTo>
                  <a:pt x="159961" y="142904"/>
                </a:lnTo>
                <a:lnTo>
                  <a:pt x="159908" y="142957"/>
                </a:lnTo>
                <a:lnTo>
                  <a:pt x="159855" y="143009"/>
                </a:lnTo>
                <a:lnTo>
                  <a:pt x="159644" y="143009"/>
                </a:lnTo>
                <a:lnTo>
                  <a:pt x="159591" y="142957"/>
                </a:lnTo>
                <a:lnTo>
                  <a:pt x="159539" y="142904"/>
                </a:lnTo>
                <a:lnTo>
                  <a:pt x="159380" y="142798"/>
                </a:lnTo>
                <a:lnTo>
                  <a:pt x="159327" y="142745"/>
                </a:lnTo>
                <a:lnTo>
                  <a:pt x="159222" y="142587"/>
                </a:lnTo>
                <a:lnTo>
                  <a:pt x="159169" y="142429"/>
                </a:lnTo>
                <a:lnTo>
                  <a:pt x="159063" y="142323"/>
                </a:lnTo>
                <a:lnTo>
                  <a:pt x="158958" y="142270"/>
                </a:lnTo>
                <a:lnTo>
                  <a:pt x="158482" y="142270"/>
                </a:lnTo>
                <a:lnTo>
                  <a:pt x="158377" y="142323"/>
                </a:lnTo>
                <a:lnTo>
                  <a:pt x="158113" y="142323"/>
                </a:lnTo>
                <a:lnTo>
                  <a:pt x="157479" y="142164"/>
                </a:lnTo>
                <a:lnTo>
                  <a:pt x="157215" y="142270"/>
                </a:lnTo>
                <a:lnTo>
                  <a:pt x="157109" y="142376"/>
                </a:lnTo>
                <a:lnTo>
                  <a:pt x="157004" y="142534"/>
                </a:lnTo>
                <a:lnTo>
                  <a:pt x="157109" y="142587"/>
                </a:lnTo>
                <a:lnTo>
                  <a:pt x="157004" y="142640"/>
                </a:lnTo>
                <a:lnTo>
                  <a:pt x="156898" y="142534"/>
                </a:lnTo>
                <a:lnTo>
                  <a:pt x="156845" y="142376"/>
                </a:lnTo>
                <a:lnTo>
                  <a:pt x="156845" y="142164"/>
                </a:lnTo>
                <a:lnTo>
                  <a:pt x="156898" y="142059"/>
                </a:lnTo>
                <a:lnTo>
                  <a:pt x="156898" y="142006"/>
                </a:lnTo>
                <a:lnTo>
                  <a:pt x="156898" y="141953"/>
                </a:lnTo>
                <a:lnTo>
                  <a:pt x="156951" y="141900"/>
                </a:lnTo>
                <a:lnTo>
                  <a:pt x="156951" y="141795"/>
                </a:lnTo>
                <a:lnTo>
                  <a:pt x="156951" y="141689"/>
                </a:lnTo>
                <a:lnTo>
                  <a:pt x="156845" y="141636"/>
                </a:lnTo>
                <a:lnTo>
                  <a:pt x="156687" y="141742"/>
                </a:lnTo>
                <a:lnTo>
                  <a:pt x="156581" y="141742"/>
                </a:lnTo>
                <a:lnTo>
                  <a:pt x="156528" y="141584"/>
                </a:lnTo>
                <a:lnTo>
                  <a:pt x="156634" y="141584"/>
                </a:lnTo>
                <a:lnTo>
                  <a:pt x="156687" y="141531"/>
                </a:lnTo>
                <a:lnTo>
                  <a:pt x="156740" y="141478"/>
                </a:lnTo>
                <a:lnTo>
                  <a:pt x="156687" y="141478"/>
                </a:lnTo>
                <a:lnTo>
                  <a:pt x="156634" y="141425"/>
                </a:lnTo>
                <a:lnTo>
                  <a:pt x="156845" y="141425"/>
                </a:lnTo>
                <a:lnTo>
                  <a:pt x="156951" y="141320"/>
                </a:lnTo>
                <a:lnTo>
                  <a:pt x="156898" y="141108"/>
                </a:lnTo>
                <a:lnTo>
                  <a:pt x="157109" y="141108"/>
                </a:lnTo>
                <a:lnTo>
                  <a:pt x="157162" y="141055"/>
                </a:lnTo>
                <a:lnTo>
                  <a:pt x="157215" y="140950"/>
                </a:lnTo>
                <a:lnTo>
                  <a:pt x="157109" y="140950"/>
                </a:lnTo>
                <a:lnTo>
                  <a:pt x="157109" y="140844"/>
                </a:lnTo>
                <a:lnTo>
                  <a:pt x="157109" y="140527"/>
                </a:lnTo>
                <a:lnTo>
                  <a:pt x="157109" y="140369"/>
                </a:lnTo>
                <a:lnTo>
                  <a:pt x="157162" y="140263"/>
                </a:lnTo>
                <a:lnTo>
                  <a:pt x="157215" y="140158"/>
                </a:lnTo>
                <a:lnTo>
                  <a:pt x="157637" y="139841"/>
                </a:lnTo>
                <a:lnTo>
                  <a:pt x="158007" y="139630"/>
                </a:lnTo>
                <a:lnTo>
                  <a:pt x="158007" y="139577"/>
                </a:lnTo>
                <a:lnTo>
                  <a:pt x="157849" y="139577"/>
                </a:lnTo>
                <a:lnTo>
                  <a:pt x="157796" y="139524"/>
                </a:lnTo>
                <a:lnTo>
                  <a:pt x="157637" y="139788"/>
                </a:lnTo>
                <a:lnTo>
                  <a:pt x="157426" y="139788"/>
                </a:lnTo>
                <a:lnTo>
                  <a:pt x="157215" y="139630"/>
                </a:lnTo>
                <a:lnTo>
                  <a:pt x="157057" y="139471"/>
                </a:lnTo>
                <a:lnTo>
                  <a:pt x="157426" y="139471"/>
                </a:lnTo>
                <a:lnTo>
                  <a:pt x="157479" y="139366"/>
                </a:lnTo>
                <a:lnTo>
                  <a:pt x="157532" y="139418"/>
                </a:lnTo>
                <a:lnTo>
                  <a:pt x="157954" y="139313"/>
                </a:lnTo>
                <a:lnTo>
                  <a:pt x="158007" y="139260"/>
                </a:lnTo>
                <a:lnTo>
                  <a:pt x="158060" y="139101"/>
                </a:lnTo>
                <a:lnTo>
                  <a:pt x="158113" y="139049"/>
                </a:lnTo>
                <a:lnTo>
                  <a:pt x="158430" y="139049"/>
                </a:lnTo>
                <a:lnTo>
                  <a:pt x="158746" y="138996"/>
                </a:lnTo>
                <a:lnTo>
                  <a:pt x="158852" y="138943"/>
                </a:lnTo>
                <a:lnTo>
                  <a:pt x="158852" y="138837"/>
                </a:lnTo>
                <a:lnTo>
                  <a:pt x="158958" y="138679"/>
                </a:lnTo>
                <a:lnTo>
                  <a:pt x="158958" y="138573"/>
                </a:lnTo>
                <a:lnTo>
                  <a:pt x="158905" y="138415"/>
                </a:lnTo>
                <a:lnTo>
                  <a:pt x="158694" y="138151"/>
                </a:lnTo>
                <a:lnTo>
                  <a:pt x="158588" y="138045"/>
                </a:lnTo>
                <a:lnTo>
                  <a:pt x="158430" y="137992"/>
                </a:lnTo>
                <a:lnTo>
                  <a:pt x="158271" y="137992"/>
                </a:lnTo>
                <a:lnTo>
                  <a:pt x="158377" y="137887"/>
                </a:lnTo>
                <a:lnTo>
                  <a:pt x="158482" y="137834"/>
                </a:lnTo>
                <a:lnTo>
                  <a:pt x="158535" y="137834"/>
                </a:lnTo>
                <a:lnTo>
                  <a:pt x="158641" y="137992"/>
                </a:lnTo>
                <a:lnTo>
                  <a:pt x="159486" y="137887"/>
                </a:lnTo>
                <a:lnTo>
                  <a:pt x="159644" y="137728"/>
                </a:lnTo>
                <a:lnTo>
                  <a:pt x="159697" y="137464"/>
                </a:lnTo>
                <a:lnTo>
                  <a:pt x="159697" y="137359"/>
                </a:lnTo>
                <a:lnTo>
                  <a:pt x="159539" y="137200"/>
                </a:lnTo>
                <a:lnTo>
                  <a:pt x="159486" y="137200"/>
                </a:lnTo>
                <a:lnTo>
                  <a:pt x="159063" y="137148"/>
                </a:lnTo>
                <a:lnTo>
                  <a:pt x="159116" y="137042"/>
                </a:lnTo>
                <a:lnTo>
                  <a:pt x="159380" y="137042"/>
                </a:lnTo>
                <a:lnTo>
                  <a:pt x="159433" y="136989"/>
                </a:lnTo>
                <a:lnTo>
                  <a:pt x="159433" y="136831"/>
                </a:lnTo>
                <a:lnTo>
                  <a:pt x="159433" y="136672"/>
                </a:lnTo>
                <a:lnTo>
                  <a:pt x="159433" y="136619"/>
                </a:lnTo>
                <a:lnTo>
                  <a:pt x="159591" y="136619"/>
                </a:lnTo>
                <a:lnTo>
                  <a:pt x="159591" y="136672"/>
                </a:lnTo>
                <a:lnTo>
                  <a:pt x="159591" y="136725"/>
                </a:lnTo>
                <a:lnTo>
                  <a:pt x="159644" y="136831"/>
                </a:lnTo>
                <a:lnTo>
                  <a:pt x="159750" y="137095"/>
                </a:lnTo>
                <a:lnTo>
                  <a:pt x="159803" y="137148"/>
                </a:lnTo>
                <a:lnTo>
                  <a:pt x="159908" y="137148"/>
                </a:lnTo>
                <a:lnTo>
                  <a:pt x="160014" y="137095"/>
                </a:lnTo>
                <a:lnTo>
                  <a:pt x="160172" y="137042"/>
                </a:lnTo>
                <a:lnTo>
                  <a:pt x="160225" y="136936"/>
                </a:lnTo>
                <a:lnTo>
                  <a:pt x="160278" y="136831"/>
                </a:lnTo>
                <a:lnTo>
                  <a:pt x="160384" y="136408"/>
                </a:lnTo>
                <a:lnTo>
                  <a:pt x="160384" y="136303"/>
                </a:lnTo>
                <a:lnTo>
                  <a:pt x="160331" y="136144"/>
                </a:lnTo>
                <a:lnTo>
                  <a:pt x="160331" y="135986"/>
                </a:lnTo>
                <a:lnTo>
                  <a:pt x="160331" y="135880"/>
                </a:lnTo>
                <a:lnTo>
                  <a:pt x="160331" y="135722"/>
                </a:lnTo>
                <a:lnTo>
                  <a:pt x="160648" y="136197"/>
                </a:lnTo>
                <a:lnTo>
                  <a:pt x="160859" y="136303"/>
                </a:lnTo>
                <a:lnTo>
                  <a:pt x="160912" y="136408"/>
                </a:lnTo>
                <a:lnTo>
                  <a:pt x="160912" y="136408"/>
                </a:lnTo>
                <a:lnTo>
                  <a:pt x="160806" y="136303"/>
                </a:lnTo>
                <a:lnTo>
                  <a:pt x="160753" y="136355"/>
                </a:lnTo>
                <a:lnTo>
                  <a:pt x="160542" y="136831"/>
                </a:lnTo>
                <a:lnTo>
                  <a:pt x="160489" y="136883"/>
                </a:lnTo>
                <a:lnTo>
                  <a:pt x="160436" y="136989"/>
                </a:lnTo>
                <a:lnTo>
                  <a:pt x="160436" y="137042"/>
                </a:lnTo>
                <a:lnTo>
                  <a:pt x="160595" y="137042"/>
                </a:lnTo>
                <a:lnTo>
                  <a:pt x="160806" y="137148"/>
                </a:lnTo>
                <a:lnTo>
                  <a:pt x="160964" y="137148"/>
                </a:lnTo>
                <a:lnTo>
                  <a:pt x="161017" y="137042"/>
                </a:lnTo>
                <a:lnTo>
                  <a:pt x="161017" y="136989"/>
                </a:lnTo>
                <a:lnTo>
                  <a:pt x="160964" y="136936"/>
                </a:lnTo>
                <a:lnTo>
                  <a:pt x="160964" y="136672"/>
                </a:lnTo>
                <a:lnTo>
                  <a:pt x="161017" y="136567"/>
                </a:lnTo>
                <a:lnTo>
                  <a:pt x="161070" y="136567"/>
                </a:lnTo>
                <a:lnTo>
                  <a:pt x="161123" y="136619"/>
                </a:lnTo>
                <a:lnTo>
                  <a:pt x="161176" y="136778"/>
                </a:lnTo>
                <a:lnTo>
                  <a:pt x="161229" y="136883"/>
                </a:lnTo>
                <a:lnTo>
                  <a:pt x="161334" y="136883"/>
                </a:lnTo>
                <a:lnTo>
                  <a:pt x="161493" y="136831"/>
                </a:lnTo>
                <a:lnTo>
                  <a:pt x="161651" y="136725"/>
                </a:lnTo>
                <a:lnTo>
                  <a:pt x="161757" y="136619"/>
                </a:lnTo>
                <a:lnTo>
                  <a:pt x="161809" y="136514"/>
                </a:lnTo>
                <a:lnTo>
                  <a:pt x="162073" y="136355"/>
                </a:lnTo>
                <a:lnTo>
                  <a:pt x="162179" y="136303"/>
                </a:lnTo>
                <a:lnTo>
                  <a:pt x="162232" y="136197"/>
                </a:lnTo>
                <a:lnTo>
                  <a:pt x="162390" y="135774"/>
                </a:lnTo>
                <a:lnTo>
                  <a:pt x="162390" y="135563"/>
                </a:lnTo>
                <a:lnTo>
                  <a:pt x="162443" y="135510"/>
                </a:lnTo>
                <a:lnTo>
                  <a:pt x="162443" y="135458"/>
                </a:lnTo>
                <a:lnTo>
                  <a:pt x="162443" y="135352"/>
                </a:lnTo>
                <a:lnTo>
                  <a:pt x="162443" y="135194"/>
                </a:lnTo>
                <a:lnTo>
                  <a:pt x="162390" y="135141"/>
                </a:lnTo>
                <a:lnTo>
                  <a:pt x="162179" y="135141"/>
                </a:lnTo>
                <a:lnTo>
                  <a:pt x="161862" y="135246"/>
                </a:lnTo>
                <a:lnTo>
                  <a:pt x="161757" y="135246"/>
                </a:lnTo>
                <a:lnTo>
                  <a:pt x="161545" y="135141"/>
                </a:lnTo>
                <a:lnTo>
                  <a:pt x="161387" y="135194"/>
                </a:lnTo>
                <a:lnTo>
                  <a:pt x="161229" y="135246"/>
                </a:lnTo>
                <a:lnTo>
                  <a:pt x="161070" y="135246"/>
                </a:lnTo>
                <a:lnTo>
                  <a:pt x="161123" y="135141"/>
                </a:lnTo>
                <a:lnTo>
                  <a:pt x="161229" y="134982"/>
                </a:lnTo>
                <a:lnTo>
                  <a:pt x="161281" y="134824"/>
                </a:lnTo>
                <a:lnTo>
                  <a:pt x="161387" y="134771"/>
                </a:lnTo>
                <a:lnTo>
                  <a:pt x="162021" y="134718"/>
                </a:lnTo>
                <a:lnTo>
                  <a:pt x="162232" y="134613"/>
                </a:lnTo>
                <a:lnTo>
                  <a:pt x="162338" y="134613"/>
                </a:lnTo>
                <a:lnTo>
                  <a:pt x="162760" y="134718"/>
                </a:lnTo>
                <a:lnTo>
                  <a:pt x="162866" y="134665"/>
                </a:lnTo>
                <a:lnTo>
                  <a:pt x="163288" y="134665"/>
                </a:lnTo>
                <a:lnTo>
                  <a:pt x="163394" y="134613"/>
                </a:lnTo>
                <a:lnTo>
                  <a:pt x="163711" y="134507"/>
                </a:lnTo>
                <a:lnTo>
                  <a:pt x="163816" y="134401"/>
                </a:lnTo>
                <a:lnTo>
                  <a:pt x="163869" y="134296"/>
                </a:lnTo>
                <a:lnTo>
                  <a:pt x="163922" y="133926"/>
                </a:lnTo>
                <a:lnTo>
                  <a:pt x="163975" y="133768"/>
                </a:lnTo>
                <a:lnTo>
                  <a:pt x="164027" y="133662"/>
                </a:lnTo>
                <a:lnTo>
                  <a:pt x="164292" y="133451"/>
                </a:lnTo>
                <a:lnTo>
                  <a:pt x="164239" y="133398"/>
                </a:lnTo>
                <a:lnTo>
                  <a:pt x="164239" y="133345"/>
                </a:lnTo>
                <a:lnTo>
                  <a:pt x="164344" y="133345"/>
                </a:lnTo>
                <a:lnTo>
                  <a:pt x="164397" y="133240"/>
                </a:lnTo>
                <a:lnTo>
                  <a:pt x="164503" y="132976"/>
                </a:lnTo>
                <a:lnTo>
                  <a:pt x="164503" y="132870"/>
                </a:lnTo>
                <a:lnTo>
                  <a:pt x="164397" y="132764"/>
                </a:lnTo>
                <a:lnTo>
                  <a:pt x="164080" y="132447"/>
                </a:lnTo>
                <a:lnTo>
                  <a:pt x="164027" y="132395"/>
                </a:lnTo>
                <a:lnTo>
                  <a:pt x="163975" y="132342"/>
                </a:lnTo>
                <a:lnTo>
                  <a:pt x="163975" y="132236"/>
                </a:lnTo>
                <a:lnTo>
                  <a:pt x="163975" y="132183"/>
                </a:lnTo>
                <a:lnTo>
                  <a:pt x="163975" y="132131"/>
                </a:lnTo>
                <a:lnTo>
                  <a:pt x="163922" y="132078"/>
                </a:lnTo>
                <a:lnTo>
                  <a:pt x="163763" y="132078"/>
                </a:lnTo>
                <a:lnTo>
                  <a:pt x="163711" y="132025"/>
                </a:lnTo>
                <a:lnTo>
                  <a:pt x="163552" y="131867"/>
                </a:lnTo>
                <a:lnTo>
                  <a:pt x="163130" y="131708"/>
                </a:lnTo>
                <a:lnTo>
                  <a:pt x="162971" y="131550"/>
                </a:lnTo>
                <a:lnTo>
                  <a:pt x="162813" y="131444"/>
                </a:lnTo>
                <a:lnTo>
                  <a:pt x="162813" y="131338"/>
                </a:lnTo>
                <a:lnTo>
                  <a:pt x="162813" y="131286"/>
                </a:lnTo>
                <a:lnTo>
                  <a:pt x="162813" y="131127"/>
                </a:lnTo>
                <a:lnTo>
                  <a:pt x="162813" y="131022"/>
                </a:lnTo>
                <a:lnTo>
                  <a:pt x="162707" y="130916"/>
                </a:lnTo>
                <a:lnTo>
                  <a:pt x="162496" y="130810"/>
                </a:lnTo>
                <a:lnTo>
                  <a:pt x="162285" y="130810"/>
                </a:lnTo>
                <a:lnTo>
                  <a:pt x="162179" y="130916"/>
                </a:lnTo>
                <a:lnTo>
                  <a:pt x="162073" y="131022"/>
                </a:lnTo>
                <a:lnTo>
                  <a:pt x="161968" y="131022"/>
                </a:lnTo>
                <a:lnTo>
                  <a:pt x="161968" y="130969"/>
                </a:lnTo>
                <a:lnTo>
                  <a:pt x="162073" y="130810"/>
                </a:lnTo>
                <a:lnTo>
                  <a:pt x="162232" y="130758"/>
                </a:lnTo>
                <a:lnTo>
                  <a:pt x="162443" y="130705"/>
                </a:lnTo>
                <a:lnTo>
                  <a:pt x="162760" y="130705"/>
                </a:lnTo>
                <a:lnTo>
                  <a:pt x="162918" y="130758"/>
                </a:lnTo>
                <a:lnTo>
                  <a:pt x="162971" y="130863"/>
                </a:lnTo>
                <a:lnTo>
                  <a:pt x="162971" y="131074"/>
                </a:lnTo>
                <a:lnTo>
                  <a:pt x="163024" y="131286"/>
                </a:lnTo>
                <a:lnTo>
                  <a:pt x="163130" y="131127"/>
                </a:lnTo>
                <a:lnTo>
                  <a:pt x="163235" y="131127"/>
                </a:lnTo>
                <a:lnTo>
                  <a:pt x="163499" y="131233"/>
                </a:lnTo>
                <a:lnTo>
                  <a:pt x="163499" y="131286"/>
                </a:lnTo>
                <a:lnTo>
                  <a:pt x="163235" y="131286"/>
                </a:lnTo>
                <a:lnTo>
                  <a:pt x="163182" y="131391"/>
                </a:lnTo>
                <a:lnTo>
                  <a:pt x="163394" y="131497"/>
                </a:lnTo>
                <a:lnTo>
                  <a:pt x="164080" y="131391"/>
                </a:lnTo>
                <a:lnTo>
                  <a:pt x="164133" y="131444"/>
                </a:lnTo>
                <a:lnTo>
                  <a:pt x="164239" y="131550"/>
                </a:lnTo>
                <a:lnTo>
                  <a:pt x="164344" y="131602"/>
                </a:lnTo>
                <a:lnTo>
                  <a:pt x="164397" y="131550"/>
                </a:lnTo>
                <a:lnTo>
                  <a:pt x="164714" y="131180"/>
                </a:lnTo>
                <a:lnTo>
                  <a:pt x="164820" y="131074"/>
                </a:lnTo>
                <a:lnTo>
                  <a:pt x="165031" y="131022"/>
                </a:lnTo>
                <a:lnTo>
                  <a:pt x="165295" y="130863"/>
                </a:lnTo>
                <a:lnTo>
                  <a:pt x="165295" y="130810"/>
                </a:lnTo>
                <a:lnTo>
                  <a:pt x="165295" y="130758"/>
                </a:lnTo>
                <a:lnTo>
                  <a:pt x="165295" y="130599"/>
                </a:lnTo>
                <a:lnTo>
                  <a:pt x="165295" y="130546"/>
                </a:lnTo>
                <a:lnTo>
                  <a:pt x="165453" y="130282"/>
                </a:lnTo>
                <a:lnTo>
                  <a:pt x="166034" y="129965"/>
                </a:lnTo>
                <a:lnTo>
                  <a:pt x="166034" y="129860"/>
                </a:lnTo>
                <a:lnTo>
                  <a:pt x="165770" y="129754"/>
                </a:lnTo>
                <a:lnTo>
                  <a:pt x="165665" y="129701"/>
                </a:lnTo>
                <a:lnTo>
                  <a:pt x="165612" y="129543"/>
                </a:lnTo>
                <a:lnTo>
                  <a:pt x="165559" y="129332"/>
                </a:lnTo>
                <a:lnTo>
                  <a:pt x="165559" y="129173"/>
                </a:lnTo>
                <a:lnTo>
                  <a:pt x="165612" y="129015"/>
                </a:lnTo>
                <a:lnTo>
                  <a:pt x="165665" y="128909"/>
                </a:lnTo>
                <a:lnTo>
                  <a:pt x="166087" y="128381"/>
                </a:lnTo>
                <a:lnTo>
                  <a:pt x="166351" y="128170"/>
                </a:lnTo>
                <a:lnTo>
                  <a:pt x="166510" y="128011"/>
                </a:lnTo>
                <a:lnTo>
                  <a:pt x="166615" y="127959"/>
                </a:lnTo>
                <a:lnTo>
                  <a:pt x="166668" y="127906"/>
                </a:lnTo>
                <a:lnTo>
                  <a:pt x="166668" y="127853"/>
                </a:lnTo>
                <a:lnTo>
                  <a:pt x="166879" y="127378"/>
                </a:lnTo>
                <a:lnTo>
                  <a:pt x="166932" y="127325"/>
                </a:lnTo>
                <a:lnTo>
                  <a:pt x="167038" y="127325"/>
                </a:lnTo>
                <a:lnTo>
                  <a:pt x="167090" y="127272"/>
                </a:lnTo>
                <a:lnTo>
                  <a:pt x="167354" y="127061"/>
                </a:lnTo>
                <a:lnTo>
                  <a:pt x="167513" y="126850"/>
                </a:lnTo>
                <a:lnTo>
                  <a:pt x="167619" y="126797"/>
                </a:lnTo>
                <a:lnTo>
                  <a:pt x="167830" y="126691"/>
                </a:lnTo>
                <a:lnTo>
                  <a:pt x="167830" y="126638"/>
                </a:lnTo>
                <a:lnTo>
                  <a:pt x="167830" y="126533"/>
                </a:lnTo>
                <a:lnTo>
                  <a:pt x="167830" y="126480"/>
                </a:lnTo>
                <a:lnTo>
                  <a:pt x="167988" y="126586"/>
                </a:lnTo>
                <a:lnTo>
                  <a:pt x="168252" y="126850"/>
                </a:lnTo>
                <a:lnTo>
                  <a:pt x="168411" y="126902"/>
                </a:lnTo>
                <a:lnTo>
                  <a:pt x="168569" y="126850"/>
                </a:lnTo>
                <a:lnTo>
                  <a:pt x="168569" y="126638"/>
                </a:lnTo>
                <a:lnTo>
                  <a:pt x="168199" y="125846"/>
                </a:lnTo>
                <a:lnTo>
                  <a:pt x="168199" y="125741"/>
                </a:lnTo>
                <a:lnTo>
                  <a:pt x="168199" y="125635"/>
                </a:lnTo>
                <a:lnTo>
                  <a:pt x="168252" y="125424"/>
                </a:lnTo>
                <a:lnTo>
                  <a:pt x="168463" y="125160"/>
                </a:lnTo>
                <a:lnTo>
                  <a:pt x="168463" y="125001"/>
                </a:lnTo>
                <a:lnTo>
                  <a:pt x="168569" y="124896"/>
                </a:lnTo>
                <a:lnTo>
                  <a:pt x="168728" y="124843"/>
                </a:lnTo>
                <a:lnTo>
                  <a:pt x="168939" y="124632"/>
                </a:lnTo>
                <a:lnTo>
                  <a:pt x="169097" y="124526"/>
                </a:lnTo>
                <a:lnTo>
                  <a:pt x="169308" y="124209"/>
                </a:lnTo>
                <a:lnTo>
                  <a:pt x="169520" y="124103"/>
                </a:lnTo>
                <a:lnTo>
                  <a:pt x="169731" y="123998"/>
                </a:lnTo>
                <a:lnTo>
                  <a:pt x="169889" y="123998"/>
                </a:lnTo>
                <a:lnTo>
                  <a:pt x="170259" y="124051"/>
                </a:lnTo>
                <a:lnTo>
                  <a:pt x="170312" y="124051"/>
                </a:lnTo>
                <a:lnTo>
                  <a:pt x="170417" y="123945"/>
                </a:lnTo>
                <a:lnTo>
                  <a:pt x="170523" y="123945"/>
                </a:lnTo>
                <a:lnTo>
                  <a:pt x="170840" y="123892"/>
                </a:lnTo>
                <a:lnTo>
                  <a:pt x="171157" y="123734"/>
                </a:lnTo>
                <a:lnTo>
                  <a:pt x="171210" y="123628"/>
                </a:lnTo>
                <a:lnTo>
                  <a:pt x="171315" y="123470"/>
                </a:lnTo>
                <a:lnTo>
                  <a:pt x="171368" y="123311"/>
                </a:lnTo>
                <a:lnTo>
                  <a:pt x="171685" y="122678"/>
                </a:lnTo>
                <a:lnTo>
                  <a:pt x="171791" y="122519"/>
                </a:lnTo>
                <a:lnTo>
                  <a:pt x="171843" y="122466"/>
                </a:lnTo>
                <a:lnTo>
                  <a:pt x="171949" y="122414"/>
                </a:lnTo>
                <a:lnTo>
                  <a:pt x="172002" y="122414"/>
                </a:lnTo>
                <a:lnTo>
                  <a:pt x="172107" y="122361"/>
                </a:lnTo>
                <a:lnTo>
                  <a:pt x="172160" y="122255"/>
                </a:lnTo>
                <a:lnTo>
                  <a:pt x="172213" y="122255"/>
                </a:lnTo>
                <a:lnTo>
                  <a:pt x="172477" y="122202"/>
                </a:lnTo>
                <a:lnTo>
                  <a:pt x="173269" y="121833"/>
                </a:lnTo>
                <a:lnTo>
                  <a:pt x="173428" y="121569"/>
                </a:lnTo>
                <a:lnTo>
                  <a:pt x="173586" y="121252"/>
                </a:lnTo>
                <a:lnTo>
                  <a:pt x="173692" y="121410"/>
                </a:lnTo>
                <a:lnTo>
                  <a:pt x="173850" y="121463"/>
                </a:lnTo>
                <a:lnTo>
                  <a:pt x="173956" y="121410"/>
                </a:lnTo>
                <a:lnTo>
                  <a:pt x="173850" y="121040"/>
                </a:lnTo>
                <a:lnTo>
                  <a:pt x="173903" y="120882"/>
                </a:lnTo>
                <a:lnTo>
                  <a:pt x="174061" y="120724"/>
                </a:lnTo>
                <a:lnTo>
                  <a:pt x="174167" y="120724"/>
                </a:lnTo>
                <a:lnTo>
                  <a:pt x="174061" y="121146"/>
                </a:lnTo>
                <a:lnTo>
                  <a:pt x="174114" y="121516"/>
                </a:lnTo>
                <a:lnTo>
                  <a:pt x="174325" y="121780"/>
                </a:lnTo>
                <a:lnTo>
                  <a:pt x="174589" y="121885"/>
                </a:lnTo>
                <a:lnTo>
                  <a:pt x="175118" y="121885"/>
                </a:lnTo>
                <a:lnTo>
                  <a:pt x="175118" y="121833"/>
                </a:lnTo>
                <a:lnTo>
                  <a:pt x="175118" y="121674"/>
                </a:lnTo>
                <a:lnTo>
                  <a:pt x="175170" y="121569"/>
                </a:lnTo>
                <a:lnTo>
                  <a:pt x="175170" y="121674"/>
                </a:lnTo>
                <a:lnTo>
                  <a:pt x="175223" y="121727"/>
                </a:lnTo>
                <a:lnTo>
                  <a:pt x="175329" y="121780"/>
                </a:lnTo>
                <a:lnTo>
                  <a:pt x="176702" y="121938"/>
                </a:lnTo>
                <a:lnTo>
                  <a:pt x="176860" y="121780"/>
                </a:lnTo>
                <a:lnTo>
                  <a:pt x="176913" y="121674"/>
                </a:lnTo>
                <a:lnTo>
                  <a:pt x="176966" y="121516"/>
                </a:lnTo>
                <a:lnTo>
                  <a:pt x="177019" y="121305"/>
                </a:lnTo>
                <a:lnTo>
                  <a:pt x="177071" y="120882"/>
                </a:lnTo>
                <a:lnTo>
                  <a:pt x="177124" y="120724"/>
                </a:lnTo>
                <a:lnTo>
                  <a:pt x="177230" y="120565"/>
                </a:lnTo>
                <a:lnTo>
                  <a:pt x="177283" y="120460"/>
                </a:lnTo>
                <a:lnTo>
                  <a:pt x="177494" y="120301"/>
                </a:lnTo>
                <a:lnTo>
                  <a:pt x="177600" y="120196"/>
                </a:lnTo>
                <a:lnTo>
                  <a:pt x="177811" y="119879"/>
                </a:lnTo>
                <a:lnTo>
                  <a:pt x="178286" y="119562"/>
                </a:lnTo>
                <a:lnTo>
                  <a:pt x="179342" y="119298"/>
                </a:lnTo>
                <a:lnTo>
                  <a:pt x="179448" y="119351"/>
                </a:lnTo>
                <a:lnTo>
                  <a:pt x="179395" y="119456"/>
                </a:lnTo>
                <a:lnTo>
                  <a:pt x="179395" y="119456"/>
                </a:lnTo>
                <a:lnTo>
                  <a:pt x="180082" y="119351"/>
                </a:lnTo>
                <a:lnTo>
                  <a:pt x="180240" y="119456"/>
                </a:lnTo>
                <a:lnTo>
                  <a:pt x="180134" y="119562"/>
                </a:lnTo>
                <a:lnTo>
                  <a:pt x="180029" y="119615"/>
                </a:lnTo>
                <a:lnTo>
                  <a:pt x="179870" y="119615"/>
                </a:lnTo>
                <a:lnTo>
                  <a:pt x="178286" y="120301"/>
                </a:lnTo>
                <a:lnTo>
                  <a:pt x="178128" y="120407"/>
                </a:lnTo>
                <a:lnTo>
                  <a:pt x="178022" y="120565"/>
                </a:lnTo>
                <a:lnTo>
                  <a:pt x="177916" y="120882"/>
                </a:lnTo>
                <a:lnTo>
                  <a:pt x="177811" y="120988"/>
                </a:lnTo>
                <a:lnTo>
                  <a:pt x="177600" y="120988"/>
                </a:lnTo>
                <a:lnTo>
                  <a:pt x="177547" y="121040"/>
                </a:lnTo>
                <a:lnTo>
                  <a:pt x="177283" y="121516"/>
                </a:lnTo>
                <a:lnTo>
                  <a:pt x="177230" y="121621"/>
                </a:lnTo>
                <a:lnTo>
                  <a:pt x="177177" y="121938"/>
                </a:lnTo>
                <a:lnTo>
                  <a:pt x="177124" y="122044"/>
                </a:lnTo>
                <a:lnTo>
                  <a:pt x="177071" y="122149"/>
                </a:lnTo>
                <a:lnTo>
                  <a:pt x="176913" y="122255"/>
                </a:lnTo>
                <a:lnTo>
                  <a:pt x="176755" y="122361"/>
                </a:lnTo>
                <a:lnTo>
                  <a:pt x="176649" y="122361"/>
                </a:lnTo>
                <a:lnTo>
                  <a:pt x="176543" y="122308"/>
                </a:lnTo>
                <a:lnTo>
                  <a:pt x="176438" y="122414"/>
                </a:lnTo>
                <a:lnTo>
                  <a:pt x="176385" y="122625"/>
                </a:lnTo>
                <a:lnTo>
                  <a:pt x="176332" y="122783"/>
                </a:lnTo>
                <a:lnTo>
                  <a:pt x="177071" y="123417"/>
                </a:lnTo>
                <a:lnTo>
                  <a:pt x="177441" y="123575"/>
                </a:lnTo>
                <a:lnTo>
                  <a:pt x="177652" y="123892"/>
                </a:lnTo>
                <a:lnTo>
                  <a:pt x="178445" y="124368"/>
                </a:lnTo>
                <a:lnTo>
                  <a:pt x="178920" y="124420"/>
                </a:lnTo>
                <a:lnTo>
                  <a:pt x="179078" y="124473"/>
                </a:lnTo>
                <a:lnTo>
                  <a:pt x="179606" y="124843"/>
                </a:lnTo>
                <a:lnTo>
                  <a:pt x="179659" y="124948"/>
                </a:lnTo>
                <a:lnTo>
                  <a:pt x="179818" y="125001"/>
                </a:lnTo>
                <a:lnTo>
                  <a:pt x="180293" y="124790"/>
                </a:lnTo>
                <a:lnTo>
                  <a:pt x="180557" y="124843"/>
                </a:lnTo>
                <a:lnTo>
                  <a:pt x="180874" y="125001"/>
                </a:lnTo>
                <a:lnTo>
                  <a:pt x="181085" y="125318"/>
                </a:lnTo>
                <a:lnTo>
                  <a:pt x="181243" y="125741"/>
                </a:lnTo>
                <a:lnTo>
                  <a:pt x="181191" y="125741"/>
                </a:lnTo>
                <a:lnTo>
                  <a:pt x="181085" y="125688"/>
                </a:lnTo>
                <a:lnTo>
                  <a:pt x="181032" y="125635"/>
                </a:lnTo>
                <a:lnTo>
                  <a:pt x="180927" y="125529"/>
                </a:lnTo>
                <a:lnTo>
                  <a:pt x="180874" y="125477"/>
                </a:lnTo>
                <a:lnTo>
                  <a:pt x="180768" y="125424"/>
                </a:lnTo>
                <a:lnTo>
                  <a:pt x="179184" y="125054"/>
                </a:lnTo>
                <a:lnTo>
                  <a:pt x="178973" y="124948"/>
                </a:lnTo>
                <a:lnTo>
                  <a:pt x="178339" y="124948"/>
                </a:lnTo>
                <a:lnTo>
                  <a:pt x="178128" y="124737"/>
                </a:lnTo>
                <a:lnTo>
                  <a:pt x="177969" y="124684"/>
                </a:lnTo>
                <a:lnTo>
                  <a:pt x="177811" y="124632"/>
                </a:lnTo>
                <a:lnTo>
                  <a:pt x="177494" y="124579"/>
                </a:lnTo>
                <a:lnTo>
                  <a:pt x="177336" y="124632"/>
                </a:lnTo>
                <a:lnTo>
                  <a:pt x="176966" y="124896"/>
                </a:lnTo>
                <a:lnTo>
                  <a:pt x="176755" y="124948"/>
                </a:lnTo>
                <a:lnTo>
                  <a:pt x="176438" y="125160"/>
                </a:lnTo>
                <a:lnTo>
                  <a:pt x="175593" y="124948"/>
                </a:lnTo>
                <a:lnTo>
                  <a:pt x="175540" y="124948"/>
                </a:lnTo>
                <a:lnTo>
                  <a:pt x="175434" y="124843"/>
                </a:lnTo>
                <a:lnTo>
                  <a:pt x="175276" y="124684"/>
                </a:lnTo>
                <a:lnTo>
                  <a:pt x="175170" y="124473"/>
                </a:lnTo>
                <a:lnTo>
                  <a:pt x="175118" y="124262"/>
                </a:lnTo>
                <a:lnTo>
                  <a:pt x="175065" y="124051"/>
                </a:lnTo>
                <a:lnTo>
                  <a:pt x="174801" y="123892"/>
                </a:lnTo>
                <a:lnTo>
                  <a:pt x="174484" y="124051"/>
                </a:lnTo>
                <a:lnTo>
                  <a:pt x="173797" y="124579"/>
                </a:lnTo>
                <a:lnTo>
                  <a:pt x="173058" y="125107"/>
                </a:lnTo>
                <a:lnTo>
                  <a:pt x="171791" y="126216"/>
                </a:lnTo>
                <a:lnTo>
                  <a:pt x="171685" y="126374"/>
                </a:lnTo>
                <a:lnTo>
                  <a:pt x="171579" y="126480"/>
                </a:lnTo>
                <a:lnTo>
                  <a:pt x="170734" y="126586"/>
                </a:lnTo>
                <a:lnTo>
                  <a:pt x="170629" y="126638"/>
                </a:lnTo>
                <a:lnTo>
                  <a:pt x="170523" y="126797"/>
                </a:lnTo>
                <a:lnTo>
                  <a:pt x="170365" y="126902"/>
                </a:lnTo>
                <a:lnTo>
                  <a:pt x="170048" y="126902"/>
                </a:lnTo>
                <a:lnTo>
                  <a:pt x="169942" y="127114"/>
                </a:lnTo>
                <a:lnTo>
                  <a:pt x="169942" y="127272"/>
                </a:lnTo>
                <a:lnTo>
                  <a:pt x="169995" y="127483"/>
                </a:lnTo>
                <a:lnTo>
                  <a:pt x="170101" y="127695"/>
                </a:lnTo>
                <a:lnTo>
                  <a:pt x="170206" y="127853"/>
                </a:lnTo>
                <a:lnTo>
                  <a:pt x="170312" y="128328"/>
                </a:lnTo>
                <a:lnTo>
                  <a:pt x="170365" y="128487"/>
                </a:lnTo>
                <a:lnTo>
                  <a:pt x="170523" y="128698"/>
                </a:lnTo>
                <a:lnTo>
                  <a:pt x="170523" y="128856"/>
                </a:lnTo>
                <a:lnTo>
                  <a:pt x="170523" y="129332"/>
                </a:lnTo>
                <a:lnTo>
                  <a:pt x="170417" y="129965"/>
                </a:lnTo>
                <a:lnTo>
                  <a:pt x="170417" y="130177"/>
                </a:lnTo>
                <a:lnTo>
                  <a:pt x="170417" y="130282"/>
                </a:lnTo>
                <a:lnTo>
                  <a:pt x="170365" y="130335"/>
                </a:lnTo>
                <a:lnTo>
                  <a:pt x="170153" y="130335"/>
                </a:lnTo>
                <a:lnTo>
                  <a:pt x="170101" y="130388"/>
                </a:lnTo>
                <a:lnTo>
                  <a:pt x="170048" y="130493"/>
                </a:lnTo>
                <a:lnTo>
                  <a:pt x="170048" y="130652"/>
                </a:lnTo>
                <a:lnTo>
                  <a:pt x="170048" y="131074"/>
                </a:lnTo>
                <a:lnTo>
                  <a:pt x="169995" y="131550"/>
                </a:lnTo>
                <a:lnTo>
                  <a:pt x="169837" y="131867"/>
                </a:lnTo>
                <a:lnTo>
                  <a:pt x="169678" y="132131"/>
                </a:lnTo>
                <a:lnTo>
                  <a:pt x="168516" y="133504"/>
                </a:lnTo>
                <a:lnTo>
                  <a:pt x="168463" y="133662"/>
                </a:lnTo>
                <a:lnTo>
                  <a:pt x="168411" y="133820"/>
                </a:lnTo>
                <a:lnTo>
                  <a:pt x="168411" y="134032"/>
                </a:lnTo>
                <a:lnTo>
                  <a:pt x="167988" y="135299"/>
                </a:lnTo>
                <a:lnTo>
                  <a:pt x="167935" y="135510"/>
                </a:lnTo>
                <a:lnTo>
                  <a:pt x="167935" y="135616"/>
                </a:lnTo>
                <a:lnTo>
                  <a:pt x="167777" y="135827"/>
                </a:lnTo>
                <a:lnTo>
                  <a:pt x="167777" y="135933"/>
                </a:lnTo>
                <a:lnTo>
                  <a:pt x="167830" y="136303"/>
                </a:lnTo>
                <a:lnTo>
                  <a:pt x="168041" y="136567"/>
                </a:lnTo>
                <a:lnTo>
                  <a:pt x="168252" y="136831"/>
                </a:lnTo>
                <a:lnTo>
                  <a:pt x="168411" y="136883"/>
                </a:lnTo>
                <a:lnTo>
                  <a:pt x="169942" y="137570"/>
                </a:lnTo>
                <a:lnTo>
                  <a:pt x="169942" y="137570"/>
                </a:lnTo>
                <a:lnTo>
                  <a:pt x="169837" y="137517"/>
                </a:lnTo>
                <a:lnTo>
                  <a:pt x="169784" y="137412"/>
                </a:lnTo>
                <a:lnTo>
                  <a:pt x="169784" y="137359"/>
                </a:lnTo>
                <a:lnTo>
                  <a:pt x="169784" y="137253"/>
                </a:lnTo>
                <a:lnTo>
                  <a:pt x="169837" y="137148"/>
                </a:lnTo>
                <a:lnTo>
                  <a:pt x="169942" y="137042"/>
                </a:lnTo>
                <a:lnTo>
                  <a:pt x="169995" y="137042"/>
                </a:lnTo>
                <a:lnTo>
                  <a:pt x="170153" y="136989"/>
                </a:lnTo>
                <a:lnTo>
                  <a:pt x="170946" y="136303"/>
                </a:lnTo>
                <a:lnTo>
                  <a:pt x="171262" y="136197"/>
                </a:lnTo>
                <a:lnTo>
                  <a:pt x="171474" y="135933"/>
                </a:lnTo>
                <a:lnTo>
                  <a:pt x="171632" y="135827"/>
                </a:lnTo>
                <a:lnTo>
                  <a:pt x="171843" y="135827"/>
                </a:lnTo>
                <a:lnTo>
                  <a:pt x="172002" y="135986"/>
                </a:lnTo>
                <a:lnTo>
                  <a:pt x="171632" y="136355"/>
                </a:lnTo>
                <a:lnTo>
                  <a:pt x="171526" y="136514"/>
                </a:lnTo>
                <a:lnTo>
                  <a:pt x="171474" y="136619"/>
                </a:lnTo>
                <a:lnTo>
                  <a:pt x="171421" y="136831"/>
                </a:lnTo>
                <a:lnTo>
                  <a:pt x="171368" y="136936"/>
                </a:lnTo>
                <a:lnTo>
                  <a:pt x="171315" y="136989"/>
                </a:lnTo>
                <a:lnTo>
                  <a:pt x="171157" y="137095"/>
                </a:lnTo>
                <a:lnTo>
                  <a:pt x="171104" y="137148"/>
                </a:lnTo>
                <a:lnTo>
                  <a:pt x="170998" y="137253"/>
                </a:lnTo>
                <a:lnTo>
                  <a:pt x="170998" y="137359"/>
                </a:lnTo>
                <a:lnTo>
                  <a:pt x="171157" y="137570"/>
                </a:lnTo>
                <a:lnTo>
                  <a:pt x="171157" y="137676"/>
                </a:lnTo>
                <a:lnTo>
                  <a:pt x="171051" y="137676"/>
                </a:lnTo>
                <a:lnTo>
                  <a:pt x="170840" y="137623"/>
                </a:lnTo>
                <a:lnTo>
                  <a:pt x="170734" y="137676"/>
                </a:lnTo>
                <a:lnTo>
                  <a:pt x="170734" y="137781"/>
                </a:lnTo>
                <a:lnTo>
                  <a:pt x="170734" y="137887"/>
                </a:lnTo>
                <a:lnTo>
                  <a:pt x="170681" y="137992"/>
                </a:lnTo>
                <a:lnTo>
                  <a:pt x="170629" y="137992"/>
                </a:lnTo>
                <a:lnTo>
                  <a:pt x="170365" y="137940"/>
                </a:lnTo>
                <a:lnTo>
                  <a:pt x="170259" y="137940"/>
                </a:lnTo>
                <a:lnTo>
                  <a:pt x="169995" y="138098"/>
                </a:lnTo>
                <a:lnTo>
                  <a:pt x="169889" y="138204"/>
                </a:lnTo>
                <a:lnTo>
                  <a:pt x="169837" y="138468"/>
                </a:lnTo>
                <a:lnTo>
                  <a:pt x="169889" y="138573"/>
                </a:lnTo>
                <a:lnTo>
                  <a:pt x="170153" y="138785"/>
                </a:lnTo>
                <a:lnTo>
                  <a:pt x="170206" y="138943"/>
                </a:lnTo>
                <a:lnTo>
                  <a:pt x="170206" y="139049"/>
                </a:lnTo>
                <a:lnTo>
                  <a:pt x="170101" y="139049"/>
                </a:lnTo>
                <a:lnTo>
                  <a:pt x="169995" y="138943"/>
                </a:lnTo>
                <a:lnTo>
                  <a:pt x="169942" y="138837"/>
                </a:lnTo>
                <a:lnTo>
                  <a:pt x="169784" y="138732"/>
                </a:lnTo>
                <a:lnTo>
                  <a:pt x="168939" y="138626"/>
                </a:lnTo>
                <a:lnTo>
                  <a:pt x="168780" y="138679"/>
                </a:lnTo>
                <a:lnTo>
                  <a:pt x="168675" y="138837"/>
                </a:lnTo>
                <a:lnTo>
                  <a:pt x="168622" y="138996"/>
                </a:lnTo>
                <a:lnTo>
                  <a:pt x="168463" y="139049"/>
                </a:lnTo>
                <a:lnTo>
                  <a:pt x="168199" y="139049"/>
                </a:lnTo>
                <a:lnTo>
                  <a:pt x="167935" y="139207"/>
                </a:lnTo>
                <a:lnTo>
                  <a:pt x="167777" y="139313"/>
                </a:lnTo>
                <a:lnTo>
                  <a:pt x="167777" y="139418"/>
                </a:lnTo>
                <a:lnTo>
                  <a:pt x="167883" y="139577"/>
                </a:lnTo>
                <a:lnTo>
                  <a:pt x="168094" y="139735"/>
                </a:lnTo>
                <a:lnTo>
                  <a:pt x="168199" y="139841"/>
                </a:lnTo>
                <a:lnTo>
                  <a:pt x="167830" y="139788"/>
                </a:lnTo>
                <a:lnTo>
                  <a:pt x="167671" y="139841"/>
                </a:lnTo>
                <a:lnTo>
                  <a:pt x="167513" y="139999"/>
                </a:lnTo>
                <a:lnTo>
                  <a:pt x="167407" y="140105"/>
                </a:lnTo>
                <a:lnTo>
                  <a:pt x="167407" y="140263"/>
                </a:lnTo>
                <a:lnTo>
                  <a:pt x="167407" y="140422"/>
                </a:lnTo>
                <a:lnTo>
                  <a:pt x="167407" y="140527"/>
                </a:lnTo>
                <a:lnTo>
                  <a:pt x="167513" y="140633"/>
                </a:lnTo>
                <a:lnTo>
                  <a:pt x="167566" y="140686"/>
                </a:lnTo>
                <a:lnTo>
                  <a:pt x="167777" y="140686"/>
                </a:lnTo>
                <a:lnTo>
                  <a:pt x="167830" y="140739"/>
                </a:lnTo>
                <a:lnTo>
                  <a:pt x="167830" y="140844"/>
                </a:lnTo>
                <a:lnTo>
                  <a:pt x="167830" y="140897"/>
                </a:lnTo>
                <a:lnTo>
                  <a:pt x="167671" y="140897"/>
                </a:lnTo>
                <a:lnTo>
                  <a:pt x="167777" y="141055"/>
                </a:lnTo>
                <a:lnTo>
                  <a:pt x="167883" y="141108"/>
                </a:lnTo>
                <a:lnTo>
                  <a:pt x="167988" y="141108"/>
                </a:lnTo>
                <a:lnTo>
                  <a:pt x="168358" y="141003"/>
                </a:lnTo>
                <a:lnTo>
                  <a:pt x="168358" y="141055"/>
                </a:lnTo>
                <a:lnTo>
                  <a:pt x="168358" y="141161"/>
                </a:lnTo>
                <a:lnTo>
                  <a:pt x="168358" y="141320"/>
                </a:lnTo>
                <a:lnTo>
                  <a:pt x="168516" y="141531"/>
                </a:lnTo>
                <a:lnTo>
                  <a:pt x="168780" y="141584"/>
                </a:lnTo>
                <a:lnTo>
                  <a:pt x="169308" y="141478"/>
                </a:lnTo>
                <a:lnTo>
                  <a:pt x="169256" y="141320"/>
                </a:lnTo>
                <a:lnTo>
                  <a:pt x="169150" y="141425"/>
                </a:lnTo>
                <a:lnTo>
                  <a:pt x="169097" y="141320"/>
                </a:lnTo>
                <a:lnTo>
                  <a:pt x="169097" y="141267"/>
                </a:lnTo>
                <a:lnTo>
                  <a:pt x="169150" y="141214"/>
                </a:lnTo>
                <a:lnTo>
                  <a:pt x="169256" y="141214"/>
                </a:lnTo>
                <a:lnTo>
                  <a:pt x="169572" y="141267"/>
                </a:lnTo>
                <a:lnTo>
                  <a:pt x="169678" y="141267"/>
                </a:lnTo>
                <a:lnTo>
                  <a:pt x="169784" y="141108"/>
                </a:lnTo>
                <a:lnTo>
                  <a:pt x="169520" y="141108"/>
                </a:lnTo>
                <a:lnTo>
                  <a:pt x="169625" y="141003"/>
                </a:lnTo>
                <a:lnTo>
                  <a:pt x="169995" y="140791"/>
                </a:lnTo>
                <a:lnTo>
                  <a:pt x="170153" y="140791"/>
                </a:lnTo>
                <a:lnTo>
                  <a:pt x="170206" y="140897"/>
                </a:lnTo>
                <a:lnTo>
                  <a:pt x="170365" y="140950"/>
                </a:lnTo>
                <a:lnTo>
                  <a:pt x="170629" y="141108"/>
                </a:lnTo>
                <a:lnTo>
                  <a:pt x="170998" y="141108"/>
                </a:lnTo>
                <a:lnTo>
                  <a:pt x="171104" y="141161"/>
                </a:lnTo>
                <a:lnTo>
                  <a:pt x="171210" y="141214"/>
                </a:lnTo>
                <a:lnTo>
                  <a:pt x="171262" y="141214"/>
                </a:lnTo>
                <a:lnTo>
                  <a:pt x="171421" y="141161"/>
                </a:lnTo>
                <a:lnTo>
                  <a:pt x="171474" y="141108"/>
                </a:lnTo>
                <a:lnTo>
                  <a:pt x="171474" y="141003"/>
                </a:lnTo>
                <a:lnTo>
                  <a:pt x="171474" y="140950"/>
                </a:lnTo>
                <a:lnTo>
                  <a:pt x="171474" y="140897"/>
                </a:lnTo>
                <a:lnTo>
                  <a:pt x="171421" y="140844"/>
                </a:lnTo>
                <a:lnTo>
                  <a:pt x="171315" y="140791"/>
                </a:lnTo>
                <a:lnTo>
                  <a:pt x="171104" y="140580"/>
                </a:lnTo>
                <a:lnTo>
                  <a:pt x="171051" y="140527"/>
                </a:lnTo>
                <a:lnTo>
                  <a:pt x="170946" y="140422"/>
                </a:lnTo>
                <a:lnTo>
                  <a:pt x="170734" y="140422"/>
                </a:lnTo>
                <a:lnTo>
                  <a:pt x="170681" y="140316"/>
                </a:lnTo>
                <a:lnTo>
                  <a:pt x="170734" y="140263"/>
                </a:lnTo>
                <a:lnTo>
                  <a:pt x="170893" y="140263"/>
                </a:lnTo>
                <a:lnTo>
                  <a:pt x="171104" y="140369"/>
                </a:lnTo>
                <a:lnTo>
                  <a:pt x="171368" y="140475"/>
                </a:lnTo>
                <a:lnTo>
                  <a:pt x="171526" y="140527"/>
                </a:lnTo>
                <a:lnTo>
                  <a:pt x="171579" y="140527"/>
                </a:lnTo>
                <a:lnTo>
                  <a:pt x="171632" y="140475"/>
                </a:lnTo>
                <a:lnTo>
                  <a:pt x="171738" y="140475"/>
                </a:lnTo>
                <a:lnTo>
                  <a:pt x="171791" y="140527"/>
                </a:lnTo>
                <a:lnTo>
                  <a:pt x="171843" y="140633"/>
                </a:lnTo>
                <a:lnTo>
                  <a:pt x="171896" y="140686"/>
                </a:lnTo>
                <a:lnTo>
                  <a:pt x="171949" y="140686"/>
                </a:lnTo>
                <a:lnTo>
                  <a:pt x="171949" y="140739"/>
                </a:lnTo>
                <a:lnTo>
                  <a:pt x="171896" y="140844"/>
                </a:lnTo>
                <a:lnTo>
                  <a:pt x="171896" y="140950"/>
                </a:lnTo>
                <a:lnTo>
                  <a:pt x="172002" y="141108"/>
                </a:lnTo>
                <a:lnTo>
                  <a:pt x="172160" y="141320"/>
                </a:lnTo>
                <a:lnTo>
                  <a:pt x="172160" y="141003"/>
                </a:lnTo>
                <a:lnTo>
                  <a:pt x="172319" y="140633"/>
                </a:lnTo>
                <a:lnTo>
                  <a:pt x="172477" y="140527"/>
                </a:lnTo>
                <a:lnTo>
                  <a:pt x="172477" y="140369"/>
                </a:lnTo>
                <a:lnTo>
                  <a:pt x="172371" y="140105"/>
                </a:lnTo>
                <a:lnTo>
                  <a:pt x="172319" y="139999"/>
                </a:lnTo>
                <a:lnTo>
                  <a:pt x="172319" y="139894"/>
                </a:lnTo>
                <a:lnTo>
                  <a:pt x="172583" y="139788"/>
                </a:lnTo>
                <a:lnTo>
                  <a:pt x="172635" y="139788"/>
                </a:lnTo>
                <a:lnTo>
                  <a:pt x="172635" y="139735"/>
                </a:lnTo>
                <a:lnTo>
                  <a:pt x="172952" y="139471"/>
                </a:lnTo>
                <a:lnTo>
                  <a:pt x="173005" y="139418"/>
                </a:lnTo>
                <a:lnTo>
                  <a:pt x="173111" y="139366"/>
                </a:lnTo>
                <a:lnTo>
                  <a:pt x="173164" y="139207"/>
                </a:lnTo>
                <a:lnTo>
                  <a:pt x="173216" y="139049"/>
                </a:lnTo>
                <a:lnTo>
                  <a:pt x="173216" y="138996"/>
                </a:lnTo>
                <a:lnTo>
                  <a:pt x="173533" y="138996"/>
                </a:lnTo>
                <a:lnTo>
                  <a:pt x="173692" y="138943"/>
                </a:lnTo>
                <a:lnTo>
                  <a:pt x="173744" y="138837"/>
                </a:lnTo>
                <a:lnTo>
                  <a:pt x="173744" y="138785"/>
                </a:lnTo>
                <a:lnTo>
                  <a:pt x="173692" y="138732"/>
                </a:lnTo>
                <a:lnTo>
                  <a:pt x="173586" y="138679"/>
                </a:lnTo>
                <a:lnTo>
                  <a:pt x="173586" y="138626"/>
                </a:lnTo>
                <a:lnTo>
                  <a:pt x="173797" y="138521"/>
                </a:lnTo>
                <a:lnTo>
                  <a:pt x="173850" y="138468"/>
                </a:lnTo>
                <a:lnTo>
                  <a:pt x="173850" y="138309"/>
                </a:lnTo>
                <a:lnTo>
                  <a:pt x="173797" y="138151"/>
                </a:lnTo>
                <a:lnTo>
                  <a:pt x="173692" y="138045"/>
                </a:lnTo>
                <a:lnTo>
                  <a:pt x="173586" y="137887"/>
                </a:lnTo>
                <a:lnTo>
                  <a:pt x="173533" y="137834"/>
                </a:lnTo>
                <a:lnTo>
                  <a:pt x="173533" y="137781"/>
                </a:lnTo>
                <a:lnTo>
                  <a:pt x="173692" y="137676"/>
                </a:lnTo>
                <a:lnTo>
                  <a:pt x="174114" y="137359"/>
                </a:lnTo>
                <a:lnTo>
                  <a:pt x="174273" y="137359"/>
                </a:lnTo>
                <a:lnTo>
                  <a:pt x="174220" y="137517"/>
                </a:lnTo>
                <a:lnTo>
                  <a:pt x="174061" y="137834"/>
                </a:lnTo>
                <a:lnTo>
                  <a:pt x="174009" y="137940"/>
                </a:lnTo>
                <a:lnTo>
                  <a:pt x="174061" y="138151"/>
                </a:lnTo>
                <a:lnTo>
                  <a:pt x="174273" y="138309"/>
                </a:lnTo>
                <a:lnTo>
                  <a:pt x="174273" y="138468"/>
                </a:lnTo>
                <a:lnTo>
                  <a:pt x="174325" y="138573"/>
                </a:lnTo>
                <a:lnTo>
                  <a:pt x="174378" y="138573"/>
                </a:lnTo>
                <a:lnTo>
                  <a:pt x="174431" y="138521"/>
                </a:lnTo>
                <a:lnTo>
                  <a:pt x="174431" y="138362"/>
                </a:lnTo>
                <a:lnTo>
                  <a:pt x="174642" y="137992"/>
                </a:lnTo>
                <a:lnTo>
                  <a:pt x="174748" y="137570"/>
                </a:lnTo>
                <a:lnTo>
                  <a:pt x="174853" y="137464"/>
                </a:lnTo>
                <a:lnTo>
                  <a:pt x="174959" y="137359"/>
                </a:lnTo>
                <a:lnTo>
                  <a:pt x="175329" y="136514"/>
                </a:lnTo>
                <a:lnTo>
                  <a:pt x="175434" y="136355"/>
                </a:lnTo>
                <a:lnTo>
                  <a:pt x="175593" y="136303"/>
                </a:lnTo>
                <a:lnTo>
                  <a:pt x="175593" y="136461"/>
                </a:lnTo>
                <a:lnTo>
                  <a:pt x="175487" y="136725"/>
                </a:lnTo>
                <a:lnTo>
                  <a:pt x="175382" y="136883"/>
                </a:lnTo>
                <a:lnTo>
                  <a:pt x="175382" y="137042"/>
                </a:lnTo>
                <a:lnTo>
                  <a:pt x="175382" y="137095"/>
                </a:lnTo>
                <a:lnTo>
                  <a:pt x="175276" y="137253"/>
                </a:lnTo>
                <a:lnTo>
                  <a:pt x="175276" y="137359"/>
                </a:lnTo>
                <a:lnTo>
                  <a:pt x="175276" y="137517"/>
                </a:lnTo>
                <a:lnTo>
                  <a:pt x="175276" y="137623"/>
                </a:lnTo>
                <a:lnTo>
                  <a:pt x="175223" y="137676"/>
                </a:lnTo>
                <a:lnTo>
                  <a:pt x="175065" y="137781"/>
                </a:lnTo>
                <a:lnTo>
                  <a:pt x="175012" y="137834"/>
                </a:lnTo>
                <a:lnTo>
                  <a:pt x="175012" y="137940"/>
                </a:lnTo>
                <a:lnTo>
                  <a:pt x="175012" y="138045"/>
                </a:lnTo>
                <a:lnTo>
                  <a:pt x="175065" y="138098"/>
                </a:lnTo>
                <a:lnTo>
                  <a:pt x="175118" y="138098"/>
                </a:lnTo>
                <a:lnTo>
                  <a:pt x="175065" y="138204"/>
                </a:lnTo>
                <a:lnTo>
                  <a:pt x="175012" y="138257"/>
                </a:lnTo>
                <a:lnTo>
                  <a:pt x="174906" y="138257"/>
                </a:lnTo>
                <a:lnTo>
                  <a:pt x="174959" y="138362"/>
                </a:lnTo>
                <a:lnTo>
                  <a:pt x="174906" y="138415"/>
                </a:lnTo>
                <a:lnTo>
                  <a:pt x="174853" y="138415"/>
                </a:lnTo>
                <a:lnTo>
                  <a:pt x="174959" y="138521"/>
                </a:lnTo>
                <a:lnTo>
                  <a:pt x="175065" y="138521"/>
                </a:lnTo>
                <a:lnTo>
                  <a:pt x="175170" y="138415"/>
                </a:lnTo>
                <a:lnTo>
                  <a:pt x="175329" y="138257"/>
                </a:lnTo>
                <a:lnTo>
                  <a:pt x="175540" y="138257"/>
                </a:lnTo>
                <a:lnTo>
                  <a:pt x="175487" y="137992"/>
                </a:lnTo>
                <a:lnTo>
                  <a:pt x="175857" y="137992"/>
                </a:lnTo>
                <a:lnTo>
                  <a:pt x="175804" y="137834"/>
                </a:lnTo>
                <a:lnTo>
                  <a:pt x="175751" y="137623"/>
                </a:lnTo>
                <a:lnTo>
                  <a:pt x="175751" y="137464"/>
                </a:lnTo>
                <a:lnTo>
                  <a:pt x="175857" y="137359"/>
                </a:lnTo>
                <a:lnTo>
                  <a:pt x="175910" y="137359"/>
                </a:lnTo>
                <a:lnTo>
                  <a:pt x="176015" y="137517"/>
                </a:lnTo>
                <a:lnTo>
                  <a:pt x="176068" y="137570"/>
                </a:lnTo>
                <a:lnTo>
                  <a:pt x="176121" y="137570"/>
                </a:lnTo>
                <a:lnTo>
                  <a:pt x="176174" y="137517"/>
                </a:lnTo>
                <a:lnTo>
                  <a:pt x="176279" y="137359"/>
                </a:lnTo>
                <a:lnTo>
                  <a:pt x="176227" y="137306"/>
                </a:lnTo>
                <a:lnTo>
                  <a:pt x="176227" y="137200"/>
                </a:lnTo>
                <a:lnTo>
                  <a:pt x="176227" y="137042"/>
                </a:lnTo>
                <a:lnTo>
                  <a:pt x="176227" y="136883"/>
                </a:lnTo>
                <a:lnTo>
                  <a:pt x="176227" y="136725"/>
                </a:lnTo>
                <a:lnTo>
                  <a:pt x="176174" y="136672"/>
                </a:lnTo>
                <a:lnTo>
                  <a:pt x="176121" y="136567"/>
                </a:lnTo>
                <a:lnTo>
                  <a:pt x="176068" y="136461"/>
                </a:lnTo>
                <a:lnTo>
                  <a:pt x="176121" y="136408"/>
                </a:lnTo>
                <a:lnTo>
                  <a:pt x="176227" y="136408"/>
                </a:lnTo>
                <a:lnTo>
                  <a:pt x="176332" y="136514"/>
                </a:lnTo>
                <a:lnTo>
                  <a:pt x="176385" y="136619"/>
                </a:lnTo>
                <a:lnTo>
                  <a:pt x="176491" y="136883"/>
                </a:lnTo>
                <a:lnTo>
                  <a:pt x="176543" y="136989"/>
                </a:lnTo>
                <a:lnTo>
                  <a:pt x="176649" y="137042"/>
                </a:lnTo>
                <a:lnTo>
                  <a:pt x="176649" y="136936"/>
                </a:lnTo>
                <a:lnTo>
                  <a:pt x="176860" y="136672"/>
                </a:lnTo>
                <a:lnTo>
                  <a:pt x="177071" y="136197"/>
                </a:lnTo>
                <a:lnTo>
                  <a:pt x="176860" y="136197"/>
                </a:lnTo>
                <a:lnTo>
                  <a:pt x="176807" y="135986"/>
                </a:lnTo>
                <a:lnTo>
                  <a:pt x="176807" y="135933"/>
                </a:lnTo>
                <a:lnTo>
                  <a:pt x="176491" y="135722"/>
                </a:lnTo>
                <a:lnTo>
                  <a:pt x="176491" y="135563"/>
                </a:lnTo>
                <a:lnTo>
                  <a:pt x="176543" y="135510"/>
                </a:lnTo>
                <a:lnTo>
                  <a:pt x="176596" y="135510"/>
                </a:lnTo>
                <a:lnTo>
                  <a:pt x="176860" y="135669"/>
                </a:lnTo>
                <a:lnTo>
                  <a:pt x="177071" y="135669"/>
                </a:lnTo>
                <a:lnTo>
                  <a:pt x="177124" y="135722"/>
                </a:lnTo>
                <a:lnTo>
                  <a:pt x="177283" y="136039"/>
                </a:lnTo>
                <a:lnTo>
                  <a:pt x="177388" y="136144"/>
                </a:lnTo>
                <a:lnTo>
                  <a:pt x="177547" y="136197"/>
                </a:lnTo>
                <a:lnTo>
                  <a:pt x="177600" y="136250"/>
                </a:lnTo>
                <a:lnTo>
                  <a:pt x="177600" y="136355"/>
                </a:lnTo>
                <a:lnTo>
                  <a:pt x="177547" y="136514"/>
                </a:lnTo>
                <a:lnTo>
                  <a:pt x="177547" y="136567"/>
                </a:lnTo>
                <a:lnTo>
                  <a:pt x="177652" y="136672"/>
                </a:lnTo>
                <a:lnTo>
                  <a:pt x="177758" y="136778"/>
                </a:lnTo>
                <a:lnTo>
                  <a:pt x="177811" y="136778"/>
                </a:lnTo>
                <a:lnTo>
                  <a:pt x="177864" y="136725"/>
                </a:lnTo>
                <a:lnTo>
                  <a:pt x="177811" y="136567"/>
                </a:lnTo>
                <a:lnTo>
                  <a:pt x="177811" y="136355"/>
                </a:lnTo>
                <a:lnTo>
                  <a:pt x="177758" y="135616"/>
                </a:lnTo>
                <a:lnTo>
                  <a:pt x="177652" y="135458"/>
                </a:lnTo>
                <a:lnTo>
                  <a:pt x="177388" y="135141"/>
                </a:lnTo>
                <a:lnTo>
                  <a:pt x="177336" y="135088"/>
                </a:lnTo>
                <a:lnTo>
                  <a:pt x="177283" y="135035"/>
                </a:lnTo>
                <a:lnTo>
                  <a:pt x="177388" y="134930"/>
                </a:lnTo>
                <a:lnTo>
                  <a:pt x="177441" y="134930"/>
                </a:lnTo>
                <a:lnTo>
                  <a:pt x="177600" y="135088"/>
                </a:lnTo>
                <a:lnTo>
                  <a:pt x="177705" y="135141"/>
                </a:lnTo>
                <a:lnTo>
                  <a:pt x="177758" y="135088"/>
                </a:lnTo>
                <a:lnTo>
                  <a:pt x="177864" y="134824"/>
                </a:lnTo>
                <a:lnTo>
                  <a:pt x="177864" y="134613"/>
                </a:lnTo>
                <a:lnTo>
                  <a:pt x="177864" y="134085"/>
                </a:lnTo>
                <a:lnTo>
                  <a:pt x="177969" y="133926"/>
                </a:lnTo>
                <a:lnTo>
                  <a:pt x="178075" y="133926"/>
                </a:lnTo>
                <a:lnTo>
                  <a:pt x="178233" y="134137"/>
                </a:lnTo>
                <a:lnTo>
                  <a:pt x="178339" y="134401"/>
                </a:lnTo>
                <a:lnTo>
                  <a:pt x="178339" y="134665"/>
                </a:lnTo>
                <a:lnTo>
                  <a:pt x="178339" y="134771"/>
                </a:lnTo>
                <a:lnTo>
                  <a:pt x="178286" y="135088"/>
                </a:lnTo>
                <a:lnTo>
                  <a:pt x="178286" y="135194"/>
                </a:lnTo>
                <a:lnTo>
                  <a:pt x="178286" y="135299"/>
                </a:lnTo>
                <a:lnTo>
                  <a:pt x="178392" y="135458"/>
                </a:lnTo>
                <a:lnTo>
                  <a:pt x="178392" y="135563"/>
                </a:lnTo>
                <a:lnTo>
                  <a:pt x="178603" y="135563"/>
                </a:lnTo>
                <a:lnTo>
                  <a:pt x="178656" y="135669"/>
                </a:lnTo>
                <a:lnTo>
                  <a:pt x="178656" y="135722"/>
                </a:lnTo>
                <a:lnTo>
                  <a:pt x="178497" y="135933"/>
                </a:lnTo>
                <a:lnTo>
                  <a:pt x="178709" y="135933"/>
                </a:lnTo>
                <a:lnTo>
                  <a:pt x="178814" y="135986"/>
                </a:lnTo>
                <a:lnTo>
                  <a:pt x="178920" y="136091"/>
                </a:lnTo>
                <a:lnTo>
                  <a:pt x="178973" y="136197"/>
                </a:lnTo>
                <a:lnTo>
                  <a:pt x="179025" y="136197"/>
                </a:lnTo>
                <a:lnTo>
                  <a:pt x="179025" y="136091"/>
                </a:lnTo>
                <a:lnTo>
                  <a:pt x="178973" y="135986"/>
                </a:lnTo>
                <a:lnTo>
                  <a:pt x="178920" y="135880"/>
                </a:lnTo>
                <a:lnTo>
                  <a:pt x="178920" y="135774"/>
                </a:lnTo>
                <a:lnTo>
                  <a:pt x="178920" y="135722"/>
                </a:lnTo>
                <a:lnTo>
                  <a:pt x="178920" y="135616"/>
                </a:lnTo>
                <a:lnTo>
                  <a:pt x="178920" y="135510"/>
                </a:lnTo>
                <a:lnTo>
                  <a:pt x="178709" y="135510"/>
                </a:lnTo>
                <a:lnTo>
                  <a:pt x="178656" y="135458"/>
                </a:lnTo>
                <a:lnTo>
                  <a:pt x="178603" y="135405"/>
                </a:lnTo>
                <a:lnTo>
                  <a:pt x="178550" y="135299"/>
                </a:lnTo>
                <a:lnTo>
                  <a:pt x="178497" y="135141"/>
                </a:lnTo>
                <a:lnTo>
                  <a:pt x="178497" y="135088"/>
                </a:lnTo>
                <a:lnTo>
                  <a:pt x="178603" y="134982"/>
                </a:lnTo>
                <a:lnTo>
                  <a:pt x="178709" y="134507"/>
                </a:lnTo>
                <a:lnTo>
                  <a:pt x="178814" y="134401"/>
                </a:lnTo>
                <a:lnTo>
                  <a:pt x="178814" y="134349"/>
                </a:lnTo>
                <a:lnTo>
                  <a:pt x="178973" y="134190"/>
                </a:lnTo>
                <a:lnTo>
                  <a:pt x="179025" y="134137"/>
                </a:lnTo>
                <a:lnTo>
                  <a:pt x="179237" y="134137"/>
                </a:lnTo>
                <a:lnTo>
                  <a:pt x="179290" y="134085"/>
                </a:lnTo>
                <a:lnTo>
                  <a:pt x="179290" y="134032"/>
                </a:lnTo>
                <a:lnTo>
                  <a:pt x="179290" y="133768"/>
                </a:lnTo>
                <a:lnTo>
                  <a:pt x="179290" y="133715"/>
                </a:lnTo>
                <a:lnTo>
                  <a:pt x="179342" y="133609"/>
                </a:lnTo>
                <a:lnTo>
                  <a:pt x="179395" y="133556"/>
                </a:lnTo>
                <a:lnTo>
                  <a:pt x="179554" y="133504"/>
                </a:lnTo>
                <a:lnTo>
                  <a:pt x="179395" y="133345"/>
                </a:lnTo>
                <a:lnTo>
                  <a:pt x="179395" y="133292"/>
                </a:lnTo>
                <a:lnTo>
                  <a:pt x="179342" y="133028"/>
                </a:lnTo>
                <a:lnTo>
                  <a:pt x="179342" y="132923"/>
                </a:lnTo>
                <a:lnTo>
                  <a:pt x="179342" y="132711"/>
                </a:lnTo>
                <a:lnTo>
                  <a:pt x="179342" y="132500"/>
                </a:lnTo>
                <a:lnTo>
                  <a:pt x="179342" y="132395"/>
                </a:lnTo>
                <a:lnTo>
                  <a:pt x="179448" y="132342"/>
                </a:lnTo>
                <a:lnTo>
                  <a:pt x="179554" y="132342"/>
                </a:lnTo>
                <a:lnTo>
                  <a:pt x="179659" y="132447"/>
                </a:lnTo>
                <a:lnTo>
                  <a:pt x="179712" y="132606"/>
                </a:lnTo>
                <a:lnTo>
                  <a:pt x="179765" y="133292"/>
                </a:lnTo>
                <a:lnTo>
                  <a:pt x="179976" y="133292"/>
                </a:lnTo>
                <a:lnTo>
                  <a:pt x="179976" y="133398"/>
                </a:lnTo>
                <a:lnTo>
                  <a:pt x="179976" y="133451"/>
                </a:lnTo>
                <a:lnTo>
                  <a:pt x="179870" y="133504"/>
                </a:lnTo>
                <a:lnTo>
                  <a:pt x="179870" y="133609"/>
                </a:lnTo>
                <a:lnTo>
                  <a:pt x="179870" y="133662"/>
                </a:lnTo>
                <a:lnTo>
                  <a:pt x="179923" y="133662"/>
                </a:lnTo>
                <a:lnTo>
                  <a:pt x="179923" y="133926"/>
                </a:lnTo>
                <a:lnTo>
                  <a:pt x="179976" y="134137"/>
                </a:lnTo>
                <a:lnTo>
                  <a:pt x="179976" y="134665"/>
                </a:lnTo>
                <a:lnTo>
                  <a:pt x="179976" y="134771"/>
                </a:lnTo>
                <a:lnTo>
                  <a:pt x="180029" y="134771"/>
                </a:lnTo>
                <a:lnTo>
                  <a:pt x="180240" y="134665"/>
                </a:lnTo>
                <a:lnTo>
                  <a:pt x="180293" y="134560"/>
                </a:lnTo>
                <a:lnTo>
                  <a:pt x="180346" y="134401"/>
                </a:lnTo>
                <a:lnTo>
                  <a:pt x="180293" y="134296"/>
                </a:lnTo>
                <a:lnTo>
                  <a:pt x="180346" y="134190"/>
                </a:lnTo>
                <a:lnTo>
                  <a:pt x="180399" y="134032"/>
                </a:lnTo>
                <a:lnTo>
                  <a:pt x="180399" y="133873"/>
                </a:lnTo>
                <a:lnTo>
                  <a:pt x="180451" y="133820"/>
                </a:lnTo>
                <a:lnTo>
                  <a:pt x="180451" y="133715"/>
                </a:lnTo>
                <a:lnTo>
                  <a:pt x="180451" y="133609"/>
                </a:lnTo>
                <a:lnTo>
                  <a:pt x="180451" y="133556"/>
                </a:lnTo>
                <a:lnTo>
                  <a:pt x="180451" y="133504"/>
                </a:lnTo>
                <a:lnTo>
                  <a:pt x="180768" y="133187"/>
                </a:lnTo>
                <a:lnTo>
                  <a:pt x="180927" y="133081"/>
                </a:lnTo>
                <a:lnTo>
                  <a:pt x="181085" y="133028"/>
                </a:lnTo>
                <a:lnTo>
                  <a:pt x="181191" y="133134"/>
                </a:lnTo>
                <a:lnTo>
                  <a:pt x="181138" y="133240"/>
                </a:lnTo>
                <a:lnTo>
                  <a:pt x="180874" y="133609"/>
                </a:lnTo>
                <a:lnTo>
                  <a:pt x="180821" y="133715"/>
                </a:lnTo>
                <a:lnTo>
                  <a:pt x="180874" y="133926"/>
                </a:lnTo>
                <a:lnTo>
                  <a:pt x="181032" y="133926"/>
                </a:lnTo>
                <a:lnTo>
                  <a:pt x="181296" y="133768"/>
                </a:lnTo>
                <a:lnTo>
                  <a:pt x="181296" y="133926"/>
                </a:lnTo>
                <a:lnTo>
                  <a:pt x="181402" y="133926"/>
                </a:lnTo>
                <a:lnTo>
                  <a:pt x="181666" y="133820"/>
                </a:lnTo>
                <a:lnTo>
                  <a:pt x="181772" y="133873"/>
                </a:lnTo>
                <a:lnTo>
                  <a:pt x="181930" y="134137"/>
                </a:lnTo>
                <a:lnTo>
                  <a:pt x="181983" y="134190"/>
                </a:lnTo>
                <a:lnTo>
                  <a:pt x="182141" y="134190"/>
                </a:lnTo>
                <a:lnTo>
                  <a:pt x="182405" y="133979"/>
                </a:lnTo>
                <a:lnTo>
                  <a:pt x="182564" y="133926"/>
                </a:lnTo>
                <a:lnTo>
                  <a:pt x="182617" y="133926"/>
                </a:lnTo>
                <a:lnTo>
                  <a:pt x="182722" y="134032"/>
                </a:lnTo>
                <a:lnTo>
                  <a:pt x="182986" y="134032"/>
                </a:lnTo>
                <a:lnTo>
                  <a:pt x="183092" y="134085"/>
                </a:lnTo>
                <a:lnTo>
                  <a:pt x="183092" y="134137"/>
                </a:lnTo>
                <a:lnTo>
                  <a:pt x="183039" y="134190"/>
                </a:lnTo>
                <a:lnTo>
                  <a:pt x="183039" y="134243"/>
                </a:lnTo>
                <a:lnTo>
                  <a:pt x="183092" y="134349"/>
                </a:lnTo>
                <a:lnTo>
                  <a:pt x="183145" y="134349"/>
                </a:lnTo>
                <a:lnTo>
                  <a:pt x="183514" y="134032"/>
                </a:lnTo>
                <a:lnTo>
                  <a:pt x="183620" y="133873"/>
                </a:lnTo>
                <a:lnTo>
                  <a:pt x="183514" y="133820"/>
                </a:lnTo>
                <a:lnTo>
                  <a:pt x="183620" y="133768"/>
                </a:lnTo>
                <a:lnTo>
                  <a:pt x="183673" y="133609"/>
                </a:lnTo>
                <a:lnTo>
                  <a:pt x="183673" y="133504"/>
                </a:lnTo>
                <a:lnTo>
                  <a:pt x="183620" y="133292"/>
                </a:lnTo>
                <a:lnTo>
                  <a:pt x="183726" y="133292"/>
                </a:lnTo>
                <a:lnTo>
                  <a:pt x="183831" y="133451"/>
                </a:lnTo>
                <a:lnTo>
                  <a:pt x="183937" y="133873"/>
                </a:lnTo>
                <a:lnTo>
                  <a:pt x="184042" y="133979"/>
                </a:lnTo>
                <a:lnTo>
                  <a:pt x="184148" y="133979"/>
                </a:lnTo>
                <a:lnTo>
                  <a:pt x="184306" y="133662"/>
                </a:lnTo>
                <a:lnTo>
                  <a:pt x="184254" y="133556"/>
                </a:lnTo>
                <a:lnTo>
                  <a:pt x="184254" y="133504"/>
                </a:lnTo>
                <a:lnTo>
                  <a:pt x="184254" y="133451"/>
                </a:lnTo>
                <a:lnTo>
                  <a:pt x="184095" y="133345"/>
                </a:lnTo>
                <a:lnTo>
                  <a:pt x="184095" y="133292"/>
                </a:lnTo>
                <a:lnTo>
                  <a:pt x="184254" y="133240"/>
                </a:lnTo>
                <a:lnTo>
                  <a:pt x="184359" y="133028"/>
                </a:lnTo>
                <a:lnTo>
                  <a:pt x="184412" y="132764"/>
                </a:lnTo>
                <a:lnTo>
                  <a:pt x="184412" y="132500"/>
                </a:lnTo>
                <a:lnTo>
                  <a:pt x="184570" y="131972"/>
                </a:lnTo>
                <a:lnTo>
                  <a:pt x="184623" y="131972"/>
                </a:lnTo>
                <a:lnTo>
                  <a:pt x="184729" y="132078"/>
                </a:lnTo>
                <a:lnTo>
                  <a:pt x="184782" y="132078"/>
                </a:lnTo>
                <a:lnTo>
                  <a:pt x="184729" y="132289"/>
                </a:lnTo>
                <a:lnTo>
                  <a:pt x="184835" y="132395"/>
                </a:lnTo>
                <a:lnTo>
                  <a:pt x="185072" y="132395"/>
                </a:lnTo>
                <a:lnTo>
                  <a:pt x="184835" y="132553"/>
                </a:lnTo>
                <a:lnTo>
                  <a:pt x="184782" y="132659"/>
                </a:lnTo>
                <a:lnTo>
                  <a:pt x="184887" y="132711"/>
                </a:lnTo>
                <a:lnTo>
                  <a:pt x="185204" y="132711"/>
                </a:lnTo>
                <a:lnTo>
                  <a:pt x="185099" y="132870"/>
                </a:lnTo>
                <a:lnTo>
                  <a:pt x="184835" y="132923"/>
                </a:lnTo>
                <a:lnTo>
                  <a:pt x="184729" y="132976"/>
                </a:lnTo>
                <a:lnTo>
                  <a:pt x="184729" y="133028"/>
                </a:lnTo>
                <a:lnTo>
                  <a:pt x="185099" y="133028"/>
                </a:lnTo>
                <a:lnTo>
                  <a:pt x="185204" y="133134"/>
                </a:lnTo>
                <a:lnTo>
                  <a:pt x="185099" y="133187"/>
                </a:lnTo>
                <a:lnTo>
                  <a:pt x="184782" y="133187"/>
                </a:lnTo>
                <a:lnTo>
                  <a:pt x="184623" y="133292"/>
                </a:lnTo>
                <a:lnTo>
                  <a:pt x="184782" y="133345"/>
                </a:lnTo>
                <a:lnTo>
                  <a:pt x="184887" y="133345"/>
                </a:lnTo>
                <a:lnTo>
                  <a:pt x="185310" y="133240"/>
                </a:lnTo>
                <a:lnTo>
                  <a:pt x="185363" y="133134"/>
                </a:lnTo>
                <a:lnTo>
                  <a:pt x="185468" y="132976"/>
                </a:lnTo>
                <a:lnTo>
                  <a:pt x="185574" y="132923"/>
                </a:lnTo>
                <a:lnTo>
                  <a:pt x="185627" y="132764"/>
                </a:lnTo>
                <a:lnTo>
                  <a:pt x="185679" y="132606"/>
                </a:lnTo>
                <a:lnTo>
                  <a:pt x="185679" y="132447"/>
                </a:lnTo>
                <a:lnTo>
                  <a:pt x="185732" y="132289"/>
                </a:lnTo>
                <a:lnTo>
                  <a:pt x="185838" y="131972"/>
                </a:lnTo>
                <a:lnTo>
                  <a:pt x="185891" y="131814"/>
                </a:lnTo>
                <a:lnTo>
                  <a:pt x="185838" y="131708"/>
                </a:lnTo>
                <a:lnTo>
                  <a:pt x="185785" y="131814"/>
                </a:lnTo>
                <a:lnTo>
                  <a:pt x="185732" y="132078"/>
                </a:lnTo>
                <a:lnTo>
                  <a:pt x="185679" y="132183"/>
                </a:lnTo>
                <a:lnTo>
                  <a:pt x="185627" y="132289"/>
                </a:lnTo>
                <a:lnTo>
                  <a:pt x="185574" y="132342"/>
                </a:lnTo>
                <a:lnTo>
                  <a:pt x="185574" y="132131"/>
                </a:lnTo>
                <a:lnTo>
                  <a:pt x="185468" y="132131"/>
                </a:lnTo>
                <a:lnTo>
                  <a:pt x="185342" y="132215"/>
                </a:lnTo>
                <a:lnTo>
                  <a:pt x="185342" y="132215"/>
                </a:lnTo>
                <a:lnTo>
                  <a:pt x="185363" y="132183"/>
                </a:lnTo>
                <a:lnTo>
                  <a:pt x="185627" y="131708"/>
                </a:lnTo>
                <a:lnTo>
                  <a:pt x="185627" y="131655"/>
                </a:lnTo>
                <a:lnTo>
                  <a:pt x="185627" y="131550"/>
                </a:lnTo>
                <a:lnTo>
                  <a:pt x="185627" y="131444"/>
                </a:lnTo>
                <a:lnTo>
                  <a:pt x="185468" y="131444"/>
                </a:lnTo>
                <a:lnTo>
                  <a:pt x="185363" y="131602"/>
                </a:lnTo>
                <a:lnTo>
                  <a:pt x="185257" y="132078"/>
                </a:lnTo>
                <a:lnTo>
                  <a:pt x="185151" y="132131"/>
                </a:lnTo>
                <a:lnTo>
                  <a:pt x="185257" y="131919"/>
                </a:lnTo>
                <a:lnTo>
                  <a:pt x="185257" y="131761"/>
                </a:lnTo>
                <a:lnTo>
                  <a:pt x="185257" y="131655"/>
                </a:lnTo>
                <a:lnTo>
                  <a:pt x="185151" y="131550"/>
                </a:lnTo>
                <a:lnTo>
                  <a:pt x="184993" y="131497"/>
                </a:lnTo>
                <a:lnTo>
                  <a:pt x="184887" y="131444"/>
                </a:lnTo>
                <a:lnTo>
                  <a:pt x="185046" y="131338"/>
                </a:lnTo>
                <a:lnTo>
                  <a:pt x="185257" y="131338"/>
                </a:lnTo>
                <a:lnTo>
                  <a:pt x="185257" y="131286"/>
                </a:lnTo>
                <a:lnTo>
                  <a:pt x="185046" y="131180"/>
                </a:lnTo>
                <a:lnTo>
                  <a:pt x="184940" y="131286"/>
                </a:lnTo>
                <a:lnTo>
                  <a:pt x="184676" y="131602"/>
                </a:lnTo>
                <a:lnTo>
                  <a:pt x="184518" y="131761"/>
                </a:lnTo>
                <a:lnTo>
                  <a:pt x="184359" y="131814"/>
                </a:lnTo>
                <a:lnTo>
                  <a:pt x="184201" y="131919"/>
                </a:lnTo>
                <a:lnTo>
                  <a:pt x="184042" y="131919"/>
                </a:lnTo>
                <a:lnTo>
                  <a:pt x="184095" y="131761"/>
                </a:lnTo>
                <a:lnTo>
                  <a:pt x="184148" y="131708"/>
                </a:lnTo>
                <a:lnTo>
                  <a:pt x="184254" y="131655"/>
                </a:lnTo>
                <a:lnTo>
                  <a:pt x="184306" y="131602"/>
                </a:lnTo>
                <a:lnTo>
                  <a:pt x="184359" y="131497"/>
                </a:lnTo>
                <a:lnTo>
                  <a:pt x="184412" y="131338"/>
                </a:lnTo>
                <a:lnTo>
                  <a:pt x="184412" y="131233"/>
                </a:lnTo>
                <a:lnTo>
                  <a:pt x="184359" y="131180"/>
                </a:lnTo>
                <a:lnTo>
                  <a:pt x="184306" y="131127"/>
                </a:lnTo>
                <a:lnTo>
                  <a:pt x="184306" y="131022"/>
                </a:lnTo>
                <a:lnTo>
                  <a:pt x="184359" y="130916"/>
                </a:lnTo>
                <a:lnTo>
                  <a:pt x="184412" y="130916"/>
                </a:lnTo>
                <a:lnTo>
                  <a:pt x="184412" y="130969"/>
                </a:lnTo>
                <a:lnTo>
                  <a:pt x="184518" y="131127"/>
                </a:lnTo>
                <a:lnTo>
                  <a:pt x="184570" y="131127"/>
                </a:lnTo>
                <a:lnTo>
                  <a:pt x="184623" y="131074"/>
                </a:lnTo>
                <a:lnTo>
                  <a:pt x="184782" y="130969"/>
                </a:lnTo>
                <a:lnTo>
                  <a:pt x="184993" y="130810"/>
                </a:lnTo>
                <a:lnTo>
                  <a:pt x="185099" y="130546"/>
                </a:lnTo>
                <a:lnTo>
                  <a:pt x="185099" y="130335"/>
                </a:lnTo>
                <a:lnTo>
                  <a:pt x="184993" y="130282"/>
                </a:lnTo>
                <a:lnTo>
                  <a:pt x="184887" y="130282"/>
                </a:lnTo>
                <a:lnTo>
                  <a:pt x="184887" y="130124"/>
                </a:lnTo>
                <a:lnTo>
                  <a:pt x="184940" y="130018"/>
                </a:lnTo>
                <a:lnTo>
                  <a:pt x="185046" y="129965"/>
                </a:lnTo>
                <a:lnTo>
                  <a:pt x="185099" y="130018"/>
                </a:lnTo>
                <a:lnTo>
                  <a:pt x="185099" y="130177"/>
                </a:lnTo>
                <a:lnTo>
                  <a:pt x="185204" y="130229"/>
                </a:lnTo>
                <a:lnTo>
                  <a:pt x="185363" y="130282"/>
                </a:lnTo>
                <a:lnTo>
                  <a:pt x="185468" y="130282"/>
                </a:lnTo>
                <a:lnTo>
                  <a:pt x="185521" y="130124"/>
                </a:lnTo>
                <a:lnTo>
                  <a:pt x="185521" y="130018"/>
                </a:lnTo>
                <a:lnTo>
                  <a:pt x="185310" y="129754"/>
                </a:lnTo>
                <a:lnTo>
                  <a:pt x="185257" y="129649"/>
                </a:lnTo>
                <a:lnTo>
                  <a:pt x="185415" y="129649"/>
                </a:lnTo>
                <a:lnTo>
                  <a:pt x="185627" y="129807"/>
                </a:lnTo>
                <a:lnTo>
                  <a:pt x="185732" y="129860"/>
                </a:lnTo>
                <a:lnTo>
                  <a:pt x="185679" y="129649"/>
                </a:lnTo>
                <a:lnTo>
                  <a:pt x="185732" y="129649"/>
                </a:lnTo>
                <a:lnTo>
                  <a:pt x="185891" y="129807"/>
                </a:lnTo>
                <a:lnTo>
                  <a:pt x="185944" y="129807"/>
                </a:lnTo>
                <a:lnTo>
                  <a:pt x="186102" y="129754"/>
                </a:lnTo>
                <a:lnTo>
                  <a:pt x="186155" y="129649"/>
                </a:lnTo>
                <a:lnTo>
                  <a:pt x="186155" y="129490"/>
                </a:lnTo>
                <a:lnTo>
                  <a:pt x="186366" y="129490"/>
                </a:lnTo>
                <a:lnTo>
                  <a:pt x="186419" y="129437"/>
                </a:lnTo>
                <a:lnTo>
                  <a:pt x="186419" y="129226"/>
                </a:lnTo>
                <a:lnTo>
                  <a:pt x="186419" y="129173"/>
                </a:lnTo>
                <a:lnTo>
                  <a:pt x="186313" y="129226"/>
                </a:lnTo>
                <a:lnTo>
                  <a:pt x="186208" y="129226"/>
                </a:lnTo>
                <a:lnTo>
                  <a:pt x="186155" y="129068"/>
                </a:lnTo>
                <a:lnTo>
                  <a:pt x="186208" y="129068"/>
                </a:lnTo>
                <a:lnTo>
                  <a:pt x="186260" y="129015"/>
                </a:lnTo>
                <a:lnTo>
                  <a:pt x="186313" y="128962"/>
                </a:lnTo>
                <a:lnTo>
                  <a:pt x="186313" y="128909"/>
                </a:lnTo>
                <a:lnTo>
                  <a:pt x="186313" y="128751"/>
                </a:lnTo>
                <a:lnTo>
                  <a:pt x="186260" y="128698"/>
                </a:lnTo>
                <a:lnTo>
                  <a:pt x="186208" y="128698"/>
                </a:lnTo>
                <a:lnTo>
                  <a:pt x="186102" y="128645"/>
                </a:lnTo>
                <a:lnTo>
                  <a:pt x="186102" y="128592"/>
                </a:lnTo>
                <a:lnTo>
                  <a:pt x="186102" y="128487"/>
                </a:lnTo>
                <a:lnTo>
                  <a:pt x="186102" y="128434"/>
                </a:lnTo>
                <a:lnTo>
                  <a:pt x="186049" y="128381"/>
                </a:lnTo>
                <a:lnTo>
                  <a:pt x="185944" y="128487"/>
                </a:lnTo>
                <a:lnTo>
                  <a:pt x="185891" y="128487"/>
                </a:lnTo>
                <a:lnTo>
                  <a:pt x="185944" y="128170"/>
                </a:lnTo>
                <a:lnTo>
                  <a:pt x="185891" y="128117"/>
                </a:lnTo>
                <a:lnTo>
                  <a:pt x="185838" y="128011"/>
                </a:lnTo>
                <a:lnTo>
                  <a:pt x="185785" y="127853"/>
                </a:lnTo>
                <a:lnTo>
                  <a:pt x="185732" y="127853"/>
                </a:lnTo>
                <a:lnTo>
                  <a:pt x="185574" y="128011"/>
                </a:lnTo>
                <a:lnTo>
                  <a:pt x="185521" y="128064"/>
                </a:lnTo>
                <a:lnTo>
                  <a:pt x="185521" y="128275"/>
                </a:lnTo>
                <a:lnTo>
                  <a:pt x="185468" y="128592"/>
                </a:lnTo>
                <a:lnTo>
                  <a:pt x="185415" y="128856"/>
                </a:lnTo>
                <a:lnTo>
                  <a:pt x="185310" y="128804"/>
                </a:lnTo>
                <a:lnTo>
                  <a:pt x="185310" y="128751"/>
                </a:lnTo>
                <a:lnTo>
                  <a:pt x="185363" y="128592"/>
                </a:lnTo>
                <a:lnTo>
                  <a:pt x="185363" y="128487"/>
                </a:lnTo>
                <a:lnTo>
                  <a:pt x="185363" y="128328"/>
                </a:lnTo>
                <a:lnTo>
                  <a:pt x="185310" y="128275"/>
                </a:lnTo>
                <a:lnTo>
                  <a:pt x="185257" y="128275"/>
                </a:lnTo>
                <a:lnTo>
                  <a:pt x="185204" y="128381"/>
                </a:lnTo>
                <a:lnTo>
                  <a:pt x="185204" y="128487"/>
                </a:lnTo>
                <a:lnTo>
                  <a:pt x="185151" y="128539"/>
                </a:lnTo>
                <a:lnTo>
                  <a:pt x="185151" y="128592"/>
                </a:lnTo>
                <a:lnTo>
                  <a:pt x="185151" y="128751"/>
                </a:lnTo>
                <a:lnTo>
                  <a:pt x="185151" y="128804"/>
                </a:lnTo>
                <a:lnTo>
                  <a:pt x="185151" y="128909"/>
                </a:lnTo>
                <a:lnTo>
                  <a:pt x="185151" y="129015"/>
                </a:lnTo>
                <a:lnTo>
                  <a:pt x="185151" y="129120"/>
                </a:lnTo>
                <a:lnTo>
                  <a:pt x="185099" y="129226"/>
                </a:lnTo>
                <a:lnTo>
                  <a:pt x="184940" y="129279"/>
                </a:lnTo>
                <a:lnTo>
                  <a:pt x="184940" y="129068"/>
                </a:lnTo>
                <a:lnTo>
                  <a:pt x="184887" y="128856"/>
                </a:lnTo>
                <a:lnTo>
                  <a:pt x="184729" y="128909"/>
                </a:lnTo>
                <a:lnTo>
                  <a:pt x="184676" y="128962"/>
                </a:lnTo>
                <a:lnTo>
                  <a:pt x="184518" y="128962"/>
                </a:lnTo>
                <a:lnTo>
                  <a:pt x="184570" y="128856"/>
                </a:lnTo>
                <a:lnTo>
                  <a:pt x="184623" y="128751"/>
                </a:lnTo>
                <a:lnTo>
                  <a:pt x="184412" y="128751"/>
                </a:lnTo>
                <a:lnTo>
                  <a:pt x="184465" y="128645"/>
                </a:lnTo>
                <a:lnTo>
                  <a:pt x="184412" y="128592"/>
                </a:lnTo>
                <a:lnTo>
                  <a:pt x="184306" y="128592"/>
                </a:lnTo>
                <a:lnTo>
                  <a:pt x="184201" y="128539"/>
                </a:lnTo>
                <a:lnTo>
                  <a:pt x="184201" y="128487"/>
                </a:lnTo>
                <a:lnTo>
                  <a:pt x="183990" y="128381"/>
                </a:lnTo>
                <a:lnTo>
                  <a:pt x="183778" y="128592"/>
                </a:lnTo>
                <a:lnTo>
                  <a:pt x="183620" y="128804"/>
                </a:lnTo>
                <a:lnTo>
                  <a:pt x="183303" y="128962"/>
                </a:lnTo>
                <a:lnTo>
                  <a:pt x="183145" y="129279"/>
                </a:lnTo>
                <a:lnTo>
                  <a:pt x="183039" y="129332"/>
                </a:lnTo>
                <a:lnTo>
                  <a:pt x="182986" y="129279"/>
                </a:lnTo>
                <a:lnTo>
                  <a:pt x="182986" y="129120"/>
                </a:lnTo>
                <a:lnTo>
                  <a:pt x="183039" y="128962"/>
                </a:lnTo>
                <a:lnTo>
                  <a:pt x="183092" y="128856"/>
                </a:lnTo>
                <a:lnTo>
                  <a:pt x="183356" y="128539"/>
                </a:lnTo>
                <a:lnTo>
                  <a:pt x="183726" y="128275"/>
                </a:lnTo>
                <a:lnTo>
                  <a:pt x="183884" y="128064"/>
                </a:lnTo>
                <a:lnTo>
                  <a:pt x="184042" y="128011"/>
                </a:lnTo>
                <a:lnTo>
                  <a:pt x="184148" y="128011"/>
                </a:lnTo>
                <a:lnTo>
                  <a:pt x="184201" y="128170"/>
                </a:lnTo>
                <a:lnTo>
                  <a:pt x="184254" y="128275"/>
                </a:lnTo>
                <a:lnTo>
                  <a:pt x="184465" y="128275"/>
                </a:lnTo>
                <a:lnTo>
                  <a:pt x="184465" y="128328"/>
                </a:lnTo>
                <a:lnTo>
                  <a:pt x="184465" y="128381"/>
                </a:lnTo>
                <a:lnTo>
                  <a:pt x="184623" y="128434"/>
                </a:lnTo>
                <a:lnTo>
                  <a:pt x="184729" y="128381"/>
                </a:lnTo>
                <a:lnTo>
                  <a:pt x="185046" y="127800"/>
                </a:lnTo>
                <a:lnTo>
                  <a:pt x="185099" y="127800"/>
                </a:lnTo>
                <a:lnTo>
                  <a:pt x="185151" y="127747"/>
                </a:lnTo>
                <a:lnTo>
                  <a:pt x="185204" y="127695"/>
                </a:lnTo>
                <a:lnTo>
                  <a:pt x="185257" y="127642"/>
                </a:lnTo>
                <a:lnTo>
                  <a:pt x="185257" y="127536"/>
                </a:lnTo>
                <a:lnTo>
                  <a:pt x="185257" y="127483"/>
                </a:lnTo>
                <a:lnTo>
                  <a:pt x="185257" y="127378"/>
                </a:lnTo>
                <a:lnTo>
                  <a:pt x="185257" y="127325"/>
                </a:lnTo>
                <a:lnTo>
                  <a:pt x="185204" y="127219"/>
                </a:lnTo>
                <a:lnTo>
                  <a:pt x="185151" y="127061"/>
                </a:lnTo>
                <a:lnTo>
                  <a:pt x="185099" y="126955"/>
                </a:lnTo>
                <a:lnTo>
                  <a:pt x="185046" y="126744"/>
                </a:lnTo>
                <a:lnTo>
                  <a:pt x="185046" y="126586"/>
                </a:lnTo>
                <a:lnTo>
                  <a:pt x="185099" y="126427"/>
                </a:lnTo>
                <a:lnTo>
                  <a:pt x="185151" y="126321"/>
                </a:lnTo>
                <a:lnTo>
                  <a:pt x="185151" y="126216"/>
                </a:lnTo>
                <a:lnTo>
                  <a:pt x="184993" y="126374"/>
                </a:lnTo>
                <a:lnTo>
                  <a:pt x="184835" y="126586"/>
                </a:lnTo>
                <a:lnTo>
                  <a:pt x="184623" y="126902"/>
                </a:lnTo>
                <a:lnTo>
                  <a:pt x="184623" y="127166"/>
                </a:lnTo>
                <a:lnTo>
                  <a:pt x="184570" y="127272"/>
                </a:lnTo>
                <a:lnTo>
                  <a:pt x="184465" y="127272"/>
                </a:lnTo>
                <a:lnTo>
                  <a:pt x="184412" y="127325"/>
                </a:lnTo>
                <a:lnTo>
                  <a:pt x="184306" y="127536"/>
                </a:lnTo>
                <a:lnTo>
                  <a:pt x="184254" y="127589"/>
                </a:lnTo>
                <a:lnTo>
                  <a:pt x="184254" y="127219"/>
                </a:lnTo>
                <a:lnTo>
                  <a:pt x="184306" y="127114"/>
                </a:lnTo>
                <a:lnTo>
                  <a:pt x="184412" y="127061"/>
                </a:lnTo>
                <a:lnTo>
                  <a:pt x="184412" y="127008"/>
                </a:lnTo>
                <a:lnTo>
                  <a:pt x="184412" y="126797"/>
                </a:lnTo>
                <a:lnTo>
                  <a:pt x="184412" y="126691"/>
                </a:lnTo>
                <a:lnTo>
                  <a:pt x="184412" y="126586"/>
                </a:lnTo>
                <a:lnTo>
                  <a:pt x="184465" y="126533"/>
                </a:lnTo>
                <a:lnTo>
                  <a:pt x="184570" y="126480"/>
                </a:lnTo>
                <a:lnTo>
                  <a:pt x="184570" y="126427"/>
                </a:lnTo>
                <a:lnTo>
                  <a:pt x="184570" y="126374"/>
                </a:lnTo>
                <a:lnTo>
                  <a:pt x="184570" y="126321"/>
                </a:lnTo>
                <a:lnTo>
                  <a:pt x="184518" y="126321"/>
                </a:lnTo>
                <a:lnTo>
                  <a:pt x="184518" y="126216"/>
                </a:lnTo>
                <a:lnTo>
                  <a:pt x="184570" y="126216"/>
                </a:lnTo>
                <a:lnTo>
                  <a:pt x="184570" y="126163"/>
                </a:lnTo>
                <a:lnTo>
                  <a:pt x="184254" y="126163"/>
                </a:lnTo>
                <a:lnTo>
                  <a:pt x="184201" y="126269"/>
                </a:lnTo>
                <a:lnTo>
                  <a:pt x="183937" y="126269"/>
                </a:lnTo>
                <a:lnTo>
                  <a:pt x="183831" y="126321"/>
                </a:lnTo>
                <a:lnTo>
                  <a:pt x="183726" y="126427"/>
                </a:lnTo>
                <a:lnTo>
                  <a:pt x="183673" y="126480"/>
                </a:lnTo>
                <a:lnTo>
                  <a:pt x="183620" y="126480"/>
                </a:lnTo>
                <a:lnTo>
                  <a:pt x="183620" y="126638"/>
                </a:lnTo>
                <a:lnTo>
                  <a:pt x="183620" y="126691"/>
                </a:lnTo>
                <a:lnTo>
                  <a:pt x="183620" y="126797"/>
                </a:lnTo>
                <a:lnTo>
                  <a:pt x="183567" y="126850"/>
                </a:lnTo>
                <a:lnTo>
                  <a:pt x="183461" y="126902"/>
                </a:lnTo>
                <a:lnTo>
                  <a:pt x="183356" y="127008"/>
                </a:lnTo>
                <a:lnTo>
                  <a:pt x="183303" y="127061"/>
                </a:lnTo>
                <a:lnTo>
                  <a:pt x="183039" y="127061"/>
                </a:lnTo>
                <a:lnTo>
                  <a:pt x="183039" y="127008"/>
                </a:lnTo>
                <a:lnTo>
                  <a:pt x="183145" y="126955"/>
                </a:lnTo>
                <a:lnTo>
                  <a:pt x="183197" y="126850"/>
                </a:lnTo>
                <a:lnTo>
                  <a:pt x="183250" y="126586"/>
                </a:lnTo>
                <a:lnTo>
                  <a:pt x="183303" y="126480"/>
                </a:lnTo>
                <a:lnTo>
                  <a:pt x="183461" y="126321"/>
                </a:lnTo>
                <a:lnTo>
                  <a:pt x="183514" y="126216"/>
                </a:lnTo>
                <a:lnTo>
                  <a:pt x="183673" y="126057"/>
                </a:lnTo>
                <a:lnTo>
                  <a:pt x="184095" y="125952"/>
                </a:lnTo>
                <a:lnTo>
                  <a:pt x="184254" y="125846"/>
                </a:lnTo>
                <a:lnTo>
                  <a:pt x="184201" y="125741"/>
                </a:lnTo>
                <a:lnTo>
                  <a:pt x="184148" y="125741"/>
                </a:lnTo>
                <a:lnTo>
                  <a:pt x="183831" y="125899"/>
                </a:lnTo>
                <a:lnTo>
                  <a:pt x="183778" y="125793"/>
                </a:lnTo>
                <a:lnTo>
                  <a:pt x="183620" y="125846"/>
                </a:lnTo>
                <a:lnTo>
                  <a:pt x="183461" y="126005"/>
                </a:lnTo>
                <a:lnTo>
                  <a:pt x="183303" y="126057"/>
                </a:lnTo>
                <a:lnTo>
                  <a:pt x="183092" y="126005"/>
                </a:lnTo>
                <a:lnTo>
                  <a:pt x="183673" y="125635"/>
                </a:lnTo>
                <a:lnTo>
                  <a:pt x="183990" y="125529"/>
                </a:lnTo>
                <a:lnTo>
                  <a:pt x="184306" y="125529"/>
                </a:lnTo>
                <a:lnTo>
                  <a:pt x="184412" y="125582"/>
                </a:lnTo>
                <a:lnTo>
                  <a:pt x="184623" y="125741"/>
                </a:lnTo>
                <a:lnTo>
                  <a:pt x="184782" y="125793"/>
                </a:lnTo>
                <a:lnTo>
                  <a:pt x="184887" y="125741"/>
                </a:lnTo>
                <a:lnTo>
                  <a:pt x="184782" y="125582"/>
                </a:lnTo>
                <a:lnTo>
                  <a:pt x="184570" y="125318"/>
                </a:lnTo>
                <a:lnTo>
                  <a:pt x="184676" y="125318"/>
                </a:lnTo>
                <a:lnTo>
                  <a:pt x="184835" y="125424"/>
                </a:lnTo>
                <a:lnTo>
                  <a:pt x="184940" y="125424"/>
                </a:lnTo>
                <a:lnTo>
                  <a:pt x="184993" y="125371"/>
                </a:lnTo>
                <a:lnTo>
                  <a:pt x="184993" y="124948"/>
                </a:lnTo>
                <a:lnTo>
                  <a:pt x="185046" y="124843"/>
                </a:lnTo>
                <a:lnTo>
                  <a:pt x="185099" y="124790"/>
                </a:lnTo>
                <a:lnTo>
                  <a:pt x="185099" y="124737"/>
                </a:lnTo>
                <a:lnTo>
                  <a:pt x="185046" y="124579"/>
                </a:lnTo>
                <a:lnTo>
                  <a:pt x="184887" y="124315"/>
                </a:lnTo>
                <a:lnTo>
                  <a:pt x="184835" y="124209"/>
                </a:lnTo>
                <a:lnTo>
                  <a:pt x="184940" y="124209"/>
                </a:lnTo>
                <a:lnTo>
                  <a:pt x="185099" y="124368"/>
                </a:lnTo>
                <a:lnTo>
                  <a:pt x="185204" y="124368"/>
                </a:lnTo>
                <a:lnTo>
                  <a:pt x="185363" y="124209"/>
                </a:lnTo>
                <a:lnTo>
                  <a:pt x="185415" y="124103"/>
                </a:lnTo>
                <a:lnTo>
                  <a:pt x="185627" y="123681"/>
                </a:lnTo>
                <a:lnTo>
                  <a:pt x="185627" y="123575"/>
                </a:lnTo>
                <a:lnTo>
                  <a:pt x="185627" y="123470"/>
                </a:lnTo>
                <a:lnTo>
                  <a:pt x="185627" y="123364"/>
                </a:lnTo>
                <a:lnTo>
                  <a:pt x="185732" y="123523"/>
                </a:lnTo>
                <a:lnTo>
                  <a:pt x="185732" y="123681"/>
                </a:lnTo>
                <a:lnTo>
                  <a:pt x="185732" y="123734"/>
                </a:lnTo>
                <a:lnTo>
                  <a:pt x="185891" y="123734"/>
                </a:lnTo>
                <a:lnTo>
                  <a:pt x="186049" y="123628"/>
                </a:lnTo>
                <a:lnTo>
                  <a:pt x="186155" y="123364"/>
                </a:lnTo>
                <a:lnTo>
                  <a:pt x="186313" y="122836"/>
                </a:lnTo>
                <a:lnTo>
                  <a:pt x="186577" y="122414"/>
                </a:lnTo>
                <a:lnTo>
                  <a:pt x="186736" y="122202"/>
                </a:lnTo>
                <a:lnTo>
                  <a:pt x="186894" y="122097"/>
                </a:lnTo>
                <a:lnTo>
                  <a:pt x="186894" y="122044"/>
                </a:lnTo>
                <a:lnTo>
                  <a:pt x="187158" y="121621"/>
                </a:lnTo>
                <a:lnTo>
                  <a:pt x="187264" y="121410"/>
                </a:lnTo>
                <a:lnTo>
                  <a:pt x="187317" y="121252"/>
                </a:lnTo>
                <a:lnTo>
                  <a:pt x="187422" y="121252"/>
                </a:lnTo>
                <a:lnTo>
                  <a:pt x="187475" y="121305"/>
                </a:lnTo>
                <a:lnTo>
                  <a:pt x="187475" y="121463"/>
                </a:lnTo>
                <a:lnTo>
                  <a:pt x="187264" y="121833"/>
                </a:lnTo>
                <a:lnTo>
                  <a:pt x="187369" y="121885"/>
                </a:lnTo>
                <a:lnTo>
                  <a:pt x="187422" y="121885"/>
                </a:lnTo>
                <a:lnTo>
                  <a:pt x="187528" y="121727"/>
                </a:lnTo>
                <a:lnTo>
                  <a:pt x="187581" y="121938"/>
                </a:lnTo>
                <a:lnTo>
                  <a:pt x="187528" y="122044"/>
                </a:lnTo>
                <a:lnTo>
                  <a:pt x="187317" y="122149"/>
                </a:lnTo>
                <a:lnTo>
                  <a:pt x="187264" y="122202"/>
                </a:lnTo>
                <a:lnTo>
                  <a:pt x="187105" y="122466"/>
                </a:lnTo>
                <a:lnTo>
                  <a:pt x="187053" y="122519"/>
                </a:lnTo>
                <a:lnTo>
                  <a:pt x="186894" y="122625"/>
                </a:lnTo>
                <a:lnTo>
                  <a:pt x="186736" y="122836"/>
                </a:lnTo>
                <a:lnTo>
                  <a:pt x="186577" y="123100"/>
                </a:lnTo>
                <a:lnTo>
                  <a:pt x="186472" y="123259"/>
                </a:lnTo>
                <a:lnTo>
                  <a:pt x="186524" y="123311"/>
                </a:lnTo>
                <a:lnTo>
                  <a:pt x="186472" y="123470"/>
                </a:lnTo>
                <a:lnTo>
                  <a:pt x="186419" y="123734"/>
                </a:lnTo>
                <a:lnTo>
                  <a:pt x="186366" y="123892"/>
                </a:lnTo>
                <a:lnTo>
                  <a:pt x="186313" y="123892"/>
                </a:lnTo>
                <a:lnTo>
                  <a:pt x="186208" y="123945"/>
                </a:lnTo>
                <a:lnTo>
                  <a:pt x="186155" y="123998"/>
                </a:lnTo>
                <a:lnTo>
                  <a:pt x="186155" y="124051"/>
                </a:lnTo>
                <a:lnTo>
                  <a:pt x="186155" y="124103"/>
                </a:lnTo>
                <a:lnTo>
                  <a:pt x="186155" y="124156"/>
                </a:lnTo>
                <a:lnTo>
                  <a:pt x="185996" y="124368"/>
                </a:lnTo>
                <a:lnTo>
                  <a:pt x="185891" y="124473"/>
                </a:lnTo>
                <a:lnTo>
                  <a:pt x="185944" y="124526"/>
                </a:lnTo>
                <a:lnTo>
                  <a:pt x="186049" y="124579"/>
                </a:lnTo>
                <a:lnTo>
                  <a:pt x="186419" y="124896"/>
                </a:lnTo>
                <a:lnTo>
                  <a:pt x="186472" y="124896"/>
                </a:lnTo>
                <a:lnTo>
                  <a:pt x="186524" y="125001"/>
                </a:lnTo>
                <a:lnTo>
                  <a:pt x="186524" y="125054"/>
                </a:lnTo>
                <a:lnTo>
                  <a:pt x="186524" y="125265"/>
                </a:lnTo>
                <a:lnTo>
                  <a:pt x="186577" y="125371"/>
                </a:lnTo>
                <a:lnTo>
                  <a:pt x="186630" y="125477"/>
                </a:lnTo>
                <a:lnTo>
                  <a:pt x="186683" y="125582"/>
                </a:lnTo>
                <a:lnTo>
                  <a:pt x="187053" y="125688"/>
                </a:lnTo>
                <a:lnTo>
                  <a:pt x="187105" y="125688"/>
                </a:lnTo>
                <a:lnTo>
                  <a:pt x="187211" y="125582"/>
                </a:lnTo>
                <a:lnTo>
                  <a:pt x="187264" y="125582"/>
                </a:lnTo>
                <a:lnTo>
                  <a:pt x="187264" y="125529"/>
                </a:lnTo>
                <a:lnTo>
                  <a:pt x="187264" y="125477"/>
                </a:lnTo>
                <a:lnTo>
                  <a:pt x="187211" y="125371"/>
                </a:lnTo>
                <a:lnTo>
                  <a:pt x="187158" y="125371"/>
                </a:lnTo>
                <a:lnTo>
                  <a:pt x="187000" y="125265"/>
                </a:lnTo>
                <a:lnTo>
                  <a:pt x="187158" y="125054"/>
                </a:lnTo>
                <a:lnTo>
                  <a:pt x="187211" y="124948"/>
                </a:lnTo>
                <a:lnTo>
                  <a:pt x="187105" y="124896"/>
                </a:lnTo>
                <a:lnTo>
                  <a:pt x="187105" y="124790"/>
                </a:lnTo>
                <a:lnTo>
                  <a:pt x="187105" y="124737"/>
                </a:lnTo>
                <a:lnTo>
                  <a:pt x="187158" y="124737"/>
                </a:lnTo>
                <a:lnTo>
                  <a:pt x="187369" y="124579"/>
                </a:lnTo>
                <a:lnTo>
                  <a:pt x="187475" y="124526"/>
                </a:lnTo>
                <a:lnTo>
                  <a:pt x="187475" y="124579"/>
                </a:lnTo>
                <a:lnTo>
                  <a:pt x="187422" y="124684"/>
                </a:lnTo>
                <a:lnTo>
                  <a:pt x="187475" y="124790"/>
                </a:lnTo>
                <a:lnTo>
                  <a:pt x="187475" y="124948"/>
                </a:lnTo>
                <a:lnTo>
                  <a:pt x="187475" y="125054"/>
                </a:lnTo>
                <a:lnTo>
                  <a:pt x="187581" y="125054"/>
                </a:lnTo>
                <a:lnTo>
                  <a:pt x="187686" y="125001"/>
                </a:lnTo>
                <a:lnTo>
                  <a:pt x="187792" y="125001"/>
                </a:lnTo>
                <a:lnTo>
                  <a:pt x="187686" y="125318"/>
                </a:lnTo>
                <a:lnTo>
                  <a:pt x="187792" y="125371"/>
                </a:lnTo>
                <a:lnTo>
                  <a:pt x="188056" y="125371"/>
                </a:lnTo>
                <a:lnTo>
                  <a:pt x="188109" y="125318"/>
                </a:lnTo>
                <a:lnTo>
                  <a:pt x="188109" y="125160"/>
                </a:lnTo>
                <a:lnTo>
                  <a:pt x="188109" y="124896"/>
                </a:lnTo>
                <a:lnTo>
                  <a:pt x="188109" y="124790"/>
                </a:lnTo>
                <a:lnTo>
                  <a:pt x="188109" y="124526"/>
                </a:lnTo>
                <a:lnTo>
                  <a:pt x="188109" y="124420"/>
                </a:lnTo>
                <a:lnTo>
                  <a:pt x="188003" y="124420"/>
                </a:lnTo>
                <a:lnTo>
                  <a:pt x="188003" y="124315"/>
                </a:lnTo>
                <a:lnTo>
                  <a:pt x="188056" y="124209"/>
                </a:lnTo>
                <a:lnTo>
                  <a:pt x="188056" y="124156"/>
                </a:lnTo>
                <a:lnTo>
                  <a:pt x="188056" y="124103"/>
                </a:lnTo>
                <a:lnTo>
                  <a:pt x="188003" y="123998"/>
                </a:lnTo>
                <a:lnTo>
                  <a:pt x="187792" y="123998"/>
                </a:lnTo>
                <a:lnTo>
                  <a:pt x="187845" y="123945"/>
                </a:lnTo>
                <a:lnTo>
                  <a:pt x="187898" y="123892"/>
                </a:lnTo>
                <a:lnTo>
                  <a:pt x="188003" y="123892"/>
                </a:lnTo>
                <a:lnTo>
                  <a:pt x="188109" y="123787"/>
                </a:lnTo>
                <a:lnTo>
                  <a:pt x="188214" y="123575"/>
                </a:lnTo>
                <a:lnTo>
                  <a:pt x="188267" y="123311"/>
                </a:lnTo>
                <a:lnTo>
                  <a:pt x="188320" y="123047"/>
                </a:lnTo>
                <a:lnTo>
                  <a:pt x="188320" y="122994"/>
                </a:lnTo>
                <a:lnTo>
                  <a:pt x="188267" y="122889"/>
                </a:lnTo>
                <a:lnTo>
                  <a:pt x="188267" y="122836"/>
                </a:lnTo>
                <a:lnTo>
                  <a:pt x="188267" y="122678"/>
                </a:lnTo>
                <a:lnTo>
                  <a:pt x="188320" y="122625"/>
                </a:lnTo>
                <a:lnTo>
                  <a:pt x="188478" y="122625"/>
                </a:lnTo>
                <a:lnTo>
                  <a:pt x="188531" y="122678"/>
                </a:lnTo>
                <a:lnTo>
                  <a:pt x="188478" y="122783"/>
                </a:lnTo>
                <a:lnTo>
                  <a:pt x="188478" y="122942"/>
                </a:lnTo>
                <a:lnTo>
                  <a:pt x="188531" y="123100"/>
                </a:lnTo>
                <a:lnTo>
                  <a:pt x="188637" y="123100"/>
                </a:lnTo>
                <a:lnTo>
                  <a:pt x="188637" y="123206"/>
                </a:lnTo>
                <a:lnTo>
                  <a:pt x="188637" y="123259"/>
                </a:lnTo>
                <a:lnTo>
                  <a:pt x="188478" y="123364"/>
                </a:lnTo>
                <a:lnTo>
                  <a:pt x="188426" y="123417"/>
                </a:lnTo>
                <a:lnTo>
                  <a:pt x="188426" y="123628"/>
                </a:lnTo>
                <a:lnTo>
                  <a:pt x="188426" y="123787"/>
                </a:lnTo>
                <a:lnTo>
                  <a:pt x="188373" y="123892"/>
                </a:lnTo>
                <a:lnTo>
                  <a:pt x="188373" y="124103"/>
                </a:lnTo>
                <a:lnTo>
                  <a:pt x="188373" y="124790"/>
                </a:lnTo>
                <a:lnTo>
                  <a:pt x="188478" y="124843"/>
                </a:lnTo>
                <a:lnTo>
                  <a:pt x="188531" y="124684"/>
                </a:lnTo>
                <a:lnTo>
                  <a:pt x="188584" y="124262"/>
                </a:lnTo>
                <a:lnTo>
                  <a:pt x="188742" y="123945"/>
                </a:lnTo>
                <a:lnTo>
                  <a:pt x="188795" y="123839"/>
                </a:lnTo>
                <a:lnTo>
                  <a:pt x="188954" y="123839"/>
                </a:lnTo>
                <a:lnTo>
                  <a:pt x="188848" y="123945"/>
                </a:lnTo>
                <a:lnTo>
                  <a:pt x="188795" y="124103"/>
                </a:lnTo>
                <a:lnTo>
                  <a:pt x="188742" y="124262"/>
                </a:lnTo>
                <a:lnTo>
                  <a:pt x="188795" y="124368"/>
                </a:lnTo>
                <a:lnTo>
                  <a:pt x="188901" y="124315"/>
                </a:lnTo>
                <a:lnTo>
                  <a:pt x="188954" y="124156"/>
                </a:lnTo>
                <a:lnTo>
                  <a:pt x="189059" y="124051"/>
                </a:lnTo>
                <a:lnTo>
                  <a:pt x="189112" y="124103"/>
                </a:lnTo>
                <a:lnTo>
                  <a:pt x="188848" y="124684"/>
                </a:lnTo>
                <a:lnTo>
                  <a:pt x="188795" y="124896"/>
                </a:lnTo>
                <a:lnTo>
                  <a:pt x="188901" y="124896"/>
                </a:lnTo>
                <a:lnTo>
                  <a:pt x="189007" y="124843"/>
                </a:lnTo>
                <a:lnTo>
                  <a:pt x="189112" y="124843"/>
                </a:lnTo>
                <a:lnTo>
                  <a:pt x="189165" y="125001"/>
                </a:lnTo>
                <a:lnTo>
                  <a:pt x="189218" y="125054"/>
                </a:lnTo>
                <a:lnTo>
                  <a:pt x="189323" y="125001"/>
                </a:lnTo>
                <a:lnTo>
                  <a:pt x="189482" y="124790"/>
                </a:lnTo>
                <a:lnTo>
                  <a:pt x="189482" y="124684"/>
                </a:lnTo>
                <a:lnTo>
                  <a:pt x="189640" y="124684"/>
                </a:lnTo>
                <a:lnTo>
                  <a:pt x="189693" y="124632"/>
                </a:lnTo>
                <a:lnTo>
                  <a:pt x="189693" y="124420"/>
                </a:lnTo>
                <a:lnTo>
                  <a:pt x="189693" y="124315"/>
                </a:lnTo>
                <a:lnTo>
                  <a:pt x="189587" y="124156"/>
                </a:lnTo>
                <a:lnTo>
                  <a:pt x="189587" y="124051"/>
                </a:lnTo>
                <a:lnTo>
                  <a:pt x="189587" y="123945"/>
                </a:lnTo>
                <a:lnTo>
                  <a:pt x="189640" y="123945"/>
                </a:lnTo>
                <a:lnTo>
                  <a:pt x="189693" y="124051"/>
                </a:lnTo>
                <a:lnTo>
                  <a:pt x="189746" y="124051"/>
                </a:lnTo>
                <a:lnTo>
                  <a:pt x="189957" y="123892"/>
                </a:lnTo>
                <a:lnTo>
                  <a:pt x="189957" y="123945"/>
                </a:lnTo>
                <a:lnTo>
                  <a:pt x="189957" y="124051"/>
                </a:lnTo>
                <a:lnTo>
                  <a:pt x="189957" y="124262"/>
                </a:lnTo>
                <a:lnTo>
                  <a:pt x="189957" y="124368"/>
                </a:lnTo>
                <a:lnTo>
                  <a:pt x="190063" y="124473"/>
                </a:lnTo>
                <a:lnTo>
                  <a:pt x="190221" y="124473"/>
                </a:lnTo>
                <a:lnTo>
                  <a:pt x="190221" y="124368"/>
                </a:lnTo>
                <a:lnTo>
                  <a:pt x="190221" y="124262"/>
                </a:lnTo>
                <a:lnTo>
                  <a:pt x="190221" y="124103"/>
                </a:lnTo>
                <a:lnTo>
                  <a:pt x="190380" y="123998"/>
                </a:lnTo>
                <a:lnTo>
                  <a:pt x="190432" y="123892"/>
                </a:lnTo>
                <a:lnTo>
                  <a:pt x="190485" y="123892"/>
                </a:lnTo>
                <a:lnTo>
                  <a:pt x="190696" y="123945"/>
                </a:lnTo>
                <a:lnTo>
                  <a:pt x="190696" y="123998"/>
                </a:lnTo>
                <a:lnTo>
                  <a:pt x="190644" y="124103"/>
                </a:lnTo>
                <a:lnTo>
                  <a:pt x="190644" y="124262"/>
                </a:lnTo>
                <a:lnTo>
                  <a:pt x="190696" y="124262"/>
                </a:lnTo>
                <a:lnTo>
                  <a:pt x="190749" y="124209"/>
                </a:lnTo>
                <a:lnTo>
                  <a:pt x="190802" y="124103"/>
                </a:lnTo>
                <a:lnTo>
                  <a:pt x="190802" y="123998"/>
                </a:lnTo>
                <a:lnTo>
                  <a:pt x="190908" y="123998"/>
                </a:lnTo>
                <a:lnTo>
                  <a:pt x="190908" y="124051"/>
                </a:lnTo>
                <a:lnTo>
                  <a:pt x="190855" y="124209"/>
                </a:lnTo>
                <a:lnTo>
                  <a:pt x="190644" y="124473"/>
                </a:lnTo>
                <a:lnTo>
                  <a:pt x="190802" y="124579"/>
                </a:lnTo>
                <a:lnTo>
                  <a:pt x="190908" y="124579"/>
                </a:lnTo>
                <a:lnTo>
                  <a:pt x="191066" y="124526"/>
                </a:lnTo>
                <a:lnTo>
                  <a:pt x="191225" y="124420"/>
                </a:lnTo>
                <a:lnTo>
                  <a:pt x="191330" y="124315"/>
                </a:lnTo>
                <a:lnTo>
                  <a:pt x="191436" y="124156"/>
                </a:lnTo>
                <a:lnTo>
                  <a:pt x="191489" y="123998"/>
                </a:lnTo>
                <a:lnTo>
                  <a:pt x="191700" y="123734"/>
                </a:lnTo>
                <a:lnTo>
                  <a:pt x="192122" y="123417"/>
                </a:lnTo>
                <a:lnTo>
                  <a:pt x="192334" y="123153"/>
                </a:lnTo>
                <a:lnTo>
                  <a:pt x="192545" y="122889"/>
                </a:lnTo>
                <a:lnTo>
                  <a:pt x="192650" y="122783"/>
                </a:lnTo>
                <a:lnTo>
                  <a:pt x="192756" y="122678"/>
                </a:lnTo>
                <a:lnTo>
                  <a:pt x="193231" y="122678"/>
                </a:lnTo>
                <a:lnTo>
                  <a:pt x="193495" y="122625"/>
                </a:lnTo>
                <a:lnTo>
                  <a:pt x="193759" y="122678"/>
                </a:lnTo>
                <a:lnTo>
                  <a:pt x="194023" y="122678"/>
                </a:lnTo>
                <a:lnTo>
                  <a:pt x="194129" y="122730"/>
                </a:lnTo>
                <a:lnTo>
                  <a:pt x="194235" y="122836"/>
                </a:lnTo>
                <a:lnTo>
                  <a:pt x="194446" y="123100"/>
                </a:lnTo>
                <a:lnTo>
                  <a:pt x="194235" y="123259"/>
                </a:lnTo>
                <a:lnTo>
                  <a:pt x="192914" y="123206"/>
                </a:lnTo>
                <a:lnTo>
                  <a:pt x="192492" y="123311"/>
                </a:lnTo>
                <a:lnTo>
                  <a:pt x="192545" y="123470"/>
                </a:lnTo>
                <a:lnTo>
                  <a:pt x="192650" y="123523"/>
                </a:lnTo>
                <a:lnTo>
                  <a:pt x="192862" y="123575"/>
                </a:lnTo>
                <a:lnTo>
                  <a:pt x="192862" y="123628"/>
                </a:lnTo>
                <a:lnTo>
                  <a:pt x="192862" y="123734"/>
                </a:lnTo>
                <a:lnTo>
                  <a:pt x="192862" y="123787"/>
                </a:lnTo>
                <a:lnTo>
                  <a:pt x="192809" y="123734"/>
                </a:lnTo>
                <a:lnTo>
                  <a:pt x="192545" y="123628"/>
                </a:lnTo>
                <a:lnTo>
                  <a:pt x="192439" y="123628"/>
                </a:lnTo>
                <a:lnTo>
                  <a:pt x="192386" y="123681"/>
                </a:lnTo>
                <a:lnTo>
                  <a:pt x="192334" y="123892"/>
                </a:lnTo>
                <a:lnTo>
                  <a:pt x="192334" y="123998"/>
                </a:lnTo>
                <a:lnTo>
                  <a:pt x="192281" y="124262"/>
                </a:lnTo>
                <a:lnTo>
                  <a:pt x="192439" y="124368"/>
                </a:lnTo>
                <a:lnTo>
                  <a:pt x="192650" y="124473"/>
                </a:lnTo>
                <a:lnTo>
                  <a:pt x="192809" y="124579"/>
                </a:lnTo>
                <a:lnTo>
                  <a:pt x="192703" y="124632"/>
                </a:lnTo>
                <a:lnTo>
                  <a:pt x="192334" y="124526"/>
                </a:lnTo>
                <a:lnTo>
                  <a:pt x="192228" y="124420"/>
                </a:lnTo>
                <a:lnTo>
                  <a:pt x="192122" y="124368"/>
                </a:lnTo>
                <a:lnTo>
                  <a:pt x="192017" y="124368"/>
                </a:lnTo>
                <a:lnTo>
                  <a:pt x="192017" y="124473"/>
                </a:lnTo>
                <a:lnTo>
                  <a:pt x="192122" y="124632"/>
                </a:lnTo>
                <a:lnTo>
                  <a:pt x="192122" y="124790"/>
                </a:lnTo>
                <a:lnTo>
                  <a:pt x="192122" y="124843"/>
                </a:lnTo>
                <a:lnTo>
                  <a:pt x="192122" y="124896"/>
                </a:lnTo>
                <a:lnTo>
                  <a:pt x="192175" y="125054"/>
                </a:lnTo>
                <a:lnTo>
                  <a:pt x="192281" y="125160"/>
                </a:lnTo>
                <a:lnTo>
                  <a:pt x="192334" y="125160"/>
                </a:lnTo>
                <a:lnTo>
                  <a:pt x="192439" y="125107"/>
                </a:lnTo>
                <a:lnTo>
                  <a:pt x="192598" y="125107"/>
                </a:lnTo>
                <a:lnTo>
                  <a:pt x="192650" y="125212"/>
                </a:lnTo>
                <a:lnTo>
                  <a:pt x="192650" y="125265"/>
                </a:lnTo>
                <a:lnTo>
                  <a:pt x="192650" y="125318"/>
                </a:lnTo>
                <a:lnTo>
                  <a:pt x="192545" y="125424"/>
                </a:lnTo>
                <a:lnTo>
                  <a:pt x="192545" y="125582"/>
                </a:lnTo>
                <a:lnTo>
                  <a:pt x="192545" y="125688"/>
                </a:lnTo>
                <a:lnTo>
                  <a:pt x="192598" y="125635"/>
                </a:lnTo>
                <a:lnTo>
                  <a:pt x="192650" y="125477"/>
                </a:lnTo>
                <a:lnTo>
                  <a:pt x="192756" y="125424"/>
                </a:lnTo>
                <a:lnTo>
                  <a:pt x="192862" y="125424"/>
                </a:lnTo>
                <a:lnTo>
                  <a:pt x="192914" y="125477"/>
                </a:lnTo>
                <a:lnTo>
                  <a:pt x="192914" y="125688"/>
                </a:lnTo>
                <a:lnTo>
                  <a:pt x="193126" y="125741"/>
                </a:lnTo>
                <a:lnTo>
                  <a:pt x="193707" y="125477"/>
                </a:lnTo>
                <a:lnTo>
                  <a:pt x="193707" y="125582"/>
                </a:lnTo>
                <a:lnTo>
                  <a:pt x="193707" y="125635"/>
                </a:lnTo>
                <a:lnTo>
                  <a:pt x="193707" y="125688"/>
                </a:lnTo>
                <a:lnTo>
                  <a:pt x="193707" y="125741"/>
                </a:lnTo>
                <a:lnTo>
                  <a:pt x="193918" y="125741"/>
                </a:lnTo>
                <a:lnTo>
                  <a:pt x="194076" y="125582"/>
                </a:lnTo>
                <a:lnTo>
                  <a:pt x="194288" y="125371"/>
                </a:lnTo>
                <a:lnTo>
                  <a:pt x="194393" y="125107"/>
                </a:lnTo>
                <a:lnTo>
                  <a:pt x="194552" y="125054"/>
                </a:lnTo>
                <a:lnTo>
                  <a:pt x="195185" y="125529"/>
                </a:lnTo>
                <a:lnTo>
                  <a:pt x="194657" y="125424"/>
                </a:lnTo>
                <a:lnTo>
                  <a:pt x="194552" y="125477"/>
                </a:lnTo>
                <a:lnTo>
                  <a:pt x="194499" y="125529"/>
                </a:lnTo>
                <a:lnTo>
                  <a:pt x="194499" y="125635"/>
                </a:lnTo>
                <a:lnTo>
                  <a:pt x="194657" y="125688"/>
                </a:lnTo>
                <a:lnTo>
                  <a:pt x="194657" y="125741"/>
                </a:lnTo>
                <a:lnTo>
                  <a:pt x="194340" y="125846"/>
                </a:lnTo>
                <a:lnTo>
                  <a:pt x="193971" y="126057"/>
                </a:lnTo>
                <a:lnTo>
                  <a:pt x="193759" y="126110"/>
                </a:lnTo>
                <a:lnTo>
                  <a:pt x="193601" y="126216"/>
                </a:lnTo>
                <a:lnTo>
                  <a:pt x="193495" y="126216"/>
                </a:lnTo>
                <a:lnTo>
                  <a:pt x="193284" y="126110"/>
                </a:lnTo>
                <a:lnTo>
                  <a:pt x="193178" y="126110"/>
                </a:lnTo>
                <a:lnTo>
                  <a:pt x="193073" y="126216"/>
                </a:lnTo>
                <a:lnTo>
                  <a:pt x="193126" y="126216"/>
                </a:lnTo>
                <a:lnTo>
                  <a:pt x="193231" y="126269"/>
                </a:lnTo>
                <a:lnTo>
                  <a:pt x="193284" y="126321"/>
                </a:lnTo>
                <a:lnTo>
                  <a:pt x="193284" y="126427"/>
                </a:lnTo>
                <a:lnTo>
                  <a:pt x="193231" y="126480"/>
                </a:lnTo>
                <a:lnTo>
                  <a:pt x="193073" y="126321"/>
                </a:lnTo>
                <a:lnTo>
                  <a:pt x="192914" y="126427"/>
                </a:lnTo>
                <a:lnTo>
                  <a:pt x="192809" y="126269"/>
                </a:lnTo>
                <a:lnTo>
                  <a:pt x="192756" y="126269"/>
                </a:lnTo>
                <a:lnTo>
                  <a:pt x="192703" y="126321"/>
                </a:lnTo>
                <a:lnTo>
                  <a:pt x="192703" y="126427"/>
                </a:lnTo>
                <a:lnTo>
                  <a:pt x="192703" y="126586"/>
                </a:lnTo>
                <a:lnTo>
                  <a:pt x="192598" y="126533"/>
                </a:lnTo>
                <a:lnTo>
                  <a:pt x="192545" y="126427"/>
                </a:lnTo>
                <a:lnTo>
                  <a:pt x="192439" y="126374"/>
                </a:lnTo>
                <a:lnTo>
                  <a:pt x="192334" y="126480"/>
                </a:lnTo>
                <a:lnTo>
                  <a:pt x="192492" y="126691"/>
                </a:lnTo>
                <a:lnTo>
                  <a:pt x="192545" y="126744"/>
                </a:lnTo>
                <a:lnTo>
                  <a:pt x="192545" y="126797"/>
                </a:lnTo>
                <a:lnTo>
                  <a:pt x="192545" y="126902"/>
                </a:lnTo>
                <a:lnTo>
                  <a:pt x="193178" y="126902"/>
                </a:lnTo>
                <a:lnTo>
                  <a:pt x="193284" y="127008"/>
                </a:lnTo>
                <a:lnTo>
                  <a:pt x="193337" y="127008"/>
                </a:lnTo>
                <a:lnTo>
                  <a:pt x="193548" y="126955"/>
                </a:lnTo>
                <a:lnTo>
                  <a:pt x="193601" y="126902"/>
                </a:lnTo>
                <a:lnTo>
                  <a:pt x="193654" y="126850"/>
                </a:lnTo>
                <a:lnTo>
                  <a:pt x="193812" y="126691"/>
                </a:lnTo>
                <a:lnTo>
                  <a:pt x="193971" y="126586"/>
                </a:lnTo>
                <a:lnTo>
                  <a:pt x="194129" y="126216"/>
                </a:lnTo>
                <a:lnTo>
                  <a:pt x="194288" y="126110"/>
                </a:lnTo>
                <a:lnTo>
                  <a:pt x="194235" y="126216"/>
                </a:lnTo>
                <a:lnTo>
                  <a:pt x="194182" y="126269"/>
                </a:lnTo>
                <a:lnTo>
                  <a:pt x="194182" y="126321"/>
                </a:lnTo>
                <a:lnTo>
                  <a:pt x="194182" y="126480"/>
                </a:lnTo>
                <a:lnTo>
                  <a:pt x="194182" y="126586"/>
                </a:lnTo>
                <a:lnTo>
                  <a:pt x="194235" y="126638"/>
                </a:lnTo>
                <a:lnTo>
                  <a:pt x="194393" y="126638"/>
                </a:lnTo>
                <a:lnTo>
                  <a:pt x="194446" y="126586"/>
                </a:lnTo>
                <a:lnTo>
                  <a:pt x="194499" y="126533"/>
                </a:lnTo>
                <a:lnTo>
                  <a:pt x="194499" y="126427"/>
                </a:lnTo>
                <a:lnTo>
                  <a:pt x="194552" y="126321"/>
                </a:lnTo>
                <a:lnTo>
                  <a:pt x="194604" y="126269"/>
                </a:lnTo>
                <a:lnTo>
                  <a:pt x="194868" y="126216"/>
                </a:lnTo>
                <a:lnTo>
                  <a:pt x="194763" y="126374"/>
                </a:lnTo>
                <a:lnTo>
                  <a:pt x="194763" y="126427"/>
                </a:lnTo>
                <a:lnTo>
                  <a:pt x="194974" y="126427"/>
                </a:lnTo>
                <a:lnTo>
                  <a:pt x="195185" y="126216"/>
                </a:lnTo>
                <a:lnTo>
                  <a:pt x="195291" y="126110"/>
                </a:lnTo>
                <a:lnTo>
                  <a:pt x="195344" y="125899"/>
                </a:lnTo>
                <a:lnTo>
                  <a:pt x="195449" y="125899"/>
                </a:lnTo>
                <a:lnTo>
                  <a:pt x="195449" y="125952"/>
                </a:lnTo>
                <a:lnTo>
                  <a:pt x="195449" y="126057"/>
                </a:lnTo>
                <a:lnTo>
                  <a:pt x="195449" y="126110"/>
                </a:lnTo>
                <a:lnTo>
                  <a:pt x="195555" y="126321"/>
                </a:lnTo>
                <a:lnTo>
                  <a:pt x="195555" y="126374"/>
                </a:lnTo>
                <a:lnTo>
                  <a:pt x="195502" y="126480"/>
                </a:lnTo>
                <a:lnTo>
                  <a:pt x="195397" y="126374"/>
                </a:lnTo>
                <a:lnTo>
                  <a:pt x="195397" y="126427"/>
                </a:lnTo>
                <a:lnTo>
                  <a:pt x="195397" y="126533"/>
                </a:lnTo>
                <a:lnTo>
                  <a:pt x="195344" y="126586"/>
                </a:lnTo>
                <a:lnTo>
                  <a:pt x="195291" y="126638"/>
                </a:lnTo>
                <a:lnTo>
                  <a:pt x="195132" y="126691"/>
                </a:lnTo>
                <a:lnTo>
                  <a:pt x="194604" y="127166"/>
                </a:lnTo>
                <a:lnTo>
                  <a:pt x="194552" y="127219"/>
                </a:lnTo>
                <a:lnTo>
                  <a:pt x="194499" y="127219"/>
                </a:lnTo>
                <a:lnTo>
                  <a:pt x="194499" y="127272"/>
                </a:lnTo>
                <a:lnTo>
                  <a:pt x="194552" y="127378"/>
                </a:lnTo>
                <a:lnTo>
                  <a:pt x="194763" y="127378"/>
                </a:lnTo>
                <a:lnTo>
                  <a:pt x="195502" y="127008"/>
                </a:lnTo>
                <a:lnTo>
                  <a:pt x="195608" y="127008"/>
                </a:lnTo>
                <a:lnTo>
                  <a:pt x="195713" y="126902"/>
                </a:lnTo>
                <a:lnTo>
                  <a:pt x="195872" y="126797"/>
                </a:lnTo>
                <a:lnTo>
                  <a:pt x="195977" y="126691"/>
                </a:lnTo>
                <a:lnTo>
                  <a:pt x="196083" y="126744"/>
                </a:lnTo>
                <a:lnTo>
                  <a:pt x="196030" y="126797"/>
                </a:lnTo>
                <a:lnTo>
                  <a:pt x="195977" y="126955"/>
                </a:lnTo>
                <a:lnTo>
                  <a:pt x="195925" y="127061"/>
                </a:lnTo>
                <a:lnTo>
                  <a:pt x="195766" y="127166"/>
                </a:lnTo>
                <a:lnTo>
                  <a:pt x="195713" y="127272"/>
                </a:lnTo>
                <a:lnTo>
                  <a:pt x="195661" y="127378"/>
                </a:lnTo>
                <a:lnTo>
                  <a:pt x="195925" y="127378"/>
                </a:lnTo>
                <a:lnTo>
                  <a:pt x="196030" y="127325"/>
                </a:lnTo>
                <a:lnTo>
                  <a:pt x="196136" y="127061"/>
                </a:lnTo>
                <a:lnTo>
                  <a:pt x="196241" y="126902"/>
                </a:lnTo>
                <a:lnTo>
                  <a:pt x="196400" y="126850"/>
                </a:lnTo>
                <a:lnTo>
                  <a:pt x="196453" y="126850"/>
                </a:lnTo>
                <a:lnTo>
                  <a:pt x="196453" y="126955"/>
                </a:lnTo>
                <a:lnTo>
                  <a:pt x="196400" y="127061"/>
                </a:lnTo>
                <a:lnTo>
                  <a:pt x="196294" y="127166"/>
                </a:lnTo>
                <a:lnTo>
                  <a:pt x="196400" y="127219"/>
                </a:lnTo>
                <a:lnTo>
                  <a:pt x="196558" y="127166"/>
                </a:lnTo>
                <a:lnTo>
                  <a:pt x="196664" y="127166"/>
                </a:lnTo>
                <a:lnTo>
                  <a:pt x="196611" y="127272"/>
                </a:lnTo>
                <a:lnTo>
                  <a:pt x="196506" y="127378"/>
                </a:lnTo>
                <a:lnTo>
                  <a:pt x="196294" y="127483"/>
                </a:lnTo>
                <a:lnTo>
                  <a:pt x="196453" y="127536"/>
                </a:lnTo>
                <a:lnTo>
                  <a:pt x="197192" y="127219"/>
                </a:lnTo>
                <a:lnTo>
                  <a:pt x="197403" y="127008"/>
                </a:lnTo>
                <a:lnTo>
                  <a:pt x="197509" y="127008"/>
                </a:lnTo>
                <a:lnTo>
                  <a:pt x="197509" y="127166"/>
                </a:lnTo>
                <a:lnTo>
                  <a:pt x="197509" y="127272"/>
                </a:lnTo>
                <a:lnTo>
                  <a:pt x="197403" y="127325"/>
                </a:lnTo>
                <a:lnTo>
                  <a:pt x="197298" y="127430"/>
                </a:lnTo>
                <a:lnTo>
                  <a:pt x="197245" y="127589"/>
                </a:lnTo>
                <a:lnTo>
                  <a:pt x="197245" y="127695"/>
                </a:lnTo>
                <a:lnTo>
                  <a:pt x="196822" y="128328"/>
                </a:lnTo>
                <a:lnTo>
                  <a:pt x="196453" y="128698"/>
                </a:lnTo>
                <a:lnTo>
                  <a:pt x="196400" y="128804"/>
                </a:lnTo>
                <a:lnTo>
                  <a:pt x="196294" y="128856"/>
                </a:lnTo>
                <a:lnTo>
                  <a:pt x="196083" y="128962"/>
                </a:lnTo>
                <a:lnTo>
                  <a:pt x="196030" y="129015"/>
                </a:lnTo>
                <a:lnTo>
                  <a:pt x="196347" y="129120"/>
                </a:lnTo>
                <a:lnTo>
                  <a:pt x="196928" y="129015"/>
                </a:lnTo>
                <a:lnTo>
                  <a:pt x="197245" y="129015"/>
                </a:lnTo>
                <a:lnTo>
                  <a:pt x="197456" y="129120"/>
                </a:lnTo>
                <a:lnTo>
                  <a:pt x="197773" y="129173"/>
                </a:lnTo>
                <a:lnTo>
                  <a:pt x="197879" y="129279"/>
                </a:lnTo>
                <a:lnTo>
                  <a:pt x="198037" y="129332"/>
                </a:lnTo>
                <a:lnTo>
                  <a:pt x="198090" y="129384"/>
                </a:lnTo>
                <a:lnTo>
                  <a:pt x="198090" y="129437"/>
                </a:lnTo>
                <a:lnTo>
                  <a:pt x="198143" y="129649"/>
                </a:lnTo>
                <a:lnTo>
                  <a:pt x="198143" y="129701"/>
                </a:lnTo>
                <a:lnTo>
                  <a:pt x="198248" y="129754"/>
                </a:lnTo>
                <a:lnTo>
                  <a:pt x="198354" y="129807"/>
                </a:lnTo>
                <a:lnTo>
                  <a:pt x="198459" y="129965"/>
                </a:lnTo>
                <a:lnTo>
                  <a:pt x="198512" y="130018"/>
                </a:lnTo>
                <a:lnTo>
                  <a:pt x="198618" y="130018"/>
                </a:lnTo>
                <a:lnTo>
                  <a:pt x="198988" y="130124"/>
                </a:lnTo>
                <a:lnTo>
                  <a:pt x="199146" y="130124"/>
                </a:lnTo>
                <a:lnTo>
                  <a:pt x="199304" y="130018"/>
                </a:lnTo>
                <a:lnTo>
                  <a:pt x="199674" y="129543"/>
                </a:lnTo>
                <a:lnTo>
                  <a:pt x="199885" y="129437"/>
                </a:lnTo>
                <a:lnTo>
                  <a:pt x="199991" y="129279"/>
                </a:lnTo>
                <a:lnTo>
                  <a:pt x="200097" y="128962"/>
                </a:lnTo>
                <a:lnTo>
                  <a:pt x="200255" y="128645"/>
                </a:lnTo>
                <a:lnTo>
                  <a:pt x="200361" y="128487"/>
                </a:lnTo>
                <a:lnTo>
                  <a:pt x="200466" y="128434"/>
                </a:lnTo>
                <a:lnTo>
                  <a:pt x="200572" y="128434"/>
                </a:lnTo>
                <a:lnTo>
                  <a:pt x="200836" y="128223"/>
                </a:lnTo>
                <a:lnTo>
                  <a:pt x="200942" y="128117"/>
                </a:lnTo>
                <a:lnTo>
                  <a:pt x="200994" y="127959"/>
                </a:lnTo>
                <a:lnTo>
                  <a:pt x="201047" y="127747"/>
                </a:lnTo>
                <a:lnTo>
                  <a:pt x="201100" y="127589"/>
                </a:lnTo>
                <a:lnTo>
                  <a:pt x="201364" y="127483"/>
                </a:lnTo>
                <a:lnTo>
                  <a:pt x="201470" y="127325"/>
                </a:lnTo>
                <a:lnTo>
                  <a:pt x="201522" y="127166"/>
                </a:lnTo>
                <a:lnTo>
                  <a:pt x="201575" y="127008"/>
                </a:lnTo>
                <a:lnTo>
                  <a:pt x="201681" y="126902"/>
                </a:lnTo>
                <a:lnTo>
                  <a:pt x="201839" y="126797"/>
                </a:lnTo>
                <a:lnTo>
                  <a:pt x="202156" y="126691"/>
                </a:lnTo>
                <a:lnTo>
                  <a:pt x="202262" y="126691"/>
                </a:lnTo>
                <a:lnTo>
                  <a:pt x="202262" y="126850"/>
                </a:lnTo>
                <a:lnTo>
                  <a:pt x="202262" y="126955"/>
                </a:lnTo>
                <a:lnTo>
                  <a:pt x="202262" y="127061"/>
                </a:lnTo>
                <a:lnTo>
                  <a:pt x="202209" y="127114"/>
                </a:lnTo>
                <a:lnTo>
                  <a:pt x="202051" y="127219"/>
                </a:lnTo>
                <a:lnTo>
                  <a:pt x="201945" y="127219"/>
                </a:lnTo>
                <a:lnTo>
                  <a:pt x="201787" y="127114"/>
                </a:lnTo>
                <a:lnTo>
                  <a:pt x="201628" y="127061"/>
                </a:lnTo>
                <a:lnTo>
                  <a:pt x="201575" y="127114"/>
                </a:lnTo>
                <a:lnTo>
                  <a:pt x="201575" y="127219"/>
                </a:lnTo>
                <a:lnTo>
                  <a:pt x="201575" y="127325"/>
                </a:lnTo>
                <a:lnTo>
                  <a:pt x="201575" y="127378"/>
                </a:lnTo>
                <a:lnTo>
                  <a:pt x="201575" y="127536"/>
                </a:lnTo>
                <a:lnTo>
                  <a:pt x="201575" y="127589"/>
                </a:lnTo>
                <a:lnTo>
                  <a:pt x="201470" y="127642"/>
                </a:lnTo>
                <a:lnTo>
                  <a:pt x="201364" y="127800"/>
                </a:lnTo>
                <a:lnTo>
                  <a:pt x="201311" y="127853"/>
                </a:lnTo>
                <a:lnTo>
                  <a:pt x="201311" y="127959"/>
                </a:lnTo>
                <a:lnTo>
                  <a:pt x="201311" y="128170"/>
                </a:lnTo>
                <a:lnTo>
                  <a:pt x="201311" y="128275"/>
                </a:lnTo>
                <a:lnTo>
                  <a:pt x="201258" y="128328"/>
                </a:lnTo>
                <a:lnTo>
                  <a:pt x="201258" y="128487"/>
                </a:lnTo>
                <a:lnTo>
                  <a:pt x="201206" y="128539"/>
                </a:lnTo>
                <a:lnTo>
                  <a:pt x="201153" y="128645"/>
                </a:lnTo>
                <a:lnTo>
                  <a:pt x="201100" y="128698"/>
                </a:lnTo>
                <a:lnTo>
                  <a:pt x="201047" y="128751"/>
                </a:lnTo>
                <a:lnTo>
                  <a:pt x="201047" y="128856"/>
                </a:lnTo>
                <a:lnTo>
                  <a:pt x="201100" y="129015"/>
                </a:lnTo>
                <a:lnTo>
                  <a:pt x="201206" y="129015"/>
                </a:lnTo>
                <a:lnTo>
                  <a:pt x="201311" y="128909"/>
                </a:lnTo>
                <a:lnTo>
                  <a:pt x="201470" y="128698"/>
                </a:lnTo>
                <a:lnTo>
                  <a:pt x="201470" y="128804"/>
                </a:lnTo>
                <a:lnTo>
                  <a:pt x="201470" y="128909"/>
                </a:lnTo>
                <a:lnTo>
                  <a:pt x="201470" y="129068"/>
                </a:lnTo>
                <a:lnTo>
                  <a:pt x="201206" y="129332"/>
                </a:lnTo>
                <a:lnTo>
                  <a:pt x="201100" y="129490"/>
                </a:lnTo>
                <a:lnTo>
                  <a:pt x="201206" y="129596"/>
                </a:lnTo>
                <a:lnTo>
                  <a:pt x="201206" y="129649"/>
                </a:lnTo>
                <a:lnTo>
                  <a:pt x="200994" y="129649"/>
                </a:lnTo>
                <a:lnTo>
                  <a:pt x="200942" y="129701"/>
                </a:lnTo>
                <a:lnTo>
                  <a:pt x="200889" y="129807"/>
                </a:lnTo>
                <a:lnTo>
                  <a:pt x="200889" y="129860"/>
                </a:lnTo>
                <a:lnTo>
                  <a:pt x="200942" y="129965"/>
                </a:lnTo>
                <a:lnTo>
                  <a:pt x="200994" y="129965"/>
                </a:lnTo>
                <a:lnTo>
                  <a:pt x="200994" y="130018"/>
                </a:lnTo>
                <a:lnTo>
                  <a:pt x="200994" y="130071"/>
                </a:lnTo>
                <a:lnTo>
                  <a:pt x="200836" y="130335"/>
                </a:lnTo>
                <a:lnTo>
                  <a:pt x="200783" y="130388"/>
                </a:lnTo>
                <a:lnTo>
                  <a:pt x="200730" y="130493"/>
                </a:lnTo>
                <a:lnTo>
                  <a:pt x="200783" y="130599"/>
                </a:lnTo>
                <a:lnTo>
                  <a:pt x="200994" y="130599"/>
                </a:lnTo>
                <a:lnTo>
                  <a:pt x="201047" y="130546"/>
                </a:lnTo>
                <a:lnTo>
                  <a:pt x="201258" y="130546"/>
                </a:lnTo>
                <a:lnTo>
                  <a:pt x="201311" y="130599"/>
                </a:lnTo>
                <a:lnTo>
                  <a:pt x="201364" y="130599"/>
                </a:lnTo>
                <a:lnTo>
                  <a:pt x="201417" y="130546"/>
                </a:lnTo>
                <a:lnTo>
                  <a:pt x="201470" y="130493"/>
                </a:lnTo>
                <a:lnTo>
                  <a:pt x="201575" y="130546"/>
                </a:lnTo>
                <a:lnTo>
                  <a:pt x="201628" y="130599"/>
                </a:lnTo>
                <a:lnTo>
                  <a:pt x="201681" y="130652"/>
                </a:lnTo>
                <a:lnTo>
                  <a:pt x="201734" y="130705"/>
                </a:lnTo>
                <a:lnTo>
                  <a:pt x="201892" y="130810"/>
                </a:lnTo>
                <a:lnTo>
                  <a:pt x="202051" y="131074"/>
                </a:lnTo>
                <a:lnTo>
                  <a:pt x="202156" y="131286"/>
                </a:lnTo>
                <a:lnTo>
                  <a:pt x="202156" y="131338"/>
                </a:lnTo>
                <a:lnTo>
                  <a:pt x="202103" y="131338"/>
                </a:lnTo>
                <a:lnTo>
                  <a:pt x="202051" y="131286"/>
                </a:lnTo>
                <a:lnTo>
                  <a:pt x="201945" y="131286"/>
                </a:lnTo>
                <a:lnTo>
                  <a:pt x="202051" y="131391"/>
                </a:lnTo>
                <a:lnTo>
                  <a:pt x="202367" y="131602"/>
                </a:lnTo>
                <a:lnTo>
                  <a:pt x="202473" y="131655"/>
                </a:lnTo>
                <a:lnTo>
                  <a:pt x="202579" y="131550"/>
                </a:lnTo>
                <a:lnTo>
                  <a:pt x="202737" y="131444"/>
                </a:lnTo>
                <a:lnTo>
                  <a:pt x="202843" y="131391"/>
                </a:lnTo>
                <a:lnTo>
                  <a:pt x="202948" y="131497"/>
                </a:lnTo>
                <a:lnTo>
                  <a:pt x="202896" y="131602"/>
                </a:lnTo>
                <a:lnTo>
                  <a:pt x="202948" y="131655"/>
                </a:lnTo>
                <a:lnTo>
                  <a:pt x="203001" y="131761"/>
                </a:lnTo>
                <a:lnTo>
                  <a:pt x="203054" y="131761"/>
                </a:lnTo>
                <a:lnTo>
                  <a:pt x="203424" y="131708"/>
                </a:lnTo>
                <a:lnTo>
                  <a:pt x="203371" y="131550"/>
                </a:lnTo>
                <a:lnTo>
                  <a:pt x="203529" y="131550"/>
                </a:lnTo>
                <a:lnTo>
                  <a:pt x="204005" y="131655"/>
                </a:lnTo>
                <a:lnTo>
                  <a:pt x="204163" y="131550"/>
                </a:lnTo>
                <a:lnTo>
                  <a:pt x="204163" y="131497"/>
                </a:lnTo>
                <a:lnTo>
                  <a:pt x="204216" y="131497"/>
                </a:lnTo>
                <a:lnTo>
                  <a:pt x="204269" y="131550"/>
                </a:lnTo>
                <a:lnTo>
                  <a:pt x="204269" y="131602"/>
                </a:lnTo>
                <a:lnTo>
                  <a:pt x="204269" y="131655"/>
                </a:lnTo>
                <a:lnTo>
                  <a:pt x="204216" y="131655"/>
                </a:lnTo>
                <a:lnTo>
                  <a:pt x="204005" y="132025"/>
                </a:lnTo>
                <a:lnTo>
                  <a:pt x="203952" y="132131"/>
                </a:lnTo>
                <a:lnTo>
                  <a:pt x="204005" y="132183"/>
                </a:lnTo>
                <a:lnTo>
                  <a:pt x="204110" y="132183"/>
                </a:lnTo>
                <a:lnTo>
                  <a:pt x="204163" y="132236"/>
                </a:lnTo>
                <a:lnTo>
                  <a:pt x="204902" y="132817"/>
                </a:lnTo>
                <a:lnTo>
                  <a:pt x="205008" y="133028"/>
                </a:lnTo>
                <a:lnTo>
                  <a:pt x="205114" y="133187"/>
                </a:lnTo>
                <a:lnTo>
                  <a:pt x="204955" y="133240"/>
                </a:lnTo>
                <a:lnTo>
                  <a:pt x="204480" y="133187"/>
                </a:lnTo>
                <a:lnTo>
                  <a:pt x="203952" y="133292"/>
                </a:lnTo>
                <a:lnTo>
                  <a:pt x="204585" y="133292"/>
                </a:lnTo>
                <a:lnTo>
                  <a:pt x="204902" y="133345"/>
                </a:lnTo>
                <a:lnTo>
                  <a:pt x="205483" y="133609"/>
                </a:lnTo>
                <a:lnTo>
                  <a:pt x="205747" y="133556"/>
                </a:lnTo>
                <a:lnTo>
                  <a:pt x="206275" y="133345"/>
                </a:lnTo>
                <a:lnTo>
                  <a:pt x="206962" y="133134"/>
                </a:lnTo>
                <a:lnTo>
                  <a:pt x="207596" y="133081"/>
                </a:lnTo>
                <a:lnTo>
                  <a:pt x="208863" y="132923"/>
                </a:lnTo>
                <a:lnTo>
                  <a:pt x="209919" y="132711"/>
                </a:lnTo>
                <a:lnTo>
                  <a:pt x="210764" y="132500"/>
                </a:lnTo>
                <a:lnTo>
                  <a:pt x="211556" y="132606"/>
                </a:lnTo>
                <a:lnTo>
                  <a:pt x="212243" y="132817"/>
                </a:lnTo>
                <a:lnTo>
                  <a:pt x="212929" y="132923"/>
                </a:lnTo>
                <a:lnTo>
                  <a:pt x="213669" y="133081"/>
                </a:lnTo>
                <a:lnTo>
                  <a:pt x="214091" y="133240"/>
                </a:lnTo>
                <a:lnTo>
                  <a:pt x="214778" y="133292"/>
                </a:lnTo>
                <a:lnTo>
                  <a:pt x="215095" y="133504"/>
                </a:lnTo>
                <a:lnTo>
                  <a:pt x="215887" y="133926"/>
                </a:lnTo>
                <a:lnTo>
                  <a:pt x="216151" y="133926"/>
                </a:lnTo>
                <a:lnTo>
                  <a:pt x="216415" y="133820"/>
                </a:lnTo>
                <a:lnTo>
                  <a:pt x="217101" y="133451"/>
                </a:lnTo>
                <a:lnTo>
                  <a:pt x="217365" y="133398"/>
                </a:lnTo>
                <a:lnTo>
                  <a:pt x="217471" y="133345"/>
                </a:lnTo>
                <a:lnTo>
                  <a:pt x="217471" y="133187"/>
                </a:lnTo>
                <a:lnTo>
                  <a:pt x="217418" y="133028"/>
                </a:lnTo>
                <a:lnTo>
                  <a:pt x="217313" y="132923"/>
                </a:lnTo>
                <a:lnTo>
                  <a:pt x="217260" y="132870"/>
                </a:lnTo>
                <a:lnTo>
                  <a:pt x="217207" y="132870"/>
                </a:lnTo>
                <a:lnTo>
                  <a:pt x="217154" y="132817"/>
                </a:lnTo>
                <a:lnTo>
                  <a:pt x="217049" y="132500"/>
                </a:lnTo>
                <a:lnTo>
                  <a:pt x="217049" y="132342"/>
                </a:lnTo>
                <a:lnTo>
                  <a:pt x="217207" y="132289"/>
                </a:lnTo>
                <a:lnTo>
                  <a:pt x="217524" y="132183"/>
                </a:lnTo>
                <a:lnTo>
                  <a:pt x="217524" y="132447"/>
                </a:lnTo>
                <a:lnTo>
                  <a:pt x="217682" y="132606"/>
                </a:lnTo>
                <a:lnTo>
                  <a:pt x="217841" y="132764"/>
                </a:lnTo>
                <a:lnTo>
                  <a:pt x="217946" y="132923"/>
                </a:lnTo>
                <a:lnTo>
                  <a:pt x="217841" y="132923"/>
                </a:lnTo>
                <a:lnTo>
                  <a:pt x="217946" y="133028"/>
                </a:lnTo>
                <a:lnTo>
                  <a:pt x="217999" y="133134"/>
                </a:lnTo>
                <a:lnTo>
                  <a:pt x="218052" y="133292"/>
                </a:lnTo>
                <a:lnTo>
                  <a:pt x="218052" y="133451"/>
                </a:lnTo>
                <a:lnTo>
                  <a:pt x="218052" y="133609"/>
                </a:lnTo>
                <a:lnTo>
                  <a:pt x="218052" y="133820"/>
                </a:lnTo>
                <a:lnTo>
                  <a:pt x="218052" y="133979"/>
                </a:lnTo>
                <a:lnTo>
                  <a:pt x="218052" y="134085"/>
                </a:lnTo>
                <a:lnTo>
                  <a:pt x="217999" y="134137"/>
                </a:lnTo>
                <a:lnTo>
                  <a:pt x="217841" y="134190"/>
                </a:lnTo>
                <a:lnTo>
                  <a:pt x="217735" y="134190"/>
                </a:lnTo>
                <a:lnTo>
                  <a:pt x="217682" y="134243"/>
                </a:lnTo>
                <a:lnTo>
                  <a:pt x="217682" y="134296"/>
                </a:lnTo>
                <a:lnTo>
                  <a:pt x="217418" y="134454"/>
                </a:lnTo>
                <a:lnTo>
                  <a:pt x="217313" y="134507"/>
                </a:lnTo>
                <a:lnTo>
                  <a:pt x="217207" y="134454"/>
                </a:lnTo>
                <a:lnTo>
                  <a:pt x="217260" y="134349"/>
                </a:lnTo>
                <a:lnTo>
                  <a:pt x="217313" y="134296"/>
                </a:lnTo>
                <a:lnTo>
                  <a:pt x="217418" y="134190"/>
                </a:lnTo>
                <a:lnTo>
                  <a:pt x="217313" y="134243"/>
                </a:lnTo>
                <a:lnTo>
                  <a:pt x="217207" y="134296"/>
                </a:lnTo>
                <a:lnTo>
                  <a:pt x="217154" y="134454"/>
                </a:lnTo>
                <a:lnTo>
                  <a:pt x="217207" y="134613"/>
                </a:lnTo>
                <a:lnTo>
                  <a:pt x="217313" y="134718"/>
                </a:lnTo>
                <a:lnTo>
                  <a:pt x="217682" y="134824"/>
                </a:lnTo>
                <a:lnTo>
                  <a:pt x="218052" y="134930"/>
                </a:lnTo>
                <a:lnTo>
                  <a:pt x="218844" y="135352"/>
                </a:lnTo>
                <a:lnTo>
                  <a:pt x="219319" y="135510"/>
                </a:lnTo>
                <a:lnTo>
                  <a:pt x="220006" y="135933"/>
                </a:lnTo>
                <a:lnTo>
                  <a:pt x="220481" y="136091"/>
                </a:lnTo>
                <a:lnTo>
                  <a:pt x="220851" y="136197"/>
                </a:lnTo>
                <a:lnTo>
                  <a:pt x="221168" y="136250"/>
                </a:lnTo>
                <a:lnTo>
                  <a:pt x="221749" y="136303"/>
                </a:lnTo>
                <a:lnTo>
                  <a:pt x="222594" y="136355"/>
                </a:lnTo>
                <a:lnTo>
                  <a:pt x="222910" y="136250"/>
                </a:lnTo>
                <a:lnTo>
                  <a:pt x="223439" y="135986"/>
                </a:lnTo>
                <a:lnTo>
                  <a:pt x="223914" y="135722"/>
                </a:lnTo>
                <a:lnTo>
                  <a:pt x="224284" y="135458"/>
                </a:lnTo>
                <a:lnTo>
                  <a:pt x="224812" y="135246"/>
                </a:lnTo>
                <a:lnTo>
                  <a:pt x="225076" y="134930"/>
                </a:lnTo>
                <a:lnTo>
                  <a:pt x="225340" y="134507"/>
                </a:lnTo>
                <a:lnTo>
                  <a:pt x="225498" y="134296"/>
                </a:lnTo>
                <a:lnTo>
                  <a:pt x="225709" y="134085"/>
                </a:lnTo>
                <a:lnTo>
                  <a:pt x="225868" y="134032"/>
                </a:lnTo>
                <a:lnTo>
                  <a:pt x="226026" y="134032"/>
                </a:lnTo>
                <a:lnTo>
                  <a:pt x="226079" y="133979"/>
                </a:lnTo>
                <a:lnTo>
                  <a:pt x="226079" y="133873"/>
                </a:lnTo>
                <a:lnTo>
                  <a:pt x="226079" y="133662"/>
                </a:lnTo>
                <a:lnTo>
                  <a:pt x="226079" y="133451"/>
                </a:lnTo>
                <a:lnTo>
                  <a:pt x="226290" y="133187"/>
                </a:lnTo>
                <a:lnTo>
                  <a:pt x="226290" y="133081"/>
                </a:lnTo>
                <a:lnTo>
                  <a:pt x="226449" y="133081"/>
                </a:lnTo>
                <a:lnTo>
                  <a:pt x="226554" y="133345"/>
                </a:lnTo>
                <a:lnTo>
                  <a:pt x="226660" y="133451"/>
                </a:lnTo>
                <a:lnTo>
                  <a:pt x="226871" y="133504"/>
                </a:lnTo>
                <a:lnTo>
                  <a:pt x="226977" y="133609"/>
                </a:lnTo>
                <a:lnTo>
                  <a:pt x="227030" y="133768"/>
                </a:lnTo>
                <a:lnTo>
                  <a:pt x="227082" y="133873"/>
                </a:lnTo>
                <a:lnTo>
                  <a:pt x="227135" y="134032"/>
                </a:lnTo>
                <a:lnTo>
                  <a:pt x="227346" y="134137"/>
                </a:lnTo>
                <a:lnTo>
                  <a:pt x="227716" y="134718"/>
                </a:lnTo>
                <a:lnTo>
                  <a:pt x="227822" y="134771"/>
                </a:lnTo>
                <a:lnTo>
                  <a:pt x="228720" y="134877"/>
                </a:lnTo>
                <a:lnTo>
                  <a:pt x="228772" y="134877"/>
                </a:lnTo>
                <a:lnTo>
                  <a:pt x="229089" y="135194"/>
                </a:lnTo>
                <a:lnTo>
                  <a:pt x="229195" y="135246"/>
                </a:lnTo>
                <a:lnTo>
                  <a:pt x="229353" y="135246"/>
                </a:lnTo>
                <a:lnTo>
                  <a:pt x="229248" y="135352"/>
                </a:lnTo>
                <a:lnTo>
                  <a:pt x="229089" y="135352"/>
                </a:lnTo>
                <a:lnTo>
                  <a:pt x="228984" y="135246"/>
                </a:lnTo>
                <a:lnTo>
                  <a:pt x="228772" y="134982"/>
                </a:lnTo>
                <a:lnTo>
                  <a:pt x="228667" y="134982"/>
                </a:lnTo>
                <a:lnTo>
                  <a:pt x="228033" y="134930"/>
                </a:lnTo>
                <a:lnTo>
                  <a:pt x="227558" y="135035"/>
                </a:lnTo>
                <a:lnTo>
                  <a:pt x="227505" y="135088"/>
                </a:lnTo>
                <a:lnTo>
                  <a:pt x="227505" y="135194"/>
                </a:lnTo>
                <a:lnTo>
                  <a:pt x="227558" y="135563"/>
                </a:lnTo>
                <a:lnTo>
                  <a:pt x="227558" y="135616"/>
                </a:lnTo>
                <a:lnTo>
                  <a:pt x="227452" y="135774"/>
                </a:lnTo>
                <a:lnTo>
                  <a:pt x="227452" y="135827"/>
                </a:lnTo>
                <a:lnTo>
                  <a:pt x="227452" y="135933"/>
                </a:lnTo>
                <a:lnTo>
                  <a:pt x="227452" y="135986"/>
                </a:lnTo>
                <a:lnTo>
                  <a:pt x="227452" y="136039"/>
                </a:lnTo>
                <a:lnTo>
                  <a:pt x="227452" y="136197"/>
                </a:lnTo>
                <a:lnTo>
                  <a:pt x="227452" y="136672"/>
                </a:lnTo>
                <a:lnTo>
                  <a:pt x="227452" y="136725"/>
                </a:lnTo>
                <a:lnTo>
                  <a:pt x="227611" y="136936"/>
                </a:lnTo>
                <a:lnTo>
                  <a:pt x="227611" y="137042"/>
                </a:lnTo>
                <a:lnTo>
                  <a:pt x="227452" y="137464"/>
                </a:lnTo>
                <a:lnTo>
                  <a:pt x="227399" y="137517"/>
                </a:lnTo>
                <a:lnTo>
                  <a:pt x="227346" y="137517"/>
                </a:lnTo>
                <a:lnTo>
                  <a:pt x="227082" y="137306"/>
                </a:lnTo>
                <a:lnTo>
                  <a:pt x="227135" y="137200"/>
                </a:lnTo>
                <a:lnTo>
                  <a:pt x="227241" y="137148"/>
                </a:lnTo>
                <a:lnTo>
                  <a:pt x="227346" y="137095"/>
                </a:lnTo>
                <a:lnTo>
                  <a:pt x="227452" y="137095"/>
                </a:lnTo>
                <a:lnTo>
                  <a:pt x="227399" y="136883"/>
                </a:lnTo>
                <a:lnTo>
                  <a:pt x="227294" y="136567"/>
                </a:lnTo>
                <a:lnTo>
                  <a:pt x="227294" y="136355"/>
                </a:lnTo>
                <a:lnTo>
                  <a:pt x="227294" y="136303"/>
                </a:lnTo>
                <a:lnTo>
                  <a:pt x="227241" y="136250"/>
                </a:lnTo>
                <a:lnTo>
                  <a:pt x="227188" y="136197"/>
                </a:lnTo>
                <a:lnTo>
                  <a:pt x="227135" y="136144"/>
                </a:lnTo>
                <a:lnTo>
                  <a:pt x="227135" y="136091"/>
                </a:lnTo>
                <a:lnTo>
                  <a:pt x="227135" y="135986"/>
                </a:lnTo>
                <a:lnTo>
                  <a:pt x="227082" y="135669"/>
                </a:lnTo>
                <a:lnTo>
                  <a:pt x="227082" y="135563"/>
                </a:lnTo>
                <a:lnTo>
                  <a:pt x="227135" y="135299"/>
                </a:lnTo>
                <a:lnTo>
                  <a:pt x="227294" y="134982"/>
                </a:lnTo>
                <a:lnTo>
                  <a:pt x="227294" y="134824"/>
                </a:lnTo>
                <a:lnTo>
                  <a:pt x="226977" y="134190"/>
                </a:lnTo>
                <a:lnTo>
                  <a:pt x="226713" y="133873"/>
                </a:lnTo>
                <a:lnTo>
                  <a:pt x="226607" y="133715"/>
                </a:lnTo>
                <a:lnTo>
                  <a:pt x="226502" y="133609"/>
                </a:lnTo>
                <a:lnTo>
                  <a:pt x="226396" y="133662"/>
                </a:lnTo>
                <a:lnTo>
                  <a:pt x="226237" y="133979"/>
                </a:lnTo>
                <a:lnTo>
                  <a:pt x="226132" y="134137"/>
                </a:lnTo>
                <a:lnTo>
                  <a:pt x="226079" y="134190"/>
                </a:lnTo>
                <a:lnTo>
                  <a:pt x="225973" y="134190"/>
                </a:lnTo>
                <a:lnTo>
                  <a:pt x="225868" y="134401"/>
                </a:lnTo>
                <a:lnTo>
                  <a:pt x="225815" y="134454"/>
                </a:lnTo>
                <a:lnTo>
                  <a:pt x="225815" y="134560"/>
                </a:lnTo>
                <a:lnTo>
                  <a:pt x="225868" y="134824"/>
                </a:lnTo>
                <a:lnTo>
                  <a:pt x="225973" y="135141"/>
                </a:lnTo>
                <a:lnTo>
                  <a:pt x="226026" y="135510"/>
                </a:lnTo>
                <a:lnTo>
                  <a:pt x="226079" y="135669"/>
                </a:lnTo>
                <a:lnTo>
                  <a:pt x="226132" y="135722"/>
                </a:lnTo>
                <a:lnTo>
                  <a:pt x="226185" y="135774"/>
                </a:lnTo>
                <a:lnTo>
                  <a:pt x="226502" y="136144"/>
                </a:lnTo>
                <a:lnTo>
                  <a:pt x="226449" y="136303"/>
                </a:lnTo>
                <a:lnTo>
                  <a:pt x="226237" y="136567"/>
                </a:lnTo>
                <a:lnTo>
                  <a:pt x="225973" y="136883"/>
                </a:lnTo>
                <a:lnTo>
                  <a:pt x="225921" y="137042"/>
                </a:lnTo>
                <a:lnTo>
                  <a:pt x="226026" y="137148"/>
                </a:lnTo>
                <a:lnTo>
                  <a:pt x="225762" y="137306"/>
                </a:lnTo>
                <a:lnTo>
                  <a:pt x="225709" y="137412"/>
                </a:lnTo>
                <a:lnTo>
                  <a:pt x="225762" y="137464"/>
                </a:lnTo>
                <a:lnTo>
                  <a:pt x="225657" y="137517"/>
                </a:lnTo>
                <a:lnTo>
                  <a:pt x="225604" y="137517"/>
                </a:lnTo>
                <a:lnTo>
                  <a:pt x="225551" y="137464"/>
                </a:lnTo>
                <a:lnTo>
                  <a:pt x="225498" y="137359"/>
                </a:lnTo>
                <a:lnTo>
                  <a:pt x="225445" y="137517"/>
                </a:lnTo>
                <a:lnTo>
                  <a:pt x="225393" y="137570"/>
                </a:lnTo>
                <a:lnTo>
                  <a:pt x="225340" y="137623"/>
                </a:lnTo>
                <a:lnTo>
                  <a:pt x="225234" y="137623"/>
                </a:lnTo>
                <a:lnTo>
                  <a:pt x="225234" y="137728"/>
                </a:lnTo>
                <a:lnTo>
                  <a:pt x="225076" y="137781"/>
                </a:lnTo>
                <a:lnTo>
                  <a:pt x="224759" y="137676"/>
                </a:lnTo>
                <a:lnTo>
                  <a:pt x="224653" y="137834"/>
                </a:lnTo>
                <a:lnTo>
                  <a:pt x="225868" y="138626"/>
                </a:lnTo>
                <a:lnTo>
                  <a:pt x="226185" y="138785"/>
                </a:lnTo>
                <a:lnTo>
                  <a:pt x="226237" y="138785"/>
                </a:lnTo>
                <a:lnTo>
                  <a:pt x="226290" y="138890"/>
                </a:lnTo>
                <a:lnTo>
                  <a:pt x="226502" y="139049"/>
                </a:lnTo>
                <a:lnTo>
                  <a:pt x="226607" y="139101"/>
                </a:lnTo>
                <a:lnTo>
                  <a:pt x="226713" y="139101"/>
                </a:lnTo>
                <a:lnTo>
                  <a:pt x="226766" y="139049"/>
                </a:lnTo>
                <a:lnTo>
                  <a:pt x="226977" y="139049"/>
                </a:lnTo>
                <a:lnTo>
                  <a:pt x="227188" y="139207"/>
                </a:lnTo>
                <a:lnTo>
                  <a:pt x="227082" y="139313"/>
                </a:lnTo>
                <a:lnTo>
                  <a:pt x="226977" y="139366"/>
                </a:lnTo>
                <a:lnTo>
                  <a:pt x="226871" y="139366"/>
                </a:lnTo>
                <a:lnTo>
                  <a:pt x="226660" y="139154"/>
                </a:lnTo>
                <a:lnTo>
                  <a:pt x="226290" y="139049"/>
                </a:lnTo>
                <a:lnTo>
                  <a:pt x="226290" y="139049"/>
                </a:lnTo>
                <a:lnTo>
                  <a:pt x="226396" y="139207"/>
                </a:lnTo>
                <a:lnTo>
                  <a:pt x="226607" y="139313"/>
                </a:lnTo>
                <a:lnTo>
                  <a:pt x="226766" y="139366"/>
                </a:lnTo>
                <a:lnTo>
                  <a:pt x="226924" y="139418"/>
                </a:lnTo>
                <a:lnTo>
                  <a:pt x="227030" y="139471"/>
                </a:lnTo>
                <a:lnTo>
                  <a:pt x="227188" y="139577"/>
                </a:lnTo>
                <a:lnTo>
                  <a:pt x="227294" y="139630"/>
                </a:lnTo>
                <a:lnTo>
                  <a:pt x="227294" y="139524"/>
                </a:lnTo>
                <a:lnTo>
                  <a:pt x="227346" y="139471"/>
                </a:lnTo>
                <a:lnTo>
                  <a:pt x="227399" y="139418"/>
                </a:lnTo>
                <a:lnTo>
                  <a:pt x="227505" y="139366"/>
                </a:lnTo>
                <a:lnTo>
                  <a:pt x="227558" y="139366"/>
                </a:lnTo>
                <a:lnTo>
                  <a:pt x="227611" y="139418"/>
                </a:lnTo>
                <a:lnTo>
                  <a:pt x="227611" y="139471"/>
                </a:lnTo>
                <a:lnTo>
                  <a:pt x="227611" y="139577"/>
                </a:lnTo>
                <a:lnTo>
                  <a:pt x="227611" y="139682"/>
                </a:lnTo>
                <a:lnTo>
                  <a:pt x="227663" y="139735"/>
                </a:lnTo>
                <a:lnTo>
                  <a:pt x="227927" y="139735"/>
                </a:lnTo>
                <a:lnTo>
                  <a:pt x="227980" y="139788"/>
                </a:lnTo>
                <a:lnTo>
                  <a:pt x="228139" y="139999"/>
                </a:lnTo>
                <a:lnTo>
                  <a:pt x="228033" y="139999"/>
                </a:lnTo>
                <a:lnTo>
                  <a:pt x="227822" y="139841"/>
                </a:lnTo>
                <a:lnTo>
                  <a:pt x="227716" y="139894"/>
                </a:lnTo>
                <a:lnTo>
                  <a:pt x="228772" y="140316"/>
                </a:lnTo>
                <a:lnTo>
                  <a:pt x="229459" y="140739"/>
                </a:lnTo>
                <a:lnTo>
                  <a:pt x="229564" y="140897"/>
                </a:lnTo>
                <a:lnTo>
                  <a:pt x="229776" y="141003"/>
                </a:lnTo>
                <a:lnTo>
                  <a:pt x="229987" y="141108"/>
                </a:lnTo>
                <a:lnTo>
                  <a:pt x="230145" y="141214"/>
                </a:lnTo>
                <a:lnTo>
                  <a:pt x="230304" y="141425"/>
                </a:lnTo>
                <a:lnTo>
                  <a:pt x="230409" y="141531"/>
                </a:lnTo>
                <a:lnTo>
                  <a:pt x="230409" y="141425"/>
                </a:lnTo>
                <a:lnTo>
                  <a:pt x="230304" y="141372"/>
                </a:lnTo>
                <a:lnTo>
                  <a:pt x="230674" y="141372"/>
                </a:lnTo>
                <a:lnTo>
                  <a:pt x="230779" y="141267"/>
                </a:lnTo>
                <a:lnTo>
                  <a:pt x="231307" y="141161"/>
                </a:lnTo>
                <a:lnTo>
                  <a:pt x="231360" y="141214"/>
                </a:lnTo>
                <a:lnTo>
                  <a:pt x="231307" y="141320"/>
                </a:lnTo>
                <a:lnTo>
                  <a:pt x="231202" y="141372"/>
                </a:lnTo>
                <a:lnTo>
                  <a:pt x="231149" y="141425"/>
                </a:lnTo>
                <a:lnTo>
                  <a:pt x="231096" y="141531"/>
                </a:lnTo>
                <a:lnTo>
                  <a:pt x="231096" y="141636"/>
                </a:lnTo>
                <a:lnTo>
                  <a:pt x="230990" y="141795"/>
                </a:lnTo>
                <a:lnTo>
                  <a:pt x="230832" y="141795"/>
                </a:lnTo>
                <a:lnTo>
                  <a:pt x="230515" y="141742"/>
                </a:lnTo>
                <a:lnTo>
                  <a:pt x="230779" y="141900"/>
                </a:lnTo>
                <a:lnTo>
                  <a:pt x="231360" y="141900"/>
                </a:lnTo>
                <a:lnTo>
                  <a:pt x="231677" y="141953"/>
                </a:lnTo>
                <a:lnTo>
                  <a:pt x="231624" y="142006"/>
                </a:lnTo>
                <a:lnTo>
                  <a:pt x="231360" y="142006"/>
                </a:lnTo>
                <a:lnTo>
                  <a:pt x="231518" y="142112"/>
                </a:lnTo>
                <a:lnTo>
                  <a:pt x="232047" y="142112"/>
                </a:lnTo>
                <a:lnTo>
                  <a:pt x="232099" y="142270"/>
                </a:lnTo>
                <a:lnTo>
                  <a:pt x="232205" y="142429"/>
                </a:lnTo>
                <a:lnTo>
                  <a:pt x="232522" y="142640"/>
                </a:lnTo>
                <a:lnTo>
                  <a:pt x="233472" y="143590"/>
                </a:lnTo>
                <a:lnTo>
                  <a:pt x="233684" y="143907"/>
                </a:lnTo>
                <a:lnTo>
                  <a:pt x="233789" y="144277"/>
                </a:lnTo>
                <a:lnTo>
                  <a:pt x="233789" y="144382"/>
                </a:lnTo>
                <a:lnTo>
                  <a:pt x="233789" y="144541"/>
                </a:lnTo>
                <a:lnTo>
                  <a:pt x="233789" y="144647"/>
                </a:lnTo>
                <a:lnTo>
                  <a:pt x="233789" y="144752"/>
                </a:lnTo>
                <a:lnTo>
                  <a:pt x="233842" y="144805"/>
                </a:lnTo>
                <a:lnTo>
                  <a:pt x="233948" y="144805"/>
                </a:lnTo>
                <a:lnTo>
                  <a:pt x="234053" y="144963"/>
                </a:lnTo>
                <a:lnTo>
                  <a:pt x="234845" y="145703"/>
                </a:lnTo>
                <a:lnTo>
                  <a:pt x="234951" y="145861"/>
                </a:lnTo>
                <a:lnTo>
                  <a:pt x="234951" y="146072"/>
                </a:lnTo>
                <a:lnTo>
                  <a:pt x="234951" y="146178"/>
                </a:lnTo>
                <a:lnTo>
                  <a:pt x="235110" y="146178"/>
                </a:lnTo>
                <a:lnTo>
                  <a:pt x="235479" y="145967"/>
                </a:lnTo>
                <a:lnTo>
                  <a:pt x="235690" y="145967"/>
                </a:lnTo>
                <a:lnTo>
                  <a:pt x="235796" y="145808"/>
                </a:lnTo>
                <a:lnTo>
                  <a:pt x="235902" y="145808"/>
                </a:lnTo>
                <a:lnTo>
                  <a:pt x="235954" y="145914"/>
                </a:lnTo>
                <a:lnTo>
                  <a:pt x="236060" y="146020"/>
                </a:lnTo>
                <a:lnTo>
                  <a:pt x="236007" y="146072"/>
                </a:lnTo>
                <a:lnTo>
                  <a:pt x="235796" y="146072"/>
                </a:lnTo>
                <a:lnTo>
                  <a:pt x="235690" y="146125"/>
                </a:lnTo>
                <a:lnTo>
                  <a:pt x="235532" y="146336"/>
                </a:lnTo>
                <a:lnTo>
                  <a:pt x="235268" y="146336"/>
                </a:lnTo>
                <a:lnTo>
                  <a:pt x="235215" y="146389"/>
                </a:lnTo>
                <a:lnTo>
                  <a:pt x="235162" y="146442"/>
                </a:lnTo>
                <a:lnTo>
                  <a:pt x="235374" y="146442"/>
                </a:lnTo>
                <a:lnTo>
                  <a:pt x="235479" y="146548"/>
                </a:lnTo>
                <a:lnTo>
                  <a:pt x="235690" y="146759"/>
                </a:lnTo>
                <a:lnTo>
                  <a:pt x="235902" y="146865"/>
                </a:lnTo>
                <a:lnTo>
                  <a:pt x="236430" y="147340"/>
                </a:lnTo>
                <a:lnTo>
                  <a:pt x="236535" y="147340"/>
                </a:lnTo>
                <a:lnTo>
                  <a:pt x="236641" y="147498"/>
                </a:lnTo>
                <a:lnTo>
                  <a:pt x="236694" y="147551"/>
                </a:lnTo>
                <a:lnTo>
                  <a:pt x="236905" y="147710"/>
                </a:lnTo>
                <a:lnTo>
                  <a:pt x="237222" y="147815"/>
                </a:lnTo>
                <a:lnTo>
                  <a:pt x="237539" y="148185"/>
                </a:lnTo>
                <a:lnTo>
                  <a:pt x="237592" y="148238"/>
                </a:lnTo>
                <a:lnTo>
                  <a:pt x="237803" y="148238"/>
                </a:lnTo>
                <a:lnTo>
                  <a:pt x="238014" y="148132"/>
                </a:lnTo>
                <a:lnTo>
                  <a:pt x="238225" y="148132"/>
                </a:lnTo>
                <a:lnTo>
                  <a:pt x="238384" y="148185"/>
                </a:lnTo>
                <a:lnTo>
                  <a:pt x="238489" y="148290"/>
                </a:lnTo>
                <a:lnTo>
                  <a:pt x="238542" y="148449"/>
                </a:lnTo>
                <a:lnTo>
                  <a:pt x="238595" y="148660"/>
                </a:lnTo>
                <a:lnTo>
                  <a:pt x="238648" y="148660"/>
                </a:lnTo>
                <a:lnTo>
                  <a:pt x="238701" y="148502"/>
                </a:lnTo>
                <a:lnTo>
                  <a:pt x="238701" y="148290"/>
                </a:lnTo>
                <a:lnTo>
                  <a:pt x="238806" y="148343"/>
                </a:lnTo>
                <a:lnTo>
                  <a:pt x="238859" y="148449"/>
                </a:lnTo>
                <a:lnTo>
                  <a:pt x="238912" y="148554"/>
                </a:lnTo>
                <a:lnTo>
                  <a:pt x="238965" y="148660"/>
                </a:lnTo>
                <a:lnTo>
                  <a:pt x="238965" y="148713"/>
                </a:lnTo>
                <a:lnTo>
                  <a:pt x="238912" y="148819"/>
                </a:lnTo>
                <a:lnTo>
                  <a:pt x="238912" y="148871"/>
                </a:lnTo>
                <a:lnTo>
                  <a:pt x="239017" y="148924"/>
                </a:lnTo>
                <a:lnTo>
                  <a:pt x="239176" y="148819"/>
                </a:lnTo>
                <a:lnTo>
                  <a:pt x="239229" y="148871"/>
                </a:lnTo>
                <a:lnTo>
                  <a:pt x="239229" y="148924"/>
                </a:lnTo>
                <a:lnTo>
                  <a:pt x="239229" y="148977"/>
                </a:lnTo>
                <a:lnTo>
                  <a:pt x="239229" y="149030"/>
                </a:lnTo>
                <a:lnTo>
                  <a:pt x="239282" y="149083"/>
                </a:lnTo>
                <a:lnTo>
                  <a:pt x="239387" y="149083"/>
                </a:lnTo>
                <a:lnTo>
                  <a:pt x="239440" y="149030"/>
                </a:lnTo>
                <a:lnTo>
                  <a:pt x="239440" y="148977"/>
                </a:lnTo>
                <a:lnTo>
                  <a:pt x="239493" y="149083"/>
                </a:lnTo>
                <a:lnTo>
                  <a:pt x="239546" y="149135"/>
                </a:lnTo>
                <a:lnTo>
                  <a:pt x="239651" y="149135"/>
                </a:lnTo>
                <a:lnTo>
                  <a:pt x="239704" y="149083"/>
                </a:lnTo>
                <a:lnTo>
                  <a:pt x="239704" y="149135"/>
                </a:lnTo>
                <a:lnTo>
                  <a:pt x="239704" y="149188"/>
                </a:lnTo>
                <a:lnTo>
                  <a:pt x="239704" y="149241"/>
                </a:lnTo>
                <a:lnTo>
                  <a:pt x="239651" y="149241"/>
                </a:lnTo>
                <a:lnTo>
                  <a:pt x="239598" y="149399"/>
                </a:lnTo>
                <a:lnTo>
                  <a:pt x="239598" y="149558"/>
                </a:lnTo>
                <a:lnTo>
                  <a:pt x="239651" y="149716"/>
                </a:lnTo>
                <a:lnTo>
                  <a:pt x="239704" y="149822"/>
                </a:lnTo>
                <a:lnTo>
                  <a:pt x="239862" y="149822"/>
                </a:lnTo>
                <a:lnTo>
                  <a:pt x="239915" y="149769"/>
                </a:lnTo>
                <a:lnTo>
                  <a:pt x="240074" y="149822"/>
                </a:lnTo>
                <a:lnTo>
                  <a:pt x="240126" y="149769"/>
                </a:lnTo>
                <a:lnTo>
                  <a:pt x="240232" y="149611"/>
                </a:lnTo>
                <a:lnTo>
                  <a:pt x="240232" y="149505"/>
                </a:lnTo>
                <a:lnTo>
                  <a:pt x="240338" y="149452"/>
                </a:lnTo>
                <a:lnTo>
                  <a:pt x="240338" y="149399"/>
                </a:lnTo>
                <a:lnTo>
                  <a:pt x="240285" y="149399"/>
                </a:lnTo>
                <a:lnTo>
                  <a:pt x="239915" y="148871"/>
                </a:lnTo>
                <a:lnTo>
                  <a:pt x="240074" y="148766"/>
                </a:lnTo>
                <a:lnTo>
                  <a:pt x="240179" y="148713"/>
                </a:lnTo>
                <a:lnTo>
                  <a:pt x="240232" y="148713"/>
                </a:lnTo>
                <a:lnTo>
                  <a:pt x="240285" y="148766"/>
                </a:lnTo>
                <a:lnTo>
                  <a:pt x="240338" y="148819"/>
                </a:lnTo>
                <a:lnTo>
                  <a:pt x="240496" y="148819"/>
                </a:lnTo>
                <a:lnTo>
                  <a:pt x="240496" y="148871"/>
                </a:lnTo>
                <a:lnTo>
                  <a:pt x="240496" y="148977"/>
                </a:lnTo>
                <a:lnTo>
                  <a:pt x="240602" y="149030"/>
                </a:lnTo>
                <a:lnTo>
                  <a:pt x="240866" y="148977"/>
                </a:lnTo>
                <a:lnTo>
                  <a:pt x="241077" y="149135"/>
                </a:lnTo>
                <a:lnTo>
                  <a:pt x="241183" y="149135"/>
                </a:lnTo>
                <a:lnTo>
                  <a:pt x="241235" y="148977"/>
                </a:lnTo>
                <a:lnTo>
                  <a:pt x="241235" y="148766"/>
                </a:lnTo>
                <a:lnTo>
                  <a:pt x="241235" y="148660"/>
                </a:lnTo>
                <a:lnTo>
                  <a:pt x="241183" y="148607"/>
                </a:lnTo>
                <a:lnTo>
                  <a:pt x="241024" y="148554"/>
                </a:lnTo>
                <a:lnTo>
                  <a:pt x="241024" y="148502"/>
                </a:lnTo>
                <a:lnTo>
                  <a:pt x="241024" y="148449"/>
                </a:lnTo>
                <a:lnTo>
                  <a:pt x="240866" y="148449"/>
                </a:lnTo>
                <a:lnTo>
                  <a:pt x="240760" y="148396"/>
                </a:lnTo>
                <a:lnTo>
                  <a:pt x="240707" y="148449"/>
                </a:lnTo>
                <a:lnTo>
                  <a:pt x="240707" y="148607"/>
                </a:lnTo>
                <a:lnTo>
                  <a:pt x="240707" y="148713"/>
                </a:lnTo>
                <a:lnTo>
                  <a:pt x="240707" y="148766"/>
                </a:lnTo>
                <a:lnTo>
                  <a:pt x="240549" y="148766"/>
                </a:lnTo>
                <a:lnTo>
                  <a:pt x="240496" y="148660"/>
                </a:lnTo>
                <a:lnTo>
                  <a:pt x="240443" y="148660"/>
                </a:lnTo>
                <a:lnTo>
                  <a:pt x="240443" y="148607"/>
                </a:lnTo>
                <a:lnTo>
                  <a:pt x="240443" y="148554"/>
                </a:lnTo>
                <a:lnTo>
                  <a:pt x="240391" y="148554"/>
                </a:lnTo>
                <a:lnTo>
                  <a:pt x="240496" y="148502"/>
                </a:lnTo>
                <a:lnTo>
                  <a:pt x="240602" y="148502"/>
                </a:lnTo>
                <a:lnTo>
                  <a:pt x="240707" y="148449"/>
                </a:lnTo>
                <a:lnTo>
                  <a:pt x="240707" y="148185"/>
                </a:lnTo>
                <a:lnTo>
                  <a:pt x="240655" y="148079"/>
                </a:lnTo>
                <a:lnTo>
                  <a:pt x="240655" y="147974"/>
                </a:lnTo>
                <a:lnTo>
                  <a:pt x="240655" y="147921"/>
                </a:lnTo>
                <a:lnTo>
                  <a:pt x="240707" y="147921"/>
                </a:lnTo>
                <a:lnTo>
                  <a:pt x="240760" y="148079"/>
                </a:lnTo>
                <a:lnTo>
                  <a:pt x="240760" y="148132"/>
                </a:lnTo>
                <a:lnTo>
                  <a:pt x="240866" y="148132"/>
                </a:lnTo>
                <a:lnTo>
                  <a:pt x="241077" y="148343"/>
                </a:lnTo>
                <a:lnTo>
                  <a:pt x="241394" y="148502"/>
                </a:lnTo>
                <a:lnTo>
                  <a:pt x="241447" y="148502"/>
                </a:lnTo>
                <a:lnTo>
                  <a:pt x="241447" y="148238"/>
                </a:lnTo>
                <a:lnTo>
                  <a:pt x="241711" y="148660"/>
                </a:lnTo>
                <a:lnTo>
                  <a:pt x="241764" y="148766"/>
                </a:lnTo>
                <a:lnTo>
                  <a:pt x="241711" y="148819"/>
                </a:lnTo>
                <a:lnTo>
                  <a:pt x="241658" y="148924"/>
                </a:lnTo>
                <a:lnTo>
                  <a:pt x="241658" y="149030"/>
                </a:lnTo>
                <a:lnTo>
                  <a:pt x="241764" y="149083"/>
                </a:lnTo>
                <a:lnTo>
                  <a:pt x="242133" y="149030"/>
                </a:lnTo>
                <a:lnTo>
                  <a:pt x="242450" y="148871"/>
                </a:lnTo>
                <a:lnTo>
                  <a:pt x="242556" y="148871"/>
                </a:lnTo>
                <a:lnTo>
                  <a:pt x="242661" y="148819"/>
                </a:lnTo>
                <a:lnTo>
                  <a:pt x="242767" y="148713"/>
                </a:lnTo>
                <a:lnTo>
                  <a:pt x="242925" y="148449"/>
                </a:lnTo>
                <a:lnTo>
                  <a:pt x="242873" y="148343"/>
                </a:lnTo>
                <a:lnTo>
                  <a:pt x="242767" y="147868"/>
                </a:lnTo>
                <a:lnTo>
                  <a:pt x="242767" y="147657"/>
                </a:lnTo>
                <a:lnTo>
                  <a:pt x="242661" y="147657"/>
                </a:lnTo>
                <a:lnTo>
                  <a:pt x="242661" y="147604"/>
                </a:lnTo>
                <a:lnTo>
                  <a:pt x="242661" y="147551"/>
                </a:lnTo>
                <a:lnTo>
                  <a:pt x="242661" y="147498"/>
                </a:lnTo>
                <a:lnTo>
                  <a:pt x="242661" y="147445"/>
                </a:lnTo>
                <a:lnTo>
                  <a:pt x="242661" y="147393"/>
                </a:lnTo>
                <a:lnTo>
                  <a:pt x="242661" y="147340"/>
                </a:lnTo>
                <a:lnTo>
                  <a:pt x="242292" y="147340"/>
                </a:lnTo>
                <a:lnTo>
                  <a:pt x="242080" y="147445"/>
                </a:lnTo>
                <a:lnTo>
                  <a:pt x="242028" y="147445"/>
                </a:lnTo>
                <a:lnTo>
                  <a:pt x="241922" y="147287"/>
                </a:lnTo>
                <a:lnTo>
                  <a:pt x="242186" y="147287"/>
                </a:lnTo>
                <a:lnTo>
                  <a:pt x="242186" y="147234"/>
                </a:lnTo>
                <a:lnTo>
                  <a:pt x="242186" y="147076"/>
                </a:lnTo>
                <a:lnTo>
                  <a:pt x="242292" y="147076"/>
                </a:lnTo>
                <a:lnTo>
                  <a:pt x="242292" y="146917"/>
                </a:lnTo>
                <a:lnTo>
                  <a:pt x="242080" y="146917"/>
                </a:lnTo>
                <a:lnTo>
                  <a:pt x="241975" y="146706"/>
                </a:lnTo>
                <a:lnTo>
                  <a:pt x="241922" y="146653"/>
                </a:lnTo>
                <a:lnTo>
                  <a:pt x="241975" y="146601"/>
                </a:lnTo>
                <a:lnTo>
                  <a:pt x="242028" y="146601"/>
                </a:lnTo>
                <a:lnTo>
                  <a:pt x="242028" y="146548"/>
                </a:lnTo>
                <a:lnTo>
                  <a:pt x="241605" y="146125"/>
                </a:lnTo>
                <a:lnTo>
                  <a:pt x="241552" y="146072"/>
                </a:lnTo>
                <a:lnTo>
                  <a:pt x="241552" y="146178"/>
                </a:lnTo>
                <a:lnTo>
                  <a:pt x="241552" y="146231"/>
                </a:lnTo>
                <a:lnTo>
                  <a:pt x="241552" y="146389"/>
                </a:lnTo>
                <a:lnTo>
                  <a:pt x="241500" y="146442"/>
                </a:lnTo>
                <a:lnTo>
                  <a:pt x="241447" y="146442"/>
                </a:lnTo>
                <a:lnTo>
                  <a:pt x="241394" y="146389"/>
                </a:lnTo>
                <a:lnTo>
                  <a:pt x="241394" y="146336"/>
                </a:lnTo>
                <a:lnTo>
                  <a:pt x="241288" y="146336"/>
                </a:lnTo>
                <a:lnTo>
                  <a:pt x="241235" y="146389"/>
                </a:lnTo>
                <a:lnTo>
                  <a:pt x="241235" y="146442"/>
                </a:lnTo>
                <a:lnTo>
                  <a:pt x="241235" y="146548"/>
                </a:lnTo>
                <a:lnTo>
                  <a:pt x="241341" y="146653"/>
                </a:lnTo>
                <a:lnTo>
                  <a:pt x="241394" y="146706"/>
                </a:lnTo>
                <a:lnTo>
                  <a:pt x="241235" y="146653"/>
                </a:lnTo>
                <a:lnTo>
                  <a:pt x="241130" y="146548"/>
                </a:lnTo>
                <a:lnTo>
                  <a:pt x="241024" y="146495"/>
                </a:lnTo>
                <a:lnTo>
                  <a:pt x="240866" y="146548"/>
                </a:lnTo>
                <a:lnTo>
                  <a:pt x="240707" y="146759"/>
                </a:lnTo>
                <a:lnTo>
                  <a:pt x="240602" y="146759"/>
                </a:lnTo>
                <a:lnTo>
                  <a:pt x="240443" y="146601"/>
                </a:lnTo>
                <a:lnTo>
                  <a:pt x="240443" y="146548"/>
                </a:lnTo>
                <a:lnTo>
                  <a:pt x="240602" y="146601"/>
                </a:lnTo>
                <a:lnTo>
                  <a:pt x="240707" y="146548"/>
                </a:lnTo>
                <a:lnTo>
                  <a:pt x="241024" y="146231"/>
                </a:lnTo>
                <a:lnTo>
                  <a:pt x="241235" y="146072"/>
                </a:lnTo>
                <a:lnTo>
                  <a:pt x="241235" y="146020"/>
                </a:lnTo>
                <a:lnTo>
                  <a:pt x="241235" y="145914"/>
                </a:lnTo>
                <a:lnTo>
                  <a:pt x="241183" y="145808"/>
                </a:lnTo>
                <a:lnTo>
                  <a:pt x="241130" y="145756"/>
                </a:lnTo>
                <a:lnTo>
                  <a:pt x="241130" y="145650"/>
                </a:lnTo>
                <a:lnTo>
                  <a:pt x="241077" y="145597"/>
                </a:lnTo>
                <a:lnTo>
                  <a:pt x="240602" y="145386"/>
                </a:lnTo>
                <a:lnTo>
                  <a:pt x="240602" y="145650"/>
                </a:lnTo>
                <a:lnTo>
                  <a:pt x="240655" y="145808"/>
                </a:lnTo>
                <a:lnTo>
                  <a:pt x="240760" y="145914"/>
                </a:lnTo>
                <a:lnTo>
                  <a:pt x="240866" y="146125"/>
                </a:lnTo>
                <a:lnTo>
                  <a:pt x="240760" y="146072"/>
                </a:lnTo>
                <a:lnTo>
                  <a:pt x="240655" y="145914"/>
                </a:lnTo>
                <a:lnTo>
                  <a:pt x="240602" y="145861"/>
                </a:lnTo>
                <a:lnTo>
                  <a:pt x="240496" y="145861"/>
                </a:lnTo>
                <a:lnTo>
                  <a:pt x="240496" y="145808"/>
                </a:lnTo>
                <a:lnTo>
                  <a:pt x="240496" y="145756"/>
                </a:lnTo>
                <a:lnTo>
                  <a:pt x="240496" y="145650"/>
                </a:lnTo>
                <a:lnTo>
                  <a:pt x="240496" y="145544"/>
                </a:lnTo>
                <a:lnTo>
                  <a:pt x="240496" y="145492"/>
                </a:lnTo>
                <a:lnTo>
                  <a:pt x="240496" y="145386"/>
                </a:lnTo>
                <a:lnTo>
                  <a:pt x="240391" y="145386"/>
                </a:lnTo>
                <a:lnTo>
                  <a:pt x="240285" y="145333"/>
                </a:lnTo>
                <a:lnTo>
                  <a:pt x="240021" y="145227"/>
                </a:lnTo>
                <a:lnTo>
                  <a:pt x="240179" y="145227"/>
                </a:lnTo>
                <a:lnTo>
                  <a:pt x="240232" y="145175"/>
                </a:lnTo>
                <a:lnTo>
                  <a:pt x="239968" y="144911"/>
                </a:lnTo>
                <a:lnTo>
                  <a:pt x="239915" y="144911"/>
                </a:lnTo>
                <a:lnTo>
                  <a:pt x="239915" y="144805"/>
                </a:lnTo>
                <a:lnTo>
                  <a:pt x="240074" y="144752"/>
                </a:lnTo>
                <a:lnTo>
                  <a:pt x="240179" y="144911"/>
                </a:lnTo>
                <a:lnTo>
                  <a:pt x="240285" y="145122"/>
                </a:lnTo>
                <a:lnTo>
                  <a:pt x="240391" y="145227"/>
                </a:lnTo>
                <a:lnTo>
                  <a:pt x="240391" y="145175"/>
                </a:lnTo>
                <a:lnTo>
                  <a:pt x="240549" y="145175"/>
                </a:lnTo>
                <a:lnTo>
                  <a:pt x="240602" y="145122"/>
                </a:lnTo>
                <a:lnTo>
                  <a:pt x="240655" y="145016"/>
                </a:lnTo>
                <a:lnTo>
                  <a:pt x="240391" y="144752"/>
                </a:lnTo>
                <a:lnTo>
                  <a:pt x="240338" y="144699"/>
                </a:lnTo>
                <a:lnTo>
                  <a:pt x="240285" y="144647"/>
                </a:lnTo>
                <a:lnTo>
                  <a:pt x="240232" y="144594"/>
                </a:lnTo>
                <a:lnTo>
                  <a:pt x="240179" y="144541"/>
                </a:lnTo>
                <a:lnTo>
                  <a:pt x="240074" y="144647"/>
                </a:lnTo>
                <a:lnTo>
                  <a:pt x="239915" y="144647"/>
                </a:lnTo>
                <a:lnTo>
                  <a:pt x="239862" y="144594"/>
                </a:lnTo>
                <a:lnTo>
                  <a:pt x="239810" y="144541"/>
                </a:lnTo>
                <a:lnTo>
                  <a:pt x="239651" y="144541"/>
                </a:lnTo>
                <a:lnTo>
                  <a:pt x="239493" y="144382"/>
                </a:lnTo>
                <a:lnTo>
                  <a:pt x="239334" y="144382"/>
                </a:lnTo>
                <a:lnTo>
                  <a:pt x="239229" y="144435"/>
                </a:lnTo>
                <a:lnTo>
                  <a:pt x="239176" y="144541"/>
                </a:lnTo>
                <a:lnTo>
                  <a:pt x="239123" y="144699"/>
                </a:lnTo>
                <a:lnTo>
                  <a:pt x="239123" y="144594"/>
                </a:lnTo>
                <a:lnTo>
                  <a:pt x="239123" y="144488"/>
                </a:lnTo>
                <a:lnTo>
                  <a:pt x="239123" y="144382"/>
                </a:lnTo>
                <a:lnTo>
                  <a:pt x="239070" y="144330"/>
                </a:lnTo>
                <a:lnTo>
                  <a:pt x="238965" y="144277"/>
                </a:lnTo>
                <a:lnTo>
                  <a:pt x="238753" y="144224"/>
                </a:lnTo>
                <a:lnTo>
                  <a:pt x="238278" y="144224"/>
                </a:lnTo>
                <a:lnTo>
                  <a:pt x="238173" y="144277"/>
                </a:lnTo>
                <a:lnTo>
                  <a:pt x="238067" y="144330"/>
                </a:lnTo>
                <a:lnTo>
                  <a:pt x="237908" y="144594"/>
                </a:lnTo>
                <a:lnTo>
                  <a:pt x="237803" y="144699"/>
                </a:lnTo>
                <a:lnTo>
                  <a:pt x="237697" y="144805"/>
                </a:lnTo>
                <a:lnTo>
                  <a:pt x="237644" y="144805"/>
                </a:lnTo>
                <a:lnTo>
                  <a:pt x="237644" y="144752"/>
                </a:lnTo>
                <a:lnTo>
                  <a:pt x="237750" y="144488"/>
                </a:lnTo>
                <a:lnTo>
                  <a:pt x="237856" y="144382"/>
                </a:lnTo>
                <a:lnTo>
                  <a:pt x="237908" y="144382"/>
                </a:lnTo>
                <a:lnTo>
                  <a:pt x="238067" y="144013"/>
                </a:lnTo>
                <a:lnTo>
                  <a:pt x="238173" y="143907"/>
                </a:lnTo>
                <a:lnTo>
                  <a:pt x="238648" y="143907"/>
                </a:lnTo>
                <a:lnTo>
                  <a:pt x="238701" y="143802"/>
                </a:lnTo>
                <a:lnTo>
                  <a:pt x="238648" y="143590"/>
                </a:lnTo>
                <a:lnTo>
                  <a:pt x="238595" y="143485"/>
                </a:lnTo>
                <a:lnTo>
                  <a:pt x="238384" y="143273"/>
                </a:lnTo>
                <a:lnTo>
                  <a:pt x="238225" y="143009"/>
                </a:lnTo>
                <a:lnTo>
                  <a:pt x="238120" y="142851"/>
                </a:lnTo>
                <a:lnTo>
                  <a:pt x="238014" y="142851"/>
                </a:lnTo>
                <a:lnTo>
                  <a:pt x="237961" y="142798"/>
                </a:lnTo>
                <a:lnTo>
                  <a:pt x="237961" y="142693"/>
                </a:lnTo>
                <a:lnTo>
                  <a:pt x="237961" y="142587"/>
                </a:lnTo>
                <a:lnTo>
                  <a:pt x="238014" y="142534"/>
                </a:lnTo>
                <a:lnTo>
                  <a:pt x="238014" y="142534"/>
                </a:lnTo>
                <a:lnTo>
                  <a:pt x="237433" y="142957"/>
                </a:lnTo>
                <a:lnTo>
                  <a:pt x="236905" y="143326"/>
                </a:lnTo>
                <a:lnTo>
                  <a:pt x="236641" y="143590"/>
                </a:lnTo>
                <a:lnTo>
                  <a:pt x="236219" y="144013"/>
                </a:lnTo>
                <a:lnTo>
                  <a:pt x="236060" y="144118"/>
                </a:lnTo>
                <a:lnTo>
                  <a:pt x="235902" y="144118"/>
                </a:lnTo>
                <a:lnTo>
                  <a:pt x="235796" y="143960"/>
                </a:lnTo>
                <a:lnTo>
                  <a:pt x="235796" y="143749"/>
                </a:lnTo>
                <a:lnTo>
                  <a:pt x="235902" y="143273"/>
                </a:lnTo>
                <a:lnTo>
                  <a:pt x="235743" y="142534"/>
                </a:lnTo>
                <a:lnTo>
                  <a:pt x="235638" y="141953"/>
                </a:lnTo>
                <a:lnTo>
                  <a:pt x="235479" y="141320"/>
                </a:lnTo>
                <a:lnTo>
                  <a:pt x="235426" y="141108"/>
                </a:lnTo>
                <a:lnTo>
                  <a:pt x="235321" y="141003"/>
                </a:lnTo>
                <a:lnTo>
                  <a:pt x="234634" y="140263"/>
                </a:lnTo>
                <a:lnTo>
                  <a:pt x="233895" y="139524"/>
                </a:lnTo>
                <a:lnTo>
                  <a:pt x="233156" y="138785"/>
                </a:lnTo>
                <a:lnTo>
                  <a:pt x="232469" y="138045"/>
                </a:lnTo>
                <a:lnTo>
                  <a:pt x="231783" y="137359"/>
                </a:lnTo>
                <a:lnTo>
                  <a:pt x="231202" y="136725"/>
                </a:lnTo>
                <a:lnTo>
                  <a:pt x="230674" y="136197"/>
                </a:lnTo>
                <a:lnTo>
                  <a:pt x="230515" y="135933"/>
                </a:lnTo>
                <a:lnTo>
                  <a:pt x="230409" y="135722"/>
                </a:lnTo>
                <a:lnTo>
                  <a:pt x="230251" y="134930"/>
                </a:lnTo>
                <a:lnTo>
                  <a:pt x="230251" y="134877"/>
                </a:lnTo>
                <a:lnTo>
                  <a:pt x="230198" y="134824"/>
                </a:lnTo>
                <a:lnTo>
                  <a:pt x="229987" y="134718"/>
                </a:lnTo>
                <a:lnTo>
                  <a:pt x="229564" y="134454"/>
                </a:lnTo>
                <a:lnTo>
                  <a:pt x="228772" y="134085"/>
                </a:lnTo>
                <a:lnTo>
                  <a:pt x="228561" y="133926"/>
                </a:lnTo>
                <a:lnTo>
                  <a:pt x="228244" y="133609"/>
                </a:lnTo>
                <a:lnTo>
                  <a:pt x="227927" y="133187"/>
                </a:lnTo>
                <a:lnTo>
                  <a:pt x="227927" y="132923"/>
                </a:lnTo>
                <a:lnTo>
                  <a:pt x="228086" y="132342"/>
                </a:lnTo>
                <a:lnTo>
                  <a:pt x="228244" y="131761"/>
                </a:lnTo>
                <a:lnTo>
                  <a:pt x="228403" y="130705"/>
                </a:lnTo>
                <a:lnTo>
                  <a:pt x="228403" y="130493"/>
                </a:lnTo>
                <a:lnTo>
                  <a:pt x="228350" y="130335"/>
                </a:lnTo>
                <a:lnTo>
                  <a:pt x="228244" y="130282"/>
                </a:lnTo>
                <a:lnTo>
                  <a:pt x="225762" y="130282"/>
                </a:lnTo>
                <a:lnTo>
                  <a:pt x="225498" y="130388"/>
                </a:lnTo>
                <a:lnTo>
                  <a:pt x="225287" y="130546"/>
                </a:lnTo>
                <a:lnTo>
                  <a:pt x="224812" y="131022"/>
                </a:lnTo>
                <a:lnTo>
                  <a:pt x="224389" y="131497"/>
                </a:lnTo>
                <a:lnTo>
                  <a:pt x="224125" y="131655"/>
                </a:lnTo>
                <a:lnTo>
                  <a:pt x="223914" y="131655"/>
                </a:lnTo>
                <a:lnTo>
                  <a:pt x="223175" y="131286"/>
                </a:lnTo>
                <a:lnTo>
                  <a:pt x="222435" y="130916"/>
                </a:lnTo>
                <a:lnTo>
                  <a:pt x="222013" y="130652"/>
                </a:lnTo>
                <a:lnTo>
                  <a:pt x="221854" y="130652"/>
                </a:lnTo>
                <a:lnTo>
                  <a:pt x="221801" y="130705"/>
                </a:lnTo>
                <a:lnTo>
                  <a:pt x="221749" y="130863"/>
                </a:lnTo>
                <a:lnTo>
                  <a:pt x="221590" y="131233"/>
                </a:lnTo>
                <a:lnTo>
                  <a:pt x="221537" y="131338"/>
                </a:lnTo>
                <a:lnTo>
                  <a:pt x="221485" y="131391"/>
                </a:lnTo>
                <a:lnTo>
                  <a:pt x="220851" y="131180"/>
                </a:lnTo>
                <a:lnTo>
                  <a:pt x="220376" y="131022"/>
                </a:lnTo>
                <a:lnTo>
                  <a:pt x="219689" y="130758"/>
                </a:lnTo>
                <a:lnTo>
                  <a:pt x="219372" y="130652"/>
                </a:lnTo>
                <a:lnTo>
                  <a:pt x="219267" y="130599"/>
                </a:lnTo>
                <a:lnTo>
                  <a:pt x="219267" y="130441"/>
                </a:lnTo>
                <a:lnTo>
                  <a:pt x="219267" y="25032"/>
                </a:lnTo>
                <a:lnTo>
                  <a:pt x="219214" y="24979"/>
                </a:lnTo>
                <a:lnTo>
                  <a:pt x="218144" y="24583"/>
                </a:lnTo>
                <a:lnTo>
                  <a:pt x="218263" y="24662"/>
                </a:lnTo>
                <a:lnTo>
                  <a:pt x="218105" y="24821"/>
                </a:lnTo>
                <a:lnTo>
                  <a:pt x="218052" y="25085"/>
                </a:lnTo>
                <a:lnTo>
                  <a:pt x="217894" y="25190"/>
                </a:lnTo>
                <a:lnTo>
                  <a:pt x="217313" y="24979"/>
                </a:lnTo>
                <a:lnTo>
                  <a:pt x="217207" y="24821"/>
                </a:lnTo>
                <a:lnTo>
                  <a:pt x="216996" y="24345"/>
                </a:lnTo>
                <a:lnTo>
                  <a:pt x="216943" y="24187"/>
                </a:lnTo>
                <a:lnTo>
                  <a:pt x="216785" y="24081"/>
                </a:lnTo>
                <a:lnTo>
                  <a:pt x="216573" y="23923"/>
                </a:lnTo>
                <a:lnTo>
                  <a:pt x="216204" y="23448"/>
                </a:lnTo>
                <a:lnTo>
                  <a:pt x="215306" y="23078"/>
                </a:lnTo>
                <a:lnTo>
                  <a:pt x="215095" y="22814"/>
                </a:lnTo>
                <a:lnTo>
                  <a:pt x="214936" y="22761"/>
                </a:lnTo>
                <a:lnTo>
                  <a:pt x="214831" y="22814"/>
                </a:lnTo>
                <a:lnTo>
                  <a:pt x="214725" y="23025"/>
                </a:lnTo>
                <a:lnTo>
                  <a:pt x="214619" y="23025"/>
                </a:lnTo>
                <a:lnTo>
                  <a:pt x="214461" y="22972"/>
                </a:lnTo>
                <a:lnTo>
                  <a:pt x="214355" y="22867"/>
                </a:lnTo>
                <a:lnTo>
                  <a:pt x="214302" y="22444"/>
                </a:lnTo>
                <a:lnTo>
                  <a:pt x="214038" y="22286"/>
                </a:lnTo>
                <a:lnTo>
                  <a:pt x="213299" y="22180"/>
                </a:lnTo>
                <a:lnTo>
                  <a:pt x="213141" y="22075"/>
                </a:lnTo>
                <a:lnTo>
                  <a:pt x="213035" y="21811"/>
                </a:lnTo>
                <a:lnTo>
                  <a:pt x="212929" y="21811"/>
                </a:lnTo>
                <a:lnTo>
                  <a:pt x="212824" y="21705"/>
                </a:lnTo>
                <a:lnTo>
                  <a:pt x="212824" y="21652"/>
                </a:lnTo>
                <a:lnTo>
                  <a:pt x="212824" y="21546"/>
                </a:lnTo>
                <a:lnTo>
                  <a:pt x="212824" y="21441"/>
                </a:lnTo>
                <a:lnTo>
                  <a:pt x="212771" y="21388"/>
                </a:lnTo>
                <a:lnTo>
                  <a:pt x="212560" y="21388"/>
                </a:lnTo>
                <a:lnTo>
                  <a:pt x="212560" y="21335"/>
                </a:lnTo>
                <a:lnTo>
                  <a:pt x="212560" y="21282"/>
                </a:lnTo>
                <a:lnTo>
                  <a:pt x="212560" y="21230"/>
                </a:lnTo>
                <a:lnTo>
                  <a:pt x="212560" y="21177"/>
                </a:lnTo>
                <a:lnTo>
                  <a:pt x="212454" y="20966"/>
                </a:lnTo>
                <a:lnTo>
                  <a:pt x="212137" y="20913"/>
                </a:lnTo>
                <a:lnTo>
                  <a:pt x="212032" y="20702"/>
                </a:lnTo>
                <a:lnTo>
                  <a:pt x="212084" y="20649"/>
                </a:lnTo>
                <a:lnTo>
                  <a:pt x="212190" y="20649"/>
                </a:lnTo>
                <a:lnTo>
                  <a:pt x="212243" y="20702"/>
                </a:lnTo>
                <a:lnTo>
                  <a:pt x="212084" y="20490"/>
                </a:lnTo>
                <a:lnTo>
                  <a:pt x="212032" y="20437"/>
                </a:lnTo>
                <a:lnTo>
                  <a:pt x="211926" y="20490"/>
                </a:lnTo>
                <a:lnTo>
                  <a:pt x="211873" y="20596"/>
                </a:lnTo>
                <a:lnTo>
                  <a:pt x="211820" y="20649"/>
                </a:lnTo>
                <a:lnTo>
                  <a:pt x="211715" y="20649"/>
                </a:lnTo>
                <a:lnTo>
                  <a:pt x="211662" y="20596"/>
                </a:lnTo>
                <a:lnTo>
                  <a:pt x="211715" y="20173"/>
                </a:lnTo>
                <a:lnTo>
                  <a:pt x="211715" y="20068"/>
                </a:lnTo>
                <a:lnTo>
                  <a:pt x="211504" y="19962"/>
                </a:lnTo>
                <a:lnTo>
                  <a:pt x="210395" y="19223"/>
                </a:lnTo>
                <a:lnTo>
                  <a:pt x="210183" y="19170"/>
                </a:lnTo>
                <a:lnTo>
                  <a:pt x="210183" y="19276"/>
                </a:lnTo>
                <a:lnTo>
                  <a:pt x="210078" y="19328"/>
                </a:lnTo>
                <a:lnTo>
                  <a:pt x="209972" y="19381"/>
                </a:lnTo>
                <a:lnTo>
                  <a:pt x="209919" y="19381"/>
                </a:lnTo>
                <a:lnTo>
                  <a:pt x="209866" y="19276"/>
                </a:lnTo>
                <a:lnTo>
                  <a:pt x="209761" y="19064"/>
                </a:lnTo>
                <a:lnTo>
                  <a:pt x="209761" y="19012"/>
                </a:lnTo>
                <a:lnTo>
                  <a:pt x="209655" y="18959"/>
                </a:lnTo>
                <a:lnTo>
                  <a:pt x="209286" y="19064"/>
                </a:lnTo>
                <a:lnTo>
                  <a:pt x="209233" y="19012"/>
                </a:lnTo>
                <a:lnTo>
                  <a:pt x="209180" y="18959"/>
                </a:lnTo>
                <a:lnTo>
                  <a:pt x="209127" y="18853"/>
                </a:lnTo>
                <a:lnTo>
                  <a:pt x="209074" y="18800"/>
                </a:lnTo>
                <a:lnTo>
                  <a:pt x="208757" y="18589"/>
                </a:lnTo>
                <a:lnTo>
                  <a:pt x="208546" y="18589"/>
                </a:lnTo>
                <a:lnTo>
                  <a:pt x="208441" y="18642"/>
                </a:lnTo>
                <a:lnTo>
                  <a:pt x="208388" y="18906"/>
                </a:lnTo>
                <a:lnTo>
                  <a:pt x="208388" y="19170"/>
                </a:lnTo>
                <a:lnTo>
                  <a:pt x="208441" y="19381"/>
                </a:lnTo>
                <a:lnTo>
                  <a:pt x="208493" y="19540"/>
                </a:lnTo>
                <a:lnTo>
                  <a:pt x="208388" y="19645"/>
                </a:lnTo>
                <a:lnTo>
                  <a:pt x="208335" y="19487"/>
                </a:lnTo>
                <a:lnTo>
                  <a:pt x="208176" y="18800"/>
                </a:lnTo>
                <a:lnTo>
                  <a:pt x="208176" y="18748"/>
                </a:lnTo>
                <a:lnTo>
                  <a:pt x="207437" y="18906"/>
                </a:lnTo>
                <a:lnTo>
                  <a:pt x="207332" y="18800"/>
                </a:lnTo>
                <a:lnTo>
                  <a:pt x="207279" y="18536"/>
                </a:lnTo>
                <a:lnTo>
                  <a:pt x="207279" y="18483"/>
                </a:lnTo>
                <a:lnTo>
                  <a:pt x="207226" y="18536"/>
                </a:lnTo>
                <a:lnTo>
                  <a:pt x="207226" y="18642"/>
                </a:lnTo>
                <a:lnTo>
                  <a:pt x="207226" y="18748"/>
                </a:lnTo>
                <a:lnTo>
                  <a:pt x="207226" y="18853"/>
                </a:lnTo>
                <a:lnTo>
                  <a:pt x="207173" y="18906"/>
                </a:lnTo>
                <a:lnTo>
                  <a:pt x="206698" y="18959"/>
                </a:lnTo>
                <a:lnTo>
                  <a:pt x="206592" y="18959"/>
                </a:lnTo>
                <a:lnTo>
                  <a:pt x="206381" y="18748"/>
                </a:lnTo>
                <a:lnTo>
                  <a:pt x="206223" y="18748"/>
                </a:lnTo>
                <a:lnTo>
                  <a:pt x="205958" y="18959"/>
                </a:lnTo>
                <a:lnTo>
                  <a:pt x="205853" y="19012"/>
                </a:lnTo>
                <a:lnTo>
                  <a:pt x="205694" y="18959"/>
                </a:lnTo>
                <a:lnTo>
                  <a:pt x="205589" y="18959"/>
                </a:lnTo>
                <a:lnTo>
                  <a:pt x="205536" y="19064"/>
                </a:lnTo>
                <a:lnTo>
                  <a:pt x="205536" y="19223"/>
                </a:lnTo>
                <a:lnTo>
                  <a:pt x="205483" y="19223"/>
                </a:lnTo>
                <a:lnTo>
                  <a:pt x="205325" y="19170"/>
                </a:lnTo>
                <a:lnTo>
                  <a:pt x="205219" y="19170"/>
                </a:lnTo>
                <a:lnTo>
                  <a:pt x="205114" y="19012"/>
                </a:lnTo>
                <a:lnTo>
                  <a:pt x="205061" y="18959"/>
                </a:lnTo>
                <a:lnTo>
                  <a:pt x="204797" y="19064"/>
                </a:lnTo>
                <a:lnTo>
                  <a:pt x="204797" y="19223"/>
                </a:lnTo>
                <a:lnTo>
                  <a:pt x="204849" y="19328"/>
                </a:lnTo>
                <a:lnTo>
                  <a:pt x="205008" y="19540"/>
                </a:lnTo>
                <a:lnTo>
                  <a:pt x="204902" y="20015"/>
                </a:lnTo>
                <a:lnTo>
                  <a:pt x="204797" y="20279"/>
                </a:lnTo>
                <a:lnTo>
                  <a:pt x="204744" y="20385"/>
                </a:lnTo>
                <a:lnTo>
                  <a:pt x="204744" y="20121"/>
                </a:lnTo>
                <a:lnTo>
                  <a:pt x="204744" y="20015"/>
                </a:lnTo>
                <a:lnTo>
                  <a:pt x="204744" y="19909"/>
                </a:lnTo>
                <a:lnTo>
                  <a:pt x="204744" y="19751"/>
                </a:lnTo>
                <a:lnTo>
                  <a:pt x="204744" y="19645"/>
                </a:lnTo>
                <a:lnTo>
                  <a:pt x="204691" y="19487"/>
                </a:lnTo>
                <a:lnTo>
                  <a:pt x="204585" y="19328"/>
                </a:lnTo>
                <a:lnTo>
                  <a:pt x="204427" y="19276"/>
                </a:lnTo>
                <a:lnTo>
                  <a:pt x="204374" y="19381"/>
                </a:lnTo>
                <a:lnTo>
                  <a:pt x="204321" y="19593"/>
                </a:lnTo>
                <a:lnTo>
                  <a:pt x="204163" y="19645"/>
                </a:lnTo>
                <a:lnTo>
                  <a:pt x="203212" y="19645"/>
                </a:lnTo>
                <a:lnTo>
                  <a:pt x="202631" y="19962"/>
                </a:lnTo>
                <a:lnTo>
                  <a:pt x="202367" y="20385"/>
                </a:lnTo>
                <a:lnTo>
                  <a:pt x="202262" y="20490"/>
                </a:lnTo>
                <a:lnTo>
                  <a:pt x="201734" y="20596"/>
                </a:lnTo>
                <a:lnTo>
                  <a:pt x="201153" y="20437"/>
                </a:lnTo>
                <a:lnTo>
                  <a:pt x="200942" y="20279"/>
                </a:lnTo>
                <a:lnTo>
                  <a:pt x="200836" y="20279"/>
                </a:lnTo>
                <a:lnTo>
                  <a:pt x="200625" y="20543"/>
                </a:lnTo>
                <a:lnTo>
                  <a:pt x="199568" y="20173"/>
                </a:lnTo>
                <a:lnTo>
                  <a:pt x="199040" y="20332"/>
                </a:lnTo>
                <a:lnTo>
                  <a:pt x="198882" y="20226"/>
                </a:lnTo>
                <a:lnTo>
                  <a:pt x="199199" y="19804"/>
                </a:lnTo>
                <a:lnTo>
                  <a:pt x="199304" y="19698"/>
                </a:lnTo>
                <a:lnTo>
                  <a:pt x="199304" y="19593"/>
                </a:lnTo>
                <a:lnTo>
                  <a:pt x="198724" y="19804"/>
                </a:lnTo>
                <a:lnTo>
                  <a:pt x="198565" y="19751"/>
                </a:lnTo>
                <a:lnTo>
                  <a:pt x="198301" y="19540"/>
                </a:lnTo>
                <a:lnTo>
                  <a:pt x="198143" y="19487"/>
                </a:lnTo>
                <a:lnTo>
                  <a:pt x="198090" y="19434"/>
                </a:lnTo>
                <a:lnTo>
                  <a:pt x="197931" y="19012"/>
                </a:lnTo>
                <a:lnTo>
                  <a:pt x="197879" y="18906"/>
                </a:lnTo>
                <a:lnTo>
                  <a:pt x="197667" y="18906"/>
                </a:lnTo>
                <a:lnTo>
                  <a:pt x="197615" y="19012"/>
                </a:lnTo>
                <a:lnTo>
                  <a:pt x="197562" y="19117"/>
                </a:lnTo>
                <a:lnTo>
                  <a:pt x="197509" y="19170"/>
                </a:lnTo>
                <a:lnTo>
                  <a:pt x="197403" y="19170"/>
                </a:lnTo>
                <a:lnTo>
                  <a:pt x="197509" y="19064"/>
                </a:lnTo>
                <a:lnTo>
                  <a:pt x="197403" y="18959"/>
                </a:lnTo>
                <a:lnTo>
                  <a:pt x="197245" y="18800"/>
                </a:lnTo>
                <a:lnTo>
                  <a:pt x="196928" y="18483"/>
                </a:lnTo>
                <a:lnTo>
                  <a:pt x="196664" y="18325"/>
                </a:lnTo>
                <a:lnTo>
                  <a:pt x="196347" y="17850"/>
                </a:lnTo>
                <a:lnTo>
                  <a:pt x="196189" y="17850"/>
                </a:lnTo>
                <a:lnTo>
                  <a:pt x="196241" y="18114"/>
                </a:lnTo>
                <a:lnTo>
                  <a:pt x="196136" y="18114"/>
                </a:lnTo>
                <a:lnTo>
                  <a:pt x="195977" y="17903"/>
                </a:lnTo>
                <a:lnTo>
                  <a:pt x="195925" y="17903"/>
                </a:lnTo>
                <a:lnTo>
                  <a:pt x="195766" y="18061"/>
                </a:lnTo>
                <a:lnTo>
                  <a:pt x="195713" y="18114"/>
                </a:lnTo>
                <a:lnTo>
                  <a:pt x="195238" y="18114"/>
                </a:lnTo>
                <a:lnTo>
                  <a:pt x="194552" y="17691"/>
                </a:lnTo>
                <a:lnTo>
                  <a:pt x="193548" y="17744"/>
                </a:lnTo>
                <a:lnTo>
                  <a:pt x="192122" y="17586"/>
                </a:lnTo>
                <a:lnTo>
                  <a:pt x="191436" y="17586"/>
                </a:lnTo>
                <a:lnTo>
                  <a:pt x="191436" y="17797"/>
                </a:lnTo>
                <a:lnTo>
                  <a:pt x="190327" y="17903"/>
                </a:lnTo>
                <a:lnTo>
                  <a:pt x="189957" y="17797"/>
                </a:lnTo>
                <a:lnTo>
                  <a:pt x="189904" y="17691"/>
                </a:lnTo>
                <a:lnTo>
                  <a:pt x="189904" y="17639"/>
                </a:lnTo>
                <a:lnTo>
                  <a:pt x="189851" y="17744"/>
                </a:lnTo>
                <a:lnTo>
                  <a:pt x="189007" y="17427"/>
                </a:lnTo>
                <a:lnTo>
                  <a:pt x="187792" y="17269"/>
                </a:lnTo>
                <a:lnTo>
                  <a:pt x="187264" y="17058"/>
                </a:lnTo>
                <a:lnTo>
                  <a:pt x="187158" y="16952"/>
                </a:lnTo>
                <a:lnTo>
                  <a:pt x="187211" y="16899"/>
                </a:lnTo>
                <a:lnTo>
                  <a:pt x="187211" y="16794"/>
                </a:lnTo>
                <a:lnTo>
                  <a:pt x="187264" y="16688"/>
                </a:lnTo>
                <a:lnTo>
                  <a:pt x="187211" y="16582"/>
                </a:lnTo>
                <a:lnTo>
                  <a:pt x="187158" y="16530"/>
                </a:lnTo>
                <a:lnTo>
                  <a:pt x="187105" y="16530"/>
                </a:lnTo>
                <a:lnTo>
                  <a:pt x="187105" y="16318"/>
                </a:lnTo>
                <a:lnTo>
                  <a:pt x="187105" y="16265"/>
                </a:lnTo>
                <a:lnTo>
                  <a:pt x="187158" y="16213"/>
                </a:lnTo>
                <a:lnTo>
                  <a:pt x="187053" y="16054"/>
                </a:lnTo>
                <a:lnTo>
                  <a:pt x="186947" y="16001"/>
                </a:lnTo>
                <a:lnTo>
                  <a:pt x="186841" y="15949"/>
                </a:lnTo>
                <a:lnTo>
                  <a:pt x="186736" y="15949"/>
                </a:lnTo>
                <a:lnTo>
                  <a:pt x="186419" y="16107"/>
                </a:lnTo>
                <a:lnTo>
                  <a:pt x="186313" y="16054"/>
                </a:lnTo>
                <a:lnTo>
                  <a:pt x="186313" y="15949"/>
                </a:lnTo>
                <a:lnTo>
                  <a:pt x="186260" y="15843"/>
                </a:lnTo>
                <a:lnTo>
                  <a:pt x="186155" y="15843"/>
                </a:lnTo>
                <a:lnTo>
                  <a:pt x="186102" y="15896"/>
                </a:lnTo>
                <a:lnTo>
                  <a:pt x="185944" y="15896"/>
                </a:lnTo>
                <a:lnTo>
                  <a:pt x="185891" y="15790"/>
                </a:lnTo>
                <a:lnTo>
                  <a:pt x="185627" y="15421"/>
                </a:lnTo>
                <a:lnTo>
                  <a:pt x="185521" y="15262"/>
                </a:lnTo>
                <a:lnTo>
                  <a:pt x="185151" y="15262"/>
                </a:lnTo>
                <a:lnTo>
                  <a:pt x="184993" y="15315"/>
                </a:lnTo>
                <a:lnTo>
                  <a:pt x="184570" y="15843"/>
                </a:lnTo>
                <a:lnTo>
                  <a:pt x="184412" y="15896"/>
                </a:lnTo>
                <a:lnTo>
                  <a:pt x="183778" y="15843"/>
                </a:lnTo>
                <a:lnTo>
                  <a:pt x="183831" y="15526"/>
                </a:lnTo>
                <a:lnTo>
                  <a:pt x="183831" y="15262"/>
                </a:lnTo>
                <a:lnTo>
                  <a:pt x="183778" y="15104"/>
                </a:lnTo>
                <a:lnTo>
                  <a:pt x="183620" y="14892"/>
                </a:lnTo>
                <a:lnTo>
                  <a:pt x="183461" y="14734"/>
                </a:lnTo>
                <a:lnTo>
                  <a:pt x="183197" y="14681"/>
                </a:lnTo>
                <a:lnTo>
                  <a:pt x="183145" y="14628"/>
                </a:lnTo>
                <a:lnTo>
                  <a:pt x="182986" y="14417"/>
                </a:lnTo>
                <a:lnTo>
                  <a:pt x="182828" y="14364"/>
                </a:lnTo>
                <a:lnTo>
                  <a:pt x="182458" y="14470"/>
                </a:lnTo>
                <a:lnTo>
                  <a:pt x="182300" y="14417"/>
                </a:lnTo>
                <a:lnTo>
                  <a:pt x="181930" y="14100"/>
                </a:lnTo>
                <a:lnTo>
                  <a:pt x="181877" y="14100"/>
                </a:lnTo>
                <a:lnTo>
                  <a:pt x="181719" y="14259"/>
                </a:lnTo>
                <a:lnTo>
                  <a:pt x="181666" y="14259"/>
                </a:lnTo>
                <a:lnTo>
                  <a:pt x="181613" y="14206"/>
                </a:lnTo>
                <a:lnTo>
                  <a:pt x="181613" y="14100"/>
                </a:lnTo>
                <a:lnTo>
                  <a:pt x="181560" y="13995"/>
                </a:lnTo>
                <a:lnTo>
                  <a:pt x="181455" y="13836"/>
                </a:lnTo>
                <a:lnTo>
                  <a:pt x="181296" y="13731"/>
                </a:lnTo>
                <a:lnTo>
                  <a:pt x="179870" y="13097"/>
                </a:lnTo>
                <a:lnTo>
                  <a:pt x="179765" y="13202"/>
                </a:lnTo>
                <a:lnTo>
                  <a:pt x="179870" y="13308"/>
                </a:lnTo>
                <a:lnTo>
                  <a:pt x="179712" y="13414"/>
                </a:lnTo>
                <a:lnTo>
                  <a:pt x="179184" y="13308"/>
                </a:lnTo>
                <a:lnTo>
                  <a:pt x="179237" y="13308"/>
                </a:lnTo>
                <a:lnTo>
                  <a:pt x="179237" y="13255"/>
                </a:lnTo>
                <a:lnTo>
                  <a:pt x="179237" y="13202"/>
                </a:lnTo>
                <a:lnTo>
                  <a:pt x="179237" y="13097"/>
                </a:lnTo>
                <a:lnTo>
                  <a:pt x="179131" y="12938"/>
                </a:lnTo>
                <a:lnTo>
                  <a:pt x="179025" y="12938"/>
                </a:lnTo>
                <a:lnTo>
                  <a:pt x="178761" y="13097"/>
                </a:lnTo>
                <a:lnTo>
                  <a:pt x="178022" y="13097"/>
                </a:lnTo>
                <a:lnTo>
                  <a:pt x="177705" y="13308"/>
                </a:lnTo>
                <a:lnTo>
                  <a:pt x="177600" y="13308"/>
                </a:lnTo>
                <a:lnTo>
                  <a:pt x="177336" y="13097"/>
                </a:lnTo>
                <a:lnTo>
                  <a:pt x="177230" y="13097"/>
                </a:lnTo>
                <a:lnTo>
                  <a:pt x="176121" y="14047"/>
                </a:lnTo>
                <a:lnTo>
                  <a:pt x="175487" y="14047"/>
                </a:lnTo>
                <a:lnTo>
                  <a:pt x="174853" y="14417"/>
                </a:lnTo>
                <a:lnTo>
                  <a:pt x="174695" y="14417"/>
                </a:lnTo>
                <a:lnTo>
                  <a:pt x="174695" y="14312"/>
                </a:lnTo>
                <a:lnTo>
                  <a:pt x="174906" y="13678"/>
                </a:lnTo>
                <a:lnTo>
                  <a:pt x="174959" y="13519"/>
                </a:lnTo>
                <a:lnTo>
                  <a:pt x="174906" y="13255"/>
                </a:lnTo>
                <a:lnTo>
                  <a:pt x="174695" y="13308"/>
                </a:lnTo>
                <a:lnTo>
                  <a:pt x="174484" y="13519"/>
                </a:lnTo>
                <a:lnTo>
                  <a:pt x="174325" y="13519"/>
                </a:lnTo>
                <a:lnTo>
                  <a:pt x="174273" y="13414"/>
                </a:lnTo>
                <a:lnTo>
                  <a:pt x="174273" y="13308"/>
                </a:lnTo>
                <a:lnTo>
                  <a:pt x="174273" y="13150"/>
                </a:lnTo>
                <a:lnTo>
                  <a:pt x="174220" y="13044"/>
                </a:lnTo>
                <a:lnTo>
                  <a:pt x="174167" y="13044"/>
                </a:lnTo>
                <a:lnTo>
                  <a:pt x="174061" y="13150"/>
                </a:lnTo>
                <a:lnTo>
                  <a:pt x="173956" y="13150"/>
                </a:lnTo>
                <a:lnTo>
                  <a:pt x="173850" y="13097"/>
                </a:lnTo>
                <a:lnTo>
                  <a:pt x="173797" y="13097"/>
                </a:lnTo>
                <a:lnTo>
                  <a:pt x="172952" y="13202"/>
                </a:lnTo>
                <a:lnTo>
                  <a:pt x="172952" y="13361"/>
                </a:lnTo>
                <a:lnTo>
                  <a:pt x="173005" y="13467"/>
                </a:lnTo>
                <a:lnTo>
                  <a:pt x="173164" y="13572"/>
                </a:lnTo>
                <a:lnTo>
                  <a:pt x="173058" y="13625"/>
                </a:lnTo>
                <a:lnTo>
                  <a:pt x="172847" y="13519"/>
                </a:lnTo>
                <a:lnTo>
                  <a:pt x="172741" y="13519"/>
                </a:lnTo>
                <a:lnTo>
                  <a:pt x="172635" y="13625"/>
                </a:lnTo>
                <a:lnTo>
                  <a:pt x="172635" y="13678"/>
                </a:lnTo>
                <a:lnTo>
                  <a:pt x="172213" y="13678"/>
                </a:lnTo>
                <a:lnTo>
                  <a:pt x="172160" y="13731"/>
                </a:lnTo>
                <a:lnTo>
                  <a:pt x="172107" y="13836"/>
                </a:lnTo>
                <a:lnTo>
                  <a:pt x="172107" y="13889"/>
                </a:lnTo>
                <a:lnTo>
                  <a:pt x="171157" y="13995"/>
                </a:lnTo>
                <a:lnTo>
                  <a:pt x="171051" y="14100"/>
                </a:lnTo>
                <a:lnTo>
                  <a:pt x="171051" y="14364"/>
                </a:lnTo>
                <a:lnTo>
                  <a:pt x="171051" y="14628"/>
                </a:lnTo>
                <a:lnTo>
                  <a:pt x="171157" y="14840"/>
                </a:lnTo>
                <a:lnTo>
                  <a:pt x="171157" y="14945"/>
                </a:lnTo>
                <a:lnTo>
                  <a:pt x="170946" y="14998"/>
                </a:lnTo>
                <a:lnTo>
                  <a:pt x="170840" y="14945"/>
                </a:lnTo>
                <a:lnTo>
                  <a:pt x="170681" y="14681"/>
                </a:lnTo>
                <a:lnTo>
                  <a:pt x="170523" y="14523"/>
                </a:lnTo>
                <a:lnTo>
                  <a:pt x="170470" y="14417"/>
                </a:lnTo>
                <a:lnTo>
                  <a:pt x="170365" y="14312"/>
                </a:lnTo>
                <a:lnTo>
                  <a:pt x="170101" y="14312"/>
                </a:lnTo>
                <a:lnTo>
                  <a:pt x="169889" y="14100"/>
                </a:lnTo>
                <a:lnTo>
                  <a:pt x="168569" y="14153"/>
                </a:lnTo>
                <a:lnTo>
                  <a:pt x="167407" y="13995"/>
                </a:lnTo>
                <a:lnTo>
                  <a:pt x="167566" y="13519"/>
                </a:lnTo>
                <a:lnTo>
                  <a:pt x="167830" y="13361"/>
                </a:lnTo>
                <a:lnTo>
                  <a:pt x="168305" y="13202"/>
                </a:lnTo>
                <a:lnTo>
                  <a:pt x="168041" y="13097"/>
                </a:lnTo>
                <a:lnTo>
                  <a:pt x="167935" y="12991"/>
                </a:lnTo>
                <a:lnTo>
                  <a:pt x="168041" y="12938"/>
                </a:lnTo>
                <a:lnTo>
                  <a:pt x="168252" y="12991"/>
                </a:lnTo>
                <a:lnTo>
                  <a:pt x="168305" y="12886"/>
                </a:lnTo>
                <a:lnTo>
                  <a:pt x="168358" y="12569"/>
                </a:lnTo>
                <a:lnTo>
                  <a:pt x="168411" y="12463"/>
                </a:lnTo>
                <a:lnTo>
                  <a:pt x="168463" y="12410"/>
                </a:lnTo>
                <a:lnTo>
                  <a:pt x="168358" y="12305"/>
                </a:lnTo>
                <a:lnTo>
                  <a:pt x="167935" y="12410"/>
                </a:lnTo>
                <a:lnTo>
                  <a:pt x="167354" y="12199"/>
                </a:lnTo>
                <a:lnTo>
                  <a:pt x="165031" y="12410"/>
                </a:lnTo>
                <a:lnTo>
                  <a:pt x="164820" y="12569"/>
                </a:lnTo>
                <a:lnTo>
                  <a:pt x="164608" y="12569"/>
                </a:lnTo>
                <a:lnTo>
                  <a:pt x="164503" y="12410"/>
                </a:lnTo>
                <a:lnTo>
                  <a:pt x="164450" y="12410"/>
                </a:lnTo>
                <a:lnTo>
                  <a:pt x="164292" y="12463"/>
                </a:lnTo>
                <a:lnTo>
                  <a:pt x="164239" y="12410"/>
                </a:lnTo>
                <a:lnTo>
                  <a:pt x="164292" y="12199"/>
                </a:lnTo>
                <a:lnTo>
                  <a:pt x="164450" y="12093"/>
                </a:lnTo>
                <a:lnTo>
                  <a:pt x="164608" y="11988"/>
                </a:lnTo>
                <a:lnTo>
                  <a:pt x="164767" y="11935"/>
                </a:lnTo>
                <a:lnTo>
                  <a:pt x="165031" y="12093"/>
                </a:lnTo>
                <a:lnTo>
                  <a:pt x="165242" y="12041"/>
                </a:lnTo>
                <a:lnTo>
                  <a:pt x="166404" y="12093"/>
                </a:lnTo>
                <a:lnTo>
                  <a:pt x="166721" y="12199"/>
                </a:lnTo>
                <a:lnTo>
                  <a:pt x="166826" y="12146"/>
                </a:lnTo>
                <a:lnTo>
                  <a:pt x="166721" y="11829"/>
                </a:lnTo>
                <a:lnTo>
                  <a:pt x="166457" y="11777"/>
                </a:lnTo>
                <a:lnTo>
                  <a:pt x="165981" y="11829"/>
                </a:lnTo>
                <a:lnTo>
                  <a:pt x="165084" y="11460"/>
                </a:lnTo>
                <a:lnTo>
                  <a:pt x="164925" y="11249"/>
                </a:lnTo>
                <a:lnTo>
                  <a:pt x="164820" y="10932"/>
                </a:lnTo>
                <a:lnTo>
                  <a:pt x="164820" y="10562"/>
                </a:lnTo>
                <a:lnTo>
                  <a:pt x="164872" y="10404"/>
                </a:lnTo>
                <a:lnTo>
                  <a:pt x="164978" y="10298"/>
                </a:lnTo>
                <a:lnTo>
                  <a:pt x="165189" y="10245"/>
                </a:lnTo>
                <a:lnTo>
                  <a:pt x="165242" y="10192"/>
                </a:lnTo>
                <a:lnTo>
                  <a:pt x="165242" y="10087"/>
                </a:lnTo>
                <a:lnTo>
                  <a:pt x="165242" y="9928"/>
                </a:lnTo>
                <a:lnTo>
                  <a:pt x="165136" y="9875"/>
                </a:lnTo>
                <a:lnTo>
                  <a:pt x="165136" y="9770"/>
                </a:lnTo>
                <a:lnTo>
                  <a:pt x="165401" y="9717"/>
                </a:lnTo>
                <a:lnTo>
                  <a:pt x="165876" y="8978"/>
                </a:lnTo>
                <a:lnTo>
                  <a:pt x="166140" y="8766"/>
                </a:lnTo>
                <a:lnTo>
                  <a:pt x="166140" y="8714"/>
                </a:lnTo>
                <a:lnTo>
                  <a:pt x="165665" y="8133"/>
                </a:lnTo>
                <a:lnTo>
                  <a:pt x="164608" y="7710"/>
                </a:lnTo>
                <a:lnTo>
                  <a:pt x="163816" y="7657"/>
                </a:lnTo>
                <a:lnTo>
                  <a:pt x="163658" y="7816"/>
                </a:lnTo>
                <a:lnTo>
                  <a:pt x="163816" y="7816"/>
                </a:lnTo>
                <a:lnTo>
                  <a:pt x="163922" y="7869"/>
                </a:lnTo>
                <a:lnTo>
                  <a:pt x="164027" y="7974"/>
                </a:lnTo>
                <a:lnTo>
                  <a:pt x="164080" y="8291"/>
                </a:lnTo>
                <a:lnTo>
                  <a:pt x="163922" y="8661"/>
                </a:lnTo>
                <a:lnTo>
                  <a:pt x="163816" y="8661"/>
                </a:lnTo>
                <a:lnTo>
                  <a:pt x="163658" y="8344"/>
                </a:lnTo>
                <a:lnTo>
                  <a:pt x="163552" y="8133"/>
                </a:lnTo>
                <a:lnTo>
                  <a:pt x="163499" y="8027"/>
                </a:lnTo>
                <a:lnTo>
                  <a:pt x="163394" y="7816"/>
                </a:lnTo>
                <a:lnTo>
                  <a:pt x="163394" y="7763"/>
                </a:lnTo>
                <a:lnTo>
                  <a:pt x="163341" y="7710"/>
                </a:lnTo>
                <a:lnTo>
                  <a:pt x="163235" y="7710"/>
                </a:lnTo>
                <a:lnTo>
                  <a:pt x="163235" y="7816"/>
                </a:lnTo>
                <a:lnTo>
                  <a:pt x="163235" y="7921"/>
                </a:lnTo>
                <a:lnTo>
                  <a:pt x="163182" y="8080"/>
                </a:lnTo>
                <a:lnTo>
                  <a:pt x="163024" y="8080"/>
                </a:lnTo>
                <a:lnTo>
                  <a:pt x="162971" y="8027"/>
                </a:lnTo>
                <a:lnTo>
                  <a:pt x="162918" y="7921"/>
                </a:lnTo>
                <a:lnTo>
                  <a:pt x="162813" y="7816"/>
                </a:lnTo>
                <a:lnTo>
                  <a:pt x="162813" y="7605"/>
                </a:lnTo>
                <a:lnTo>
                  <a:pt x="162813" y="7446"/>
                </a:lnTo>
                <a:lnTo>
                  <a:pt x="162760" y="7393"/>
                </a:lnTo>
                <a:lnTo>
                  <a:pt x="162338" y="7288"/>
                </a:lnTo>
                <a:lnTo>
                  <a:pt x="162285" y="7341"/>
                </a:lnTo>
                <a:lnTo>
                  <a:pt x="162179" y="7446"/>
                </a:lnTo>
                <a:lnTo>
                  <a:pt x="162126" y="7446"/>
                </a:lnTo>
                <a:lnTo>
                  <a:pt x="162021" y="7393"/>
                </a:lnTo>
                <a:lnTo>
                  <a:pt x="161968" y="7393"/>
                </a:lnTo>
                <a:lnTo>
                  <a:pt x="161915" y="7341"/>
                </a:lnTo>
                <a:lnTo>
                  <a:pt x="161809" y="7182"/>
                </a:lnTo>
                <a:lnTo>
                  <a:pt x="161757" y="7129"/>
                </a:lnTo>
                <a:lnTo>
                  <a:pt x="161334" y="7024"/>
                </a:lnTo>
                <a:lnTo>
                  <a:pt x="161123" y="7077"/>
                </a:lnTo>
                <a:lnTo>
                  <a:pt x="160859" y="7499"/>
                </a:lnTo>
                <a:lnTo>
                  <a:pt x="160384" y="7499"/>
                </a:lnTo>
                <a:lnTo>
                  <a:pt x="160120" y="7710"/>
                </a:lnTo>
                <a:lnTo>
                  <a:pt x="158324" y="7552"/>
                </a:lnTo>
                <a:lnTo>
                  <a:pt x="158166" y="7605"/>
                </a:lnTo>
                <a:lnTo>
                  <a:pt x="158060" y="7763"/>
                </a:lnTo>
                <a:lnTo>
                  <a:pt x="157849" y="8291"/>
                </a:lnTo>
                <a:lnTo>
                  <a:pt x="157585" y="8450"/>
                </a:lnTo>
                <a:lnTo>
                  <a:pt x="157162" y="9083"/>
                </a:lnTo>
                <a:lnTo>
                  <a:pt x="157004" y="9189"/>
                </a:lnTo>
                <a:lnTo>
                  <a:pt x="156792" y="9295"/>
                </a:lnTo>
                <a:lnTo>
                  <a:pt x="156687" y="9295"/>
                </a:lnTo>
                <a:lnTo>
                  <a:pt x="156634" y="9242"/>
                </a:lnTo>
                <a:lnTo>
                  <a:pt x="156581" y="9136"/>
                </a:lnTo>
                <a:lnTo>
                  <a:pt x="156634" y="8978"/>
                </a:lnTo>
                <a:lnTo>
                  <a:pt x="156528" y="8714"/>
                </a:lnTo>
                <a:lnTo>
                  <a:pt x="156317" y="8502"/>
                </a:lnTo>
                <a:lnTo>
                  <a:pt x="156000" y="8397"/>
                </a:lnTo>
                <a:lnTo>
                  <a:pt x="155736" y="8397"/>
                </a:lnTo>
                <a:lnTo>
                  <a:pt x="155261" y="8608"/>
                </a:lnTo>
                <a:lnTo>
                  <a:pt x="154997" y="8608"/>
                </a:lnTo>
                <a:lnTo>
                  <a:pt x="154786" y="8502"/>
                </a:lnTo>
                <a:lnTo>
                  <a:pt x="154786" y="8186"/>
                </a:lnTo>
                <a:lnTo>
                  <a:pt x="154627" y="7921"/>
                </a:lnTo>
                <a:lnTo>
                  <a:pt x="154574" y="7816"/>
                </a:lnTo>
                <a:lnTo>
                  <a:pt x="154469" y="7710"/>
                </a:lnTo>
                <a:lnTo>
                  <a:pt x="153941" y="7763"/>
                </a:lnTo>
                <a:lnTo>
                  <a:pt x="154046" y="7552"/>
                </a:lnTo>
                <a:lnTo>
                  <a:pt x="154416" y="7446"/>
                </a:lnTo>
                <a:lnTo>
                  <a:pt x="154574" y="7288"/>
                </a:lnTo>
                <a:lnTo>
                  <a:pt x="154627" y="7235"/>
                </a:lnTo>
                <a:lnTo>
                  <a:pt x="154627" y="7129"/>
                </a:lnTo>
                <a:lnTo>
                  <a:pt x="154680" y="6918"/>
                </a:lnTo>
                <a:lnTo>
                  <a:pt x="154680" y="6812"/>
                </a:lnTo>
                <a:lnTo>
                  <a:pt x="154680" y="6654"/>
                </a:lnTo>
                <a:lnTo>
                  <a:pt x="154680" y="6548"/>
                </a:lnTo>
                <a:lnTo>
                  <a:pt x="154786" y="6443"/>
                </a:lnTo>
                <a:lnTo>
                  <a:pt x="154839" y="6337"/>
                </a:lnTo>
                <a:lnTo>
                  <a:pt x="154891" y="6179"/>
                </a:lnTo>
                <a:lnTo>
                  <a:pt x="154891" y="6073"/>
                </a:lnTo>
                <a:lnTo>
                  <a:pt x="154891" y="5862"/>
                </a:lnTo>
                <a:lnTo>
                  <a:pt x="154891" y="5756"/>
                </a:lnTo>
                <a:lnTo>
                  <a:pt x="154786" y="5598"/>
                </a:lnTo>
                <a:lnTo>
                  <a:pt x="154310" y="5281"/>
                </a:lnTo>
                <a:lnTo>
                  <a:pt x="154099" y="4859"/>
                </a:lnTo>
                <a:lnTo>
                  <a:pt x="153941" y="4700"/>
                </a:lnTo>
                <a:lnTo>
                  <a:pt x="153835" y="4594"/>
                </a:lnTo>
                <a:lnTo>
                  <a:pt x="153730" y="4647"/>
                </a:lnTo>
                <a:lnTo>
                  <a:pt x="153624" y="4753"/>
                </a:lnTo>
                <a:lnTo>
                  <a:pt x="153571" y="4647"/>
                </a:lnTo>
                <a:lnTo>
                  <a:pt x="153518" y="4489"/>
                </a:lnTo>
                <a:lnTo>
                  <a:pt x="153413" y="4383"/>
                </a:lnTo>
                <a:lnTo>
                  <a:pt x="153149" y="4330"/>
                </a:lnTo>
                <a:lnTo>
                  <a:pt x="153096" y="4330"/>
                </a:lnTo>
                <a:lnTo>
                  <a:pt x="152990" y="4383"/>
                </a:lnTo>
                <a:lnTo>
                  <a:pt x="152990" y="4436"/>
                </a:lnTo>
                <a:lnTo>
                  <a:pt x="152990" y="4647"/>
                </a:lnTo>
                <a:lnTo>
                  <a:pt x="152990" y="4806"/>
                </a:lnTo>
                <a:lnTo>
                  <a:pt x="152990" y="5070"/>
                </a:lnTo>
                <a:lnTo>
                  <a:pt x="152937" y="5545"/>
                </a:lnTo>
                <a:lnTo>
                  <a:pt x="152832" y="5756"/>
                </a:lnTo>
                <a:lnTo>
                  <a:pt x="152726" y="5862"/>
                </a:lnTo>
                <a:lnTo>
                  <a:pt x="152568" y="5756"/>
                </a:lnTo>
                <a:lnTo>
                  <a:pt x="152621" y="5545"/>
                </a:lnTo>
                <a:lnTo>
                  <a:pt x="152779" y="5334"/>
                </a:lnTo>
                <a:lnTo>
                  <a:pt x="152832" y="5228"/>
                </a:lnTo>
                <a:lnTo>
                  <a:pt x="152832" y="5123"/>
                </a:lnTo>
                <a:lnTo>
                  <a:pt x="152779" y="4806"/>
                </a:lnTo>
                <a:lnTo>
                  <a:pt x="152779" y="4594"/>
                </a:lnTo>
                <a:lnTo>
                  <a:pt x="152779" y="4436"/>
                </a:lnTo>
                <a:lnTo>
                  <a:pt x="152779" y="4278"/>
                </a:lnTo>
                <a:lnTo>
                  <a:pt x="152779" y="4172"/>
                </a:lnTo>
                <a:lnTo>
                  <a:pt x="152779" y="3961"/>
                </a:lnTo>
                <a:lnTo>
                  <a:pt x="152673" y="3855"/>
                </a:lnTo>
                <a:lnTo>
                  <a:pt x="152621" y="3855"/>
                </a:lnTo>
                <a:lnTo>
                  <a:pt x="152515" y="3908"/>
                </a:lnTo>
                <a:lnTo>
                  <a:pt x="152409" y="4014"/>
                </a:lnTo>
                <a:lnTo>
                  <a:pt x="152515" y="4172"/>
                </a:lnTo>
                <a:lnTo>
                  <a:pt x="152515" y="4330"/>
                </a:lnTo>
                <a:lnTo>
                  <a:pt x="152515" y="4542"/>
                </a:lnTo>
                <a:lnTo>
                  <a:pt x="152515" y="4859"/>
                </a:lnTo>
                <a:lnTo>
                  <a:pt x="152409" y="4753"/>
                </a:lnTo>
                <a:lnTo>
                  <a:pt x="152198" y="4330"/>
                </a:lnTo>
                <a:lnTo>
                  <a:pt x="152092" y="4225"/>
                </a:lnTo>
                <a:lnTo>
                  <a:pt x="151987" y="4278"/>
                </a:lnTo>
                <a:lnTo>
                  <a:pt x="151723" y="4647"/>
                </a:lnTo>
                <a:lnTo>
                  <a:pt x="151617" y="4859"/>
                </a:lnTo>
                <a:lnTo>
                  <a:pt x="151723" y="5017"/>
                </a:lnTo>
                <a:lnTo>
                  <a:pt x="151934" y="5281"/>
                </a:lnTo>
                <a:lnTo>
                  <a:pt x="152040" y="5492"/>
                </a:lnTo>
                <a:lnTo>
                  <a:pt x="152092" y="5756"/>
                </a:lnTo>
                <a:lnTo>
                  <a:pt x="152092" y="5968"/>
                </a:lnTo>
                <a:lnTo>
                  <a:pt x="152040" y="6179"/>
                </a:lnTo>
                <a:lnTo>
                  <a:pt x="151934" y="6232"/>
                </a:lnTo>
                <a:lnTo>
                  <a:pt x="151828" y="6126"/>
                </a:lnTo>
                <a:lnTo>
                  <a:pt x="151670" y="5703"/>
                </a:lnTo>
                <a:lnTo>
                  <a:pt x="151564" y="5651"/>
                </a:lnTo>
                <a:lnTo>
                  <a:pt x="151512" y="5651"/>
                </a:lnTo>
                <a:lnTo>
                  <a:pt x="151406" y="5862"/>
                </a:lnTo>
                <a:lnTo>
                  <a:pt x="151353" y="5915"/>
                </a:lnTo>
                <a:lnTo>
                  <a:pt x="151142" y="6020"/>
                </a:lnTo>
                <a:lnTo>
                  <a:pt x="151036" y="6126"/>
                </a:lnTo>
                <a:lnTo>
                  <a:pt x="150772" y="6654"/>
                </a:lnTo>
                <a:lnTo>
                  <a:pt x="150508" y="6760"/>
                </a:lnTo>
                <a:lnTo>
                  <a:pt x="150455" y="6918"/>
                </a:lnTo>
                <a:lnTo>
                  <a:pt x="150455" y="7182"/>
                </a:lnTo>
                <a:lnTo>
                  <a:pt x="150455" y="7446"/>
                </a:lnTo>
                <a:lnTo>
                  <a:pt x="150455" y="7763"/>
                </a:lnTo>
                <a:lnTo>
                  <a:pt x="150455" y="7869"/>
                </a:lnTo>
                <a:lnTo>
                  <a:pt x="150403" y="8027"/>
                </a:lnTo>
                <a:lnTo>
                  <a:pt x="150244" y="8291"/>
                </a:lnTo>
                <a:lnTo>
                  <a:pt x="150138" y="8291"/>
                </a:lnTo>
                <a:lnTo>
                  <a:pt x="149927" y="7974"/>
                </a:lnTo>
                <a:lnTo>
                  <a:pt x="149822" y="7974"/>
                </a:lnTo>
                <a:lnTo>
                  <a:pt x="149822" y="8080"/>
                </a:lnTo>
                <a:lnTo>
                  <a:pt x="149822" y="8238"/>
                </a:lnTo>
                <a:lnTo>
                  <a:pt x="149822" y="8344"/>
                </a:lnTo>
                <a:lnTo>
                  <a:pt x="149822" y="8397"/>
                </a:lnTo>
                <a:lnTo>
                  <a:pt x="149822" y="8450"/>
                </a:lnTo>
                <a:lnTo>
                  <a:pt x="149822" y="8555"/>
                </a:lnTo>
                <a:lnTo>
                  <a:pt x="149769" y="8608"/>
                </a:lnTo>
                <a:lnTo>
                  <a:pt x="149663" y="8344"/>
                </a:lnTo>
                <a:lnTo>
                  <a:pt x="149505" y="8291"/>
                </a:lnTo>
                <a:lnTo>
                  <a:pt x="149346" y="8291"/>
                </a:lnTo>
                <a:lnTo>
                  <a:pt x="149241" y="8397"/>
                </a:lnTo>
                <a:lnTo>
                  <a:pt x="149082" y="8502"/>
                </a:lnTo>
                <a:lnTo>
                  <a:pt x="148713" y="8397"/>
                </a:lnTo>
                <a:lnTo>
                  <a:pt x="148554" y="8555"/>
                </a:lnTo>
                <a:lnTo>
                  <a:pt x="148501" y="8766"/>
                </a:lnTo>
                <a:lnTo>
                  <a:pt x="148501" y="8925"/>
                </a:lnTo>
                <a:lnTo>
                  <a:pt x="148554" y="9083"/>
                </a:lnTo>
                <a:lnTo>
                  <a:pt x="148660" y="9136"/>
                </a:lnTo>
                <a:lnTo>
                  <a:pt x="148607" y="9347"/>
                </a:lnTo>
                <a:lnTo>
                  <a:pt x="148501" y="9400"/>
                </a:lnTo>
                <a:lnTo>
                  <a:pt x="148237" y="9506"/>
                </a:lnTo>
                <a:lnTo>
                  <a:pt x="148237" y="9400"/>
                </a:lnTo>
                <a:lnTo>
                  <a:pt x="148290" y="9242"/>
                </a:lnTo>
                <a:lnTo>
                  <a:pt x="148290" y="9031"/>
                </a:lnTo>
                <a:lnTo>
                  <a:pt x="148290" y="8925"/>
                </a:lnTo>
                <a:lnTo>
                  <a:pt x="148237" y="8714"/>
                </a:lnTo>
                <a:lnTo>
                  <a:pt x="148237" y="8608"/>
                </a:lnTo>
                <a:lnTo>
                  <a:pt x="148237" y="8397"/>
                </a:lnTo>
                <a:lnTo>
                  <a:pt x="148343" y="8344"/>
                </a:lnTo>
                <a:lnTo>
                  <a:pt x="148396" y="8291"/>
                </a:lnTo>
                <a:lnTo>
                  <a:pt x="148449" y="8186"/>
                </a:lnTo>
                <a:lnTo>
                  <a:pt x="148396" y="8027"/>
                </a:lnTo>
                <a:lnTo>
                  <a:pt x="148237" y="7869"/>
                </a:lnTo>
                <a:lnTo>
                  <a:pt x="148184" y="7710"/>
                </a:lnTo>
                <a:lnTo>
                  <a:pt x="148237" y="7605"/>
                </a:lnTo>
                <a:lnTo>
                  <a:pt x="148132" y="7393"/>
                </a:lnTo>
                <a:lnTo>
                  <a:pt x="147868" y="7499"/>
                </a:lnTo>
                <a:lnTo>
                  <a:pt x="147709" y="7393"/>
                </a:lnTo>
                <a:lnTo>
                  <a:pt x="147868" y="7288"/>
                </a:lnTo>
                <a:lnTo>
                  <a:pt x="147920" y="7182"/>
                </a:lnTo>
                <a:lnTo>
                  <a:pt x="147762" y="7129"/>
                </a:lnTo>
                <a:lnTo>
                  <a:pt x="147445" y="7235"/>
                </a:lnTo>
                <a:lnTo>
                  <a:pt x="147287" y="7235"/>
                </a:lnTo>
                <a:lnTo>
                  <a:pt x="147498" y="7077"/>
                </a:lnTo>
                <a:lnTo>
                  <a:pt x="147920" y="7129"/>
                </a:lnTo>
                <a:lnTo>
                  <a:pt x="148132" y="6918"/>
                </a:lnTo>
                <a:lnTo>
                  <a:pt x="148026" y="6707"/>
                </a:lnTo>
                <a:lnTo>
                  <a:pt x="147920" y="6654"/>
                </a:lnTo>
                <a:lnTo>
                  <a:pt x="147815" y="6654"/>
                </a:lnTo>
                <a:lnTo>
                  <a:pt x="147656" y="6548"/>
                </a:lnTo>
                <a:lnTo>
                  <a:pt x="147709" y="6548"/>
                </a:lnTo>
                <a:lnTo>
                  <a:pt x="147815" y="6496"/>
                </a:lnTo>
                <a:lnTo>
                  <a:pt x="148977" y="6337"/>
                </a:lnTo>
                <a:lnTo>
                  <a:pt x="149029" y="6337"/>
                </a:lnTo>
                <a:lnTo>
                  <a:pt x="149029" y="6179"/>
                </a:lnTo>
                <a:lnTo>
                  <a:pt x="149082" y="6179"/>
                </a:lnTo>
                <a:lnTo>
                  <a:pt x="149293" y="6126"/>
                </a:lnTo>
                <a:lnTo>
                  <a:pt x="149399" y="6073"/>
                </a:lnTo>
                <a:lnTo>
                  <a:pt x="149452" y="5968"/>
                </a:lnTo>
                <a:lnTo>
                  <a:pt x="149452" y="5703"/>
                </a:lnTo>
                <a:lnTo>
                  <a:pt x="149452" y="5651"/>
                </a:lnTo>
                <a:lnTo>
                  <a:pt x="149505" y="5598"/>
                </a:lnTo>
                <a:lnTo>
                  <a:pt x="149610" y="5598"/>
                </a:lnTo>
                <a:lnTo>
                  <a:pt x="149610" y="5545"/>
                </a:lnTo>
                <a:lnTo>
                  <a:pt x="149769" y="5334"/>
                </a:lnTo>
                <a:lnTo>
                  <a:pt x="149822" y="5228"/>
                </a:lnTo>
                <a:lnTo>
                  <a:pt x="150033" y="5123"/>
                </a:lnTo>
                <a:lnTo>
                  <a:pt x="150191" y="4964"/>
                </a:lnTo>
                <a:lnTo>
                  <a:pt x="150244" y="4700"/>
                </a:lnTo>
                <a:lnTo>
                  <a:pt x="150244" y="4330"/>
                </a:lnTo>
                <a:lnTo>
                  <a:pt x="150138" y="3961"/>
                </a:lnTo>
                <a:lnTo>
                  <a:pt x="150033" y="3697"/>
                </a:lnTo>
                <a:lnTo>
                  <a:pt x="149927" y="3485"/>
                </a:lnTo>
                <a:lnTo>
                  <a:pt x="149082" y="3116"/>
                </a:lnTo>
                <a:lnTo>
                  <a:pt x="148818" y="3116"/>
                </a:lnTo>
                <a:lnTo>
                  <a:pt x="148660" y="3274"/>
                </a:lnTo>
                <a:lnTo>
                  <a:pt x="148554" y="3274"/>
                </a:lnTo>
                <a:lnTo>
                  <a:pt x="148501" y="3116"/>
                </a:lnTo>
                <a:lnTo>
                  <a:pt x="148501" y="2957"/>
                </a:lnTo>
                <a:lnTo>
                  <a:pt x="148554" y="2852"/>
                </a:lnTo>
                <a:lnTo>
                  <a:pt x="148449" y="2852"/>
                </a:lnTo>
                <a:lnTo>
                  <a:pt x="148396" y="2905"/>
                </a:lnTo>
                <a:lnTo>
                  <a:pt x="148290" y="3169"/>
                </a:lnTo>
                <a:lnTo>
                  <a:pt x="148132" y="3380"/>
                </a:lnTo>
                <a:lnTo>
                  <a:pt x="147920" y="3433"/>
                </a:lnTo>
                <a:lnTo>
                  <a:pt x="147762" y="3433"/>
                </a:lnTo>
                <a:lnTo>
                  <a:pt x="147762" y="3380"/>
                </a:lnTo>
                <a:lnTo>
                  <a:pt x="147973" y="3063"/>
                </a:lnTo>
                <a:lnTo>
                  <a:pt x="148079" y="2905"/>
                </a:lnTo>
                <a:lnTo>
                  <a:pt x="147973" y="2852"/>
                </a:lnTo>
                <a:lnTo>
                  <a:pt x="147762" y="2799"/>
                </a:lnTo>
                <a:lnTo>
                  <a:pt x="147762" y="2746"/>
                </a:lnTo>
                <a:lnTo>
                  <a:pt x="147815" y="2482"/>
                </a:lnTo>
                <a:lnTo>
                  <a:pt x="147604" y="2324"/>
                </a:lnTo>
                <a:lnTo>
                  <a:pt x="147128" y="2112"/>
                </a:lnTo>
                <a:lnTo>
                  <a:pt x="146231" y="2165"/>
                </a:lnTo>
                <a:lnTo>
                  <a:pt x="146125" y="2112"/>
                </a:lnTo>
                <a:lnTo>
                  <a:pt x="146125" y="2007"/>
                </a:lnTo>
                <a:lnTo>
                  <a:pt x="146231" y="1796"/>
                </a:lnTo>
                <a:lnTo>
                  <a:pt x="145755" y="1637"/>
                </a:lnTo>
                <a:lnTo>
                  <a:pt x="145650" y="1531"/>
                </a:lnTo>
                <a:lnTo>
                  <a:pt x="145650" y="1320"/>
                </a:lnTo>
                <a:lnTo>
                  <a:pt x="145597" y="1162"/>
                </a:lnTo>
                <a:lnTo>
                  <a:pt x="145438" y="898"/>
                </a:lnTo>
                <a:lnTo>
                  <a:pt x="145491" y="845"/>
                </a:lnTo>
                <a:lnTo>
                  <a:pt x="145650" y="739"/>
                </a:lnTo>
                <a:lnTo>
                  <a:pt x="145966" y="317"/>
                </a:lnTo>
                <a:lnTo>
                  <a:pt x="146125" y="317"/>
                </a:lnTo>
                <a:lnTo>
                  <a:pt x="146389" y="581"/>
                </a:lnTo>
                <a:lnTo>
                  <a:pt x="146547" y="475"/>
                </a:lnTo>
                <a:lnTo>
                  <a:pt x="146442" y="264"/>
                </a:lnTo>
                <a:lnTo>
                  <a:pt x="146231" y="106"/>
                </a:lnTo>
                <a:lnTo>
                  <a:pt x="146072" y="0"/>
                </a:lnTo>
                <a:close/>
                <a:moveTo>
                  <a:pt x="118505" y="177706"/>
                </a:moveTo>
                <a:lnTo>
                  <a:pt x="118294" y="177811"/>
                </a:lnTo>
                <a:lnTo>
                  <a:pt x="118136" y="177970"/>
                </a:lnTo>
                <a:lnTo>
                  <a:pt x="117872" y="178075"/>
                </a:lnTo>
                <a:lnTo>
                  <a:pt x="117872" y="178181"/>
                </a:lnTo>
                <a:lnTo>
                  <a:pt x="117872" y="178286"/>
                </a:lnTo>
                <a:lnTo>
                  <a:pt x="117872" y="178392"/>
                </a:lnTo>
                <a:lnTo>
                  <a:pt x="117977" y="178603"/>
                </a:lnTo>
                <a:lnTo>
                  <a:pt x="118136" y="178762"/>
                </a:lnTo>
                <a:lnTo>
                  <a:pt x="118294" y="178920"/>
                </a:lnTo>
                <a:lnTo>
                  <a:pt x="118453" y="178920"/>
                </a:lnTo>
                <a:lnTo>
                  <a:pt x="118558" y="178762"/>
                </a:lnTo>
                <a:lnTo>
                  <a:pt x="118769" y="178445"/>
                </a:lnTo>
                <a:lnTo>
                  <a:pt x="118769" y="178339"/>
                </a:lnTo>
                <a:lnTo>
                  <a:pt x="118769" y="178075"/>
                </a:lnTo>
                <a:lnTo>
                  <a:pt x="118769" y="177970"/>
                </a:lnTo>
                <a:lnTo>
                  <a:pt x="118769" y="177864"/>
                </a:lnTo>
                <a:lnTo>
                  <a:pt x="118664" y="177706"/>
                </a:lnTo>
                <a:close/>
                <a:moveTo>
                  <a:pt x="254596" y="178973"/>
                </a:moveTo>
                <a:lnTo>
                  <a:pt x="254596" y="179026"/>
                </a:lnTo>
                <a:lnTo>
                  <a:pt x="254596" y="179079"/>
                </a:lnTo>
                <a:lnTo>
                  <a:pt x="254596" y="179184"/>
                </a:lnTo>
                <a:lnTo>
                  <a:pt x="254596" y="179237"/>
                </a:lnTo>
                <a:lnTo>
                  <a:pt x="254596" y="179343"/>
                </a:lnTo>
                <a:lnTo>
                  <a:pt x="254649" y="179448"/>
                </a:lnTo>
                <a:lnTo>
                  <a:pt x="254702" y="179448"/>
                </a:lnTo>
                <a:lnTo>
                  <a:pt x="254702" y="179343"/>
                </a:lnTo>
                <a:lnTo>
                  <a:pt x="254702" y="179237"/>
                </a:lnTo>
                <a:lnTo>
                  <a:pt x="254702" y="179184"/>
                </a:lnTo>
                <a:lnTo>
                  <a:pt x="254702" y="179079"/>
                </a:lnTo>
                <a:lnTo>
                  <a:pt x="254649" y="178973"/>
                </a:lnTo>
                <a:close/>
                <a:moveTo>
                  <a:pt x="245355" y="135563"/>
                </a:moveTo>
                <a:lnTo>
                  <a:pt x="244615" y="135986"/>
                </a:lnTo>
                <a:lnTo>
                  <a:pt x="243718" y="136514"/>
                </a:lnTo>
                <a:lnTo>
                  <a:pt x="243295" y="136778"/>
                </a:lnTo>
                <a:lnTo>
                  <a:pt x="242820" y="136883"/>
                </a:lnTo>
                <a:lnTo>
                  <a:pt x="242239" y="137042"/>
                </a:lnTo>
                <a:lnTo>
                  <a:pt x="241711" y="137200"/>
                </a:lnTo>
                <a:lnTo>
                  <a:pt x="241288" y="137464"/>
                </a:lnTo>
                <a:lnTo>
                  <a:pt x="241500" y="137623"/>
                </a:lnTo>
                <a:lnTo>
                  <a:pt x="241711" y="137781"/>
                </a:lnTo>
                <a:lnTo>
                  <a:pt x="241764" y="138045"/>
                </a:lnTo>
                <a:lnTo>
                  <a:pt x="241605" y="138415"/>
                </a:lnTo>
                <a:lnTo>
                  <a:pt x="241394" y="138679"/>
                </a:lnTo>
                <a:lnTo>
                  <a:pt x="241183" y="138785"/>
                </a:lnTo>
                <a:lnTo>
                  <a:pt x="240971" y="138785"/>
                </a:lnTo>
                <a:lnTo>
                  <a:pt x="240707" y="138679"/>
                </a:lnTo>
                <a:lnTo>
                  <a:pt x="240707" y="140316"/>
                </a:lnTo>
                <a:lnTo>
                  <a:pt x="240655" y="140580"/>
                </a:lnTo>
                <a:lnTo>
                  <a:pt x="240232" y="141320"/>
                </a:lnTo>
                <a:lnTo>
                  <a:pt x="240021" y="141531"/>
                </a:lnTo>
                <a:lnTo>
                  <a:pt x="239757" y="141531"/>
                </a:lnTo>
                <a:lnTo>
                  <a:pt x="239229" y="141478"/>
                </a:lnTo>
                <a:lnTo>
                  <a:pt x="238965" y="141584"/>
                </a:lnTo>
                <a:lnTo>
                  <a:pt x="238489" y="141900"/>
                </a:lnTo>
                <a:lnTo>
                  <a:pt x="237961" y="142270"/>
                </a:lnTo>
                <a:lnTo>
                  <a:pt x="238014" y="142270"/>
                </a:lnTo>
                <a:lnTo>
                  <a:pt x="238120" y="142429"/>
                </a:lnTo>
                <a:lnTo>
                  <a:pt x="238437" y="142693"/>
                </a:lnTo>
                <a:lnTo>
                  <a:pt x="238595" y="142904"/>
                </a:lnTo>
                <a:lnTo>
                  <a:pt x="238806" y="143062"/>
                </a:lnTo>
                <a:lnTo>
                  <a:pt x="238965" y="143273"/>
                </a:lnTo>
                <a:lnTo>
                  <a:pt x="239017" y="143326"/>
                </a:lnTo>
                <a:lnTo>
                  <a:pt x="239282" y="143379"/>
                </a:lnTo>
                <a:lnTo>
                  <a:pt x="239387" y="143538"/>
                </a:lnTo>
                <a:lnTo>
                  <a:pt x="239440" y="143590"/>
                </a:lnTo>
                <a:lnTo>
                  <a:pt x="239598" y="143590"/>
                </a:lnTo>
                <a:lnTo>
                  <a:pt x="239704" y="143696"/>
                </a:lnTo>
                <a:lnTo>
                  <a:pt x="239810" y="143802"/>
                </a:lnTo>
                <a:lnTo>
                  <a:pt x="239915" y="143907"/>
                </a:lnTo>
                <a:lnTo>
                  <a:pt x="240074" y="143749"/>
                </a:lnTo>
                <a:lnTo>
                  <a:pt x="239546" y="142640"/>
                </a:lnTo>
                <a:lnTo>
                  <a:pt x="239651" y="142745"/>
                </a:lnTo>
                <a:lnTo>
                  <a:pt x="239757" y="142851"/>
                </a:lnTo>
                <a:lnTo>
                  <a:pt x="239915" y="143221"/>
                </a:lnTo>
                <a:lnTo>
                  <a:pt x="240232" y="143643"/>
                </a:lnTo>
                <a:lnTo>
                  <a:pt x="240338" y="143273"/>
                </a:lnTo>
                <a:lnTo>
                  <a:pt x="240443" y="143168"/>
                </a:lnTo>
                <a:lnTo>
                  <a:pt x="240602" y="143168"/>
                </a:lnTo>
                <a:lnTo>
                  <a:pt x="240602" y="143273"/>
                </a:lnTo>
                <a:lnTo>
                  <a:pt x="240496" y="143432"/>
                </a:lnTo>
                <a:lnTo>
                  <a:pt x="240496" y="143802"/>
                </a:lnTo>
                <a:lnTo>
                  <a:pt x="240602" y="144171"/>
                </a:lnTo>
                <a:lnTo>
                  <a:pt x="240655" y="144435"/>
                </a:lnTo>
                <a:lnTo>
                  <a:pt x="240760" y="144541"/>
                </a:lnTo>
                <a:lnTo>
                  <a:pt x="240971" y="144541"/>
                </a:lnTo>
                <a:lnTo>
                  <a:pt x="241183" y="144435"/>
                </a:lnTo>
                <a:lnTo>
                  <a:pt x="241605" y="144541"/>
                </a:lnTo>
                <a:lnTo>
                  <a:pt x="241711" y="144541"/>
                </a:lnTo>
                <a:lnTo>
                  <a:pt x="241658" y="144647"/>
                </a:lnTo>
                <a:lnTo>
                  <a:pt x="241130" y="144647"/>
                </a:lnTo>
                <a:lnTo>
                  <a:pt x="241130" y="144699"/>
                </a:lnTo>
                <a:lnTo>
                  <a:pt x="241711" y="145069"/>
                </a:lnTo>
                <a:lnTo>
                  <a:pt x="241975" y="145175"/>
                </a:lnTo>
                <a:lnTo>
                  <a:pt x="242186" y="145016"/>
                </a:lnTo>
                <a:lnTo>
                  <a:pt x="242292" y="144963"/>
                </a:lnTo>
                <a:lnTo>
                  <a:pt x="242292" y="144911"/>
                </a:lnTo>
                <a:lnTo>
                  <a:pt x="242292" y="144858"/>
                </a:lnTo>
                <a:lnTo>
                  <a:pt x="242292" y="144805"/>
                </a:lnTo>
                <a:lnTo>
                  <a:pt x="242292" y="144699"/>
                </a:lnTo>
                <a:lnTo>
                  <a:pt x="242397" y="144435"/>
                </a:lnTo>
                <a:lnTo>
                  <a:pt x="242450" y="144277"/>
                </a:lnTo>
                <a:lnTo>
                  <a:pt x="242450" y="144066"/>
                </a:lnTo>
                <a:lnTo>
                  <a:pt x="242450" y="143907"/>
                </a:lnTo>
                <a:lnTo>
                  <a:pt x="242344" y="143802"/>
                </a:lnTo>
                <a:lnTo>
                  <a:pt x="242344" y="143749"/>
                </a:lnTo>
                <a:lnTo>
                  <a:pt x="242397" y="143696"/>
                </a:lnTo>
                <a:lnTo>
                  <a:pt x="242344" y="143538"/>
                </a:lnTo>
                <a:lnTo>
                  <a:pt x="242292" y="143538"/>
                </a:lnTo>
                <a:lnTo>
                  <a:pt x="241922" y="143643"/>
                </a:lnTo>
                <a:lnTo>
                  <a:pt x="242028" y="143538"/>
                </a:lnTo>
                <a:lnTo>
                  <a:pt x="242186" y="143432"/>
                </a:lnTo>
                <a:lnTo>
                  <a:pt x="242344" y="143326"/>
                </a:lnTo>
                <a:lnTo>
                  <a:pt x="242292" y="143115"/>
                </a:lnTo>
                <a:lnTo>
                  <a:pt x="242344" y="143009"/>
                </a:lnTo>
                <a:lnTo>
                  <a:pt x="242344" y="142851"/>
                </a:lnTo>
                <a:lnTo>
                  <a:pt x="242292" y="142693"/>
                </a:lnTo>
                <a:lnTo>
                  <a:pt x="242186" y="142640"/>
                </a:lnTo>
                <a:lnTo>
                  <a:pt x="242292" y="142587"/>
                </a:lnTo>
                <a:lnTo>
                  <a:pt x="242344" y="142640"/>
                </a:lnTo>
                <a:lnTo>
                  <a:pt x="242397" y="142693"/>
                </a:lnTo>
                <a:lnTo>
                  <a:pt x="242450" y="142798"/>
                </a:lnTo>
                <a:lnTo>
                  <a:pt x="242450" y="142957"/>
                </a:lnTo>
                <a:lnTo>
                  <a:pt x="242450" y="143062"/>
                </a:lnTo>
                <a:lnTo>
                  <a:pt x="242503" y="143221"/>
                </a:lnTo>
                <a:lnTo>
                  <a:pt x="242556" y="143432"/>
                </a:lnTo>
                <a:lnTo>
                  <a:pt x="242661" y="143538"/>
                </a:lnTo>
                <a:lnTo>
                  <a:pt x="242767" y="143643"/>
                </a:lnTo>
                <a:lnTo>
                  <a:pt x="242767" y="143696"/>
                </a:lnTo>
                <a:lnTo>
                  <a:pt x="242714" y="143854"/>
                </a:lnTo>
                <a:lnTo>
                  <a:pt x="242714" y="143960"/>
                </a:lnTo>
                <a:lnTo>
                  <a:pt x="242714" y="144013"/>
                </a:lnTo>
                <a:lnTo>
                  <a:pt x="242714" y="144066"/>
                </a:lnTo>
                <a:lnTo>
                  <a:pt x="242714" y="144118"/>
                </a:lnTo>
                <a:lnTo>
                  <a:pt x="242714" y="144171"/>
                </a:lnTo>
                <a:lnTo>
                  <a:pt x="242767" y="144224"/>
                </a:lnTo>
                <a:lnTo>
                  <a:pt x="242873" y="144224"/>
                </a:lnTo>
                <a:lnTo>
                  <a:pt x="243189" y="143960"/>
                </a:lnTo>
                <a:lnTo>
                  <a:pt x="243242" y="143854"/>
                </a:lnTo>
                <a:lnTo>
                  <a:pt x="243137" y="143802"/>
                </a:lnTo>
                <a:lnTo>
                  <a:pt x="243137" y="143749"/>
                </a:lnTo>
                <a:lnTo>
                  <a:pt x="243137" y="143643"/>
                </a:lnTo>
                <a:lnTo>
                  <a:pt x="243242" y="143696"/>
                </a:lnTo>
                <a:lnTo>
                  <a:pt x="243929" y="143749"/>
                </a:lnTo>
                <a:lnTo>
                  <a:pt x="244034" y="143854"/>
                </a:lnTo>
                <a:lnTo>
                  <a:pt x="244087" y="143960"/>
                </a:lnTo>
                <a:lnTo>
                  <a:pt x="243348" y="144224"/>
                </a:lnTo>
                <a:lnTo>
                  <a:pt x="243242" y="144224"/>
                </a:lnTo>
                <a:lnTo>
                  <a:pt x="243295" y="144066"/>
                </a:lnTo>
                <a:lnTo>
                  <a:pt x="243295" y="144066"/>
                </a:lnTo>
                <a:lnTo>
                  <a:pt x="243189" y="144118"/>
                </a:lnTo>
                <a:lnTo>
                  <a:pt x="243137" y="144224"/>
                </a:lnTo>
                <a:lnTo>
                  <a:pt x="242661" y="144541"/>
                </a:lnTo>
                <a:lnTo>
                  <a:pt x="242609" y="144647"/>
                </a:lnTo>
                <a:lnTo>
                  <a:pt x="242661" y="144752"/>
                </a:lnTo>
                <a:lnTo>
                  <a:pt x="242820" y="145016"/>
                </a:lnTo>
                <a:lnTo>
                  <a:pt x="242873" y="145122"/>
                </a:lnTo>
                <a:lnTo>
                  <a:pt x="242925" y="145175"/>
                </a:lnTo>
                <a:lnTo>
                  <a:pt x="242978" y="145280"/>
                </a:lnTo>
                <a:lnTo>
                  <a:pt x="243084" y="145439"/>
                </a:lnTo>
                <a:lnTo>
                  <a:pt x="243137" y="145544"/>
                </a:lnTo>
                <a:lnTo>
                  <a:pt x="243137" y="145597"/>
                </a:lnTo>
                <a:lnTo>
                  <a:pt x="243137" y="145703"/>
                </a:lnTo>
                <a:lnTo>
                  <a:pt x="243242" y="145703"/>
                </a:lnTo>
                <a:lnTo>
                  <a:pt x="243295" y="145861"/>
                </a:lnTo>
                <a:lnTo>
                  <a:pt x="243559" y="146495"/>
                </a:lnTo>
                <a:lnTo>
                  <a:pt x="243876" y="146495"/>
                </a:lnTo>
                <a:lnTo>
                  <a:pt x="243506" y="146706"/>
                </a:lnTo>
                <a:lnTo>
                  <a:pt x="243506" y="146759"/>
                </a:lnTo>
                <a:lnTo>
                  <a:pt x="243612" y="146812"/>
                </a:lnTo>
                <a:lnTo>
                  <a:pt x="243665" y="146917"/>
                </a:lnTo>
                <a:lnTo>
                  <a:pt x="243718" y="147023"/>
                </a:lnTo>
                <a:lnTo>
                  <a:pt x="243718" y="147181"/>
                </a:lnTo>
                <a:lnTo>
                  <a:pt x="243718" y="147340"/>
                </a:lnTo>
                <a:lnTo>
                  <a:pt x="243665" y="147445"/>
                </a:lnTo>
                <a:lnTo>
                  <a:pt x="243665" y="147498"/>
                </a:lnTo>
                <a:lnTo>
                  <a:pt x="243718" y="147710"/>
                </a:lnTo>
                <a:lnTo>
                  <a:pt x="243506" y="147657"/>
                </a:lnTo>
                <a:lnTo>
                  <a:pt x="243401" y="147657"/>
                </a:lnTo>
                <a:lnTo>
                  <a:pt x="243348" y="147710"/>
                </a:lnTo>
                <a:lnTo>
                  <a:pt x="243295" y="147762"/>
                </a:lnTo>
                <a:lnTo>
                  <a:pt x="243242" y="147762"/>
                </a:lnTo>
                <a:lnTo>
                  <a:pt x="243242" y="147868"/>
                </a:lnTo>
                <a:lnTo>
                  <a:pt x="243506" y="147815"/>
                </a:lnTo>
                <a:lnTo>
                  <a:pt x="243559" y="147815"/>
                </a:lnTo>
                <a:lnTo>
                  <a:pt x="243506" y="147921"/>
                </a:lnTo>
                <a:lnTo>
                  <a:pt x="243453" y="148185"/>
                </a:lnTo>
                <a:lnTo>
                  <a:pt x="243401" y="148449"/>
                </a:lnTo>
                <a:lnTo>
                  <a:pt x="243401" y="148554"/>
                </a:lnTo>
                <a:lnTo>
                  <a:pt x="243506" y="148554"/>
                </a:lnTo>
                <a:lnTo>
                  <a:pt x="244510" y="148290"/>
                </a:lnTo>
                <a:lnTo>
                  <a:pt x="244615" y="148185"/>
                </a:lnTo>
                <a:lnTo>
                  <a:pt x="244774" y="148132"/>
                </a:lnTo>
                <a:lnTo>
                  <a:pt x="244932" y="148185"/>
                </a:lnTo>
                <a:lnTo>
                  <a:pt x="245196" y="148396"/>
                </a:lnTo>
                <a:lnTo>
                  <a:pt x="245302" y="148502"/>
                </a:lnTo>
                <a:lnTo>
                  <a:pt x="245407" y="148554"/>
                </a:lnTo>
                <a:lnTo>
                  <a:pt x="245460" y="148554"/>
                </a:lnTo>
                <a:lnTo>
                  <a:pt x="245513" y="148502"/>
                </a:lnTo>
                <a:lnTo>
                  <a:pt x="245513" y="148449"/>
                </a:lnTo>
                <a:lnTo>
                  <a:pt x="245513" y="148238"/>
                </a:lnTo>
                <a:lnTo>
                  <a:pt x="245460" y="148079"/>
                </a:lnTo>
                <a:lnTo>
                  <a:pt x="245355" y="147921"/>
                </a:lnTo>
                <a:lnTo>
                  <a:pt x="245302" y="147710"/>
                </a:lnTo>
                <a:lnTo>
                  <a:pt x="245355" y="147551"/>
                </a:lnTo>
                <a:lnTo>
                  <a:pt x="245407" y="147551"/>
                </a:lnTo>
                <a:lnTo>
                  <a:pt x="245513" y="147710"/>
                </a:lnTo>
                <a:lnTo>
                  <a:pt x="245566" y="147921"/>
                </a:lnTo>
                <a:lnTo>
                  <a:pt x="245619" y="148132"/>
                </a:lnTo>
                <a:lnTo>
                  <a:pt x="245777" y="148396"/>
                </a:lnTo>
                <a:lnTo>
                  <a:pt x="245777" y="148449"/>
                </a:lnTo>
                <a:lnTo>
                  <a:pt x="245777" y="148766"/>
                </a:lnTo>
                <a:lnTo>
                  <a:pt x="245883" y="149135"/>
                </a:lnTo>
                <a:lnTo>
                  <a:pt x="246041" y="149452"/>
                </a:lnTo>
                <a:lnTo>
                  <a:pt x="246252" y="149663"/>
                </a:lnTo>
                <a:lnTo>
                  <a:pt x="246886" y="149980"/>
                </a:lnTo>
                <a:lnTo>
                  <a:pt x="247097" y="149980"/>
                </a:lnTo>
                <a:lnTo>
                  <a:pt x="247256" y="149875"/>
                </a:lnTo>
                <a:lnTo>
                  <a:pt x="247256" y="149822"/>
                </a:lnTo>
                <a:lnTo>
                  <a:pt x="247256" y="149716"/>
                </a:lnTo>
                <a:lnTo>
                  <a:pt x="247256" y="149663"/>
                </a:lnTo>
                <a:lnTo>
                  <a:pt x="247256" y="149241"/>
                </a:lnTo>
                <a:lnTo>
                  <a:pt x="247414" y="149241"/>
                </a:lnTo>
                <a:lnTo>
                  <a:pt x="247414" y="149188"/>
                </a:lnTo>
                <a:lnTo>
                  <a:pt x="247414" y="148977"/>
                </a:lnTo>
                <a:lnTo>
                  <a:pt x="247414" y="148766"/>
                </a:lnTo>
                <a:lnTo>
                  <a:pt x="247256" y="147974"/>
                </a:lnTo>
                <a:lnTo>
                  <a:pt x="247203" y="147815"/>
                </a:lnTo>
                <a:lnTo>
                  <a:pt x="247045" y="147604"/>
                </a:lnTo>
                <a:lnTo>
                  <a:pt x="247045" y="147551"/>
                </a:lnTo>
                <a:lnTo>
                  <a:pt x="247045" y="147340"/>
                </a:lnTo>
                <a:lnTo>
                  <a:pt x="247045" y="147287"/>
                </a:lnTo>
                <a:lnTo>
                  <a:pt x="246939" y="147023"/>
                </a:lnTo>
                <a:lnTo>
                  <a:pt x="246728" y="146653"/>
                </a:lnTo>
                <a:lnTo>
                  <a:pt x="246675" y="146442"/>
                </a:lnTo>
                <a:lnTo>
                  <a:pt x="246781" y="146336"/>
                </a:lnTo>
                <a:lnTo>
                  <a:pt x="246886" y="146336"/>
                </a:lnTo>
                <a:lnTo>
                  <a:pt x="246992" y="146231"/>
                </a:lnTo>
                <a:lnTo>
                  <a:pt x="246992" y="146125"/>
                </a:lnTo>
                <a:lnTo>
                  <a:pt x="246675" y="145439"/>
                </a:lnTo>
                <a:lnTo>
                  <a:pt x="246622" y="145333"/>
                </a:lnTo>
                <a:lnTo>
                  <a:pt x="246622" y="145227"/>
                </a:lnTo>
                <a:lnTo>
                  <a:pt x="246675" y="145016"/>
                </a:lnTo>
                <a:lnTo>
                  <a:pt x="246358" y="144435"/>
                </a:lnTo>
                <a:lnTo>
                  <a:pt x="246200" y="144066"/>
                </a:lnTo>
                <a:lnTo>
                  <a:pt x="246200" y="143960"/>
                </a:lnTo>
                <a:lnTo>
                  <a:pt x="246252" y="143802"/>
                </a:lnTo>
                <a:lnTo>
                  <a:pt x="246252" y="143696"/>
                </a:lnTo>
                <a:lnTo>
                  <a:pt x="246094" y="143590"/>
                </a:lnTo>
                <a:lnTo>
                  <a:pt x="245988" y="143538"/>
                </a:lnTo>
                <a:lnTo>
                  <a:pt x="245988" y="143379"/>
                </a:lnTo>
                <a:lnTo>
                  <a:pt x="245988" y="143168"/>
                </a:lnTo>
                <a:lnTo>
                  <a:pt x="246041" y="143062"/>
                </a:lnTo>
                <a:lnTo>
                  <a:pt x="245988" y="143009"/>
                </a:lnTo>
                <a:lnTo>
                  <a:pt x="245988" y="142904"/>
                </a:lnTo>
                <a:lnTo>
                  <a:pt x="245988" y="142798"/>
                </a:lnTo>
                <a:lnTo>
                  <a:pt x="246041" y="142745"/>
                </a:lnTo>
                <a:lnTo>
                  <a:pt x="245936" y="142640"/>
                </a:lnTo>
                <a:lnTo>
                  <a:pt x="245936" y="142481"/>
                </a:lnTo>
                <a:lnTo>
                  <a:pt x="245988" y="142323"/>
                </a:lnTo>
                <a:lnTo>
                  <a:pt x="245988" y="142164"/>
                </a:lnTo>
                <a:lnTo>
                  <a:pt x="245936" y="142059"/>
                </a:lnTo>
                <a:lnTo>
                  <a:pt x="245883" y="141953"/>
                </a:lnTo>
                <a:lnTo>
                  <a:pt x="245724" y="141795"/>
                </a:lnTo>
                <a:lnTo>
                  <a:pt x="245619" y="141636"/>
                </a:lnTo>
                <a:lnTo>
                  <a:pt x="245513" y="141372"/>
                </a:lnTo>
                <a:lnTo>
                  <a:pt x="245460" y="141267"/>
                </a:lnTo>
                <a:lnTo>
                  <a:pt x="245249" y="141003"/>
                </a:lnTo>
                <a:lnTo>
                  <a:pt x="245143" y="140844"/>
                </a:lnTo>
                <a:lnTo>
                  <a:pt x="245302" y="140791"/>
                </a:lnTo>
                <a:lnTo>
                  <a:pt x="245566" y="140897"/>
                </a:lnTo>
                <a:lnTo>
                  <a:pt x="245777" y="141055"/>
                </a:lnTo>
                <a:lnTo>
                  <a:pt x="245883" y="141267"/>
                </a:lnTo>
                <a:lnTo>
                  <a:pt x="245883" y="141372"/>
                </a:lnTo>
                <a:lnTo>
                  <a:pt x="245883" y="141689"/>
                </a:lnTo>
                <a:lnTo>
                  <a:pt x="245936" y="141795"/>
                </a:lnTo>
                <a:lnTo>
                  <a:pt x="246041" y="141900"/>
                </a:lnTo>
                <a:lnTo>
                  <a:pt x="246200" y="142006"/>
                </a:lnTo>
                <a:lnTo>
                  <a:pt x="246252" y="142164"/>
                </a:lnTo>
                <a:lnTo>
                  <a:pt x="246252" y="141953"/>
                </a:lnTo>
                <a:lnTo>
                  <a:pt x="246252" y="141848"/>
                </a:lnTo>
                <a:lnTo>
                  <a:pt x="246252" y="141742"/>
                </a:lnTo>
                <a:lnTo>
                  <a:pt x="246147" y="141636"/>
                </a:lnTo>
                <a:lnTo>
                  <a:pt x="246147" y="141584"/>
                </a:lnTo>
                <a:lnTo>
                  <a:pt x="246147" y="141478"/>
                </a:lnTo>
                <a:lnTo>
                  <a:pt x="246041" y="141161"/>
                </a:lnTo>
                <a:lnTo>
                  <a:pt x="246041" y="141055"/>
                </a:lnTo>
                <a:lnTo>
                  <a:pt x="246041" y="141003"/>
                </a:lnTo>
                <a:lnTo>
                  <a:pt x="245936" y="140897"/>
                </a:lnTo>
                <a:lnTo>
                  <a:pt x="245883" y="140844"/>
                </a:lnTo>
                <a:lnTo>
                  <a:pt x="245777" y="140844"/>
                </a:lnTo>
                <a:lnTo>
                  <a:pt x="245777" y="140791"/>
                </a:lnTo>
                <a:lnTo>
                  <a:pt x="245777" y="140633"/>
                </a:lnTo>
                <a:lnTo>
                  <a:pt x="245777" y="140580"/>
                </a:lnTo>
                <a:lnTo>
                  <a:pt x="245619" y="140316"/>
                </a:lnTo>
                <a:lnTo>
                  <a:pt x="245513" y="140158"/>
                </a:lnTo>
                <a:lnTo>
                  <a:pt x="245249" y="140052"/>
                </a:lnTo>
                <a:lnTo>
                  <a:pt x="245143" y="139946"/>
                </a:lnTo>
                <a:lnTo>
                  <a:pt x="245302" y="139946"/>
                </a:lnTo>
                <a:lnTo>
                  <a:pt x="245566" y="140105"/>
                </a:lnTo>
                <a:lnTo>
                  <a:pt x="245724" y="139999"/>
                </a:lnTo>
                <a:lnTo>
                  <a:pt x="245830" y="140105"/>
                </a:lnTo>
                <a:lnTo>
                  <a:pt x="245883" y="139946"/>
                </a:lnTo>
                <a:lnTo>
                  <a:pt x="245936" y="139418"/>
                </a:lnTo>
                <a:lnTo>
                  <a:pt x="246094" y="138679"/>
                </a:lnTo>
                <a:lnTo>
                  <a:pt x="246147" y="138521"/>
                </a:lnTo>
                <a:lnTo>
                  <a:pt x="246200" y="138732"/>
                </a:lnTo>
                <a:lnTo>
                  <a:pt x="246200" y="139207"/>
                </a:lnTo>
                <a:lnTo>
                  <a:pt x="246041" y="139999"/>
                </a:lnTo>
                <a:lnTo>
                  <a:pt x="246041" y="140422"/>
                </a:lnTo>
                <a:lnTo>
                  <a:pt x="246200" y="140686"/>
                </a:lnTo>
                <a:lnTo>
                  <a:pt x="246358" y="140950"/>
                </a:lnTo>
                <a:lnTo>
                  <a:pt x="246464" y="141214"/>
                </a:lnTo>
                <a:lnTo>
                  <a:pt x="246675" y="141742"/>
                </a:lnTo>
                <a:lnTo>
                  <a:pt x="246675" y="141953"/>
                </a:lnTo>
                <a:lnTo>
                  <a:pt x="246675" y="142059"/>
                </a:lnTo>
                <a:lnTo>
                  <a:pt x="246728" y="142270"/>
                </a:lnTo>
                <a:lnTo>
                  <a:pt x="246728" y="142534"/>
                </a:lnTo>
                <a:lnTo>
                  <a:pt x="246728" y="142587"/>
                </a:lnTo>
                <a:lnTo>
                  <a:pt x="246781" y="142745"/>
                </a:lnTo>
                <a:lnTo>
                  <a:pt x="246833" y="142851"/>
                </a:lnTo>
                <a:lnTo>
                  <a:pt x="246886" y="142957"/>
                </a:lnTo>
                <a:lnTo>
                  <a:pt x="246886" y="143221"/>
                </a:lnTo>
                <a:lnTo>
                  <a:pt x="246886" y="143432"/>
                </a:lnTo>
                <a:lnTo>
                  <a:pt x="246886" y="143590"/>
                </a:lnTo>
                <a:lnTo>
                  <a:pt x="246939" y="143749"/>
                </a:lnTo>
                <a:lnTo>
                  <a:pt x="247045" y="143854"/>
                </a:lnTo>
                <a:lnTo>
                  <a:pt x="246939" y="144224"/>
                </a:lnTo>
                <a:lnTo>
                  <a:pt x="246939" y="144330"/>
                </a:lnTo>
                <a:lnTo>
                  <a:pt x="246939" y="144435"/>
                </a:lnTo>
                <a:lnTo>
                  <a:pt x="247150" y="144647"/>
                </a:lnTo>
                <a:lnTo>
                  <a:pt x="247361" y="145175"/>
                </a:lnTo>
                <a:lnTo>
                  <a:pt x="247520" y="145280"/>
                </a:lnTo>
                <a:lnTo>
                  <a:pt x="247520" y="145227"/>
                </a:lnTo>
                <a:lnTo>
                  <a:pt x="247520" y="145175"/>
                </a:lnTo>
                <a:lnTo>
                  <a:pt x="247573" y="145069"/>
                </a:lnTo>
                <a:lnTo>
                  <a:pt x="247573" y="145016"/>
                </a:lnTo>
                <a:lnTo>
                  <a:pt x="247520" y="144963"/>
                </a:lnTo>
                <a:lnTo>
                  <a:pt x="247520" y="144858"/>
                </a:lnTo>
                <a:lnTo>
                  <a:pt x="247520" y="144805"/>
                </a:lnTo>
                <a:lnTo>
                  <a:pt x="247625" y="144647"/>
                </a:lnTo>
                <a:lnTo>
                  <a:pt x="247678" y="144541"/>
                </a:lnTo>
                <a:lnTo>
                  <a:pt x="247731" y="144594"/>
                </a:lnTo>
                <a:lnTo>
                  <a:pt x="247837" y="144594"/>
                </a:lnTo>
                <a:lnTo>
                  <a:pt x="247890" y="144541"/>
                </a:lnTo>
                <a:lnTo>
                  <a:pt x="247890" y="144752"/>
                </a:lnTo>
                <a:lnTo>
                  <a:pt x="247942" y="144963"/>
                </a:lnTo>
                <a:lnTo>
                  <a:pt x="247995" y="145175"/>
                </a:lnTo>
                <a:lnTo>
                  <a:pt x="247890" y="145492"/>
                </a:lnTo>
                <a:lnTo>
                  <a:pt x="247942" y="145650"/>
                </a:lnTo>
                <a:lnTo>
                  <a:pt x="247995" y="145861"/>
                </a:lnTo>
                <a:lnTo>
                  <a:pt x="247995" y="145914"/>
                </a:lnTo>
                <a:lnTo>
                  <a:pt x="247890" y="145967"/>
                </a:lnTo>
                <a:lnTo>
                  <a:pt x="247837" y="145967"/>
                </a:lnTo>
                <a:lnTo>
                  <a:pt x="247678" y="145808"/>
                </a:lnTo>
                <a:lnTo>
                  <a:pt x="247731" y="146020"/>
                </a:lnTo>
                <a:lnTo>
                  <a:pt x="247942" y="146336"/>
                </a:lnTo>
                <a:lnTo>
                  <a:pt x="248101" y="146759"/>
                </a:lnTo>
                <a:lnTo>
                  <a:pt x="248206" y="146970"/>
                </a:lnTo>
                <a:lnTo>
                  <a:pt x="248365" y="147129"/>
                </a:lnTo>
                <a:lnTo>
                  <a:pt x="248523" y="147234"/>
                </a:lnTo>
                <a:lnTo>
                  <a:pt x="248523" y="147287"/>
                </a:lnTo>
                <a:lnTo>
                  <a:pt x="248629" y="147393"/>
                </a:lnTo>
                <a:lnTo>
                  <a:pt x="248734" y="147445"/>
                </a:lnTo>
                <a:lnTo>
                  <a:pt x="248787" y="147604"/>
                </a:lnTo>
                <a:lnTo>
                  <a:pt x="248787" y="148079"/>
                </a:lnTo>
                <a:lnTo>
                  <a:pt x="248787" y="148290"/>
                </a:lnTo>
                <a:lnTo>
                  <a:pt x="248840" y="148449"/>
                </a:lnTo>
                <a:lnTo>
                  <a:pt x="248946" y="148554"/>
                </a:lnTo>
                <a:lnTo>
                  <a:pt x="248999" y="148554"/>
                </a:lnTo>
                <a:lnTo>
                  <a:pt x="249157" y="148502"/>
                </a:lnTo>
                <a:lnTo>
                  <a:pt x="249210" y="148449"/>
                </a:lnTo>
                <a:lnTo>
                  <a:pt x="249315" y="148449"/>
                </a:lnTo>
                <a:lnTo>
                  <a:pt x="249315" y="148554"/>
                </a:lnTo>
                <a:lnTo>
                  <a:pt x="249315" y="148660"/>
                </a:lnTo>
                <a:lnTo>
                  <a:pt x="249315" y="148766"/>
                </a:lnTo>
                <a:lnTo>
                  <a:pt x="249368" y="148766"/>
                </a:lnTo>
                <a:lnTo>
                  <a:pt x="249368" y="148713"/>
                </a:lnTo>
                <a:lnTo>
                  <a:pt x="249368" y="148607"/>
                </a:lnTo>
                <a:lnTo>
                  <a:pt x="249474" y="148607"/>
                </a:lnTo>
                <a:lnTo>
                  <a:pt x="249632" y="148660"/>
                </a:lnTo>
                <a:lnTo>
                  <a:pt x="249949" y="148660"/>
                </a:lnTo>
                <a:lnTo>
                  <a:pt x="250002" y="148713"/>
                </a:lnTo>
                <a:lnTo>
                  <a:pt x="250055" y="148871"/>
                </a:lnTo>
                <a:lnTo>
                  <a:pt x="250108" y="148924"/>
                </a:lnTo>
                <a:lnTo>
                  <a:pt x="250213" y="148977"/>
                </a:lnTo>
                <a:lnTo>
                  <a:pt x="250319" y="149083"/>
                </a:lnTo>
                <a:lnTo>
                  <a:pt x="250108" y="148924"/>
                </a:lnTo>
                <a:lnTo>
                  <a:pt x="249738" y="148819"/>
                </a:lnTo>
                <a:lnTo>
                  <a:pt x="249632" y="148871"/>
                </a:lnTo>
                <a:lnTo>
                  <a:pt x="249527" y="148977"/>
                </a:lnTo>
                <a:lnTo>
                  <a:pt x="249474" y="149030"/>
                </a:lnTo>
                <a:lnTo>
                  <a:pt x="249263" y="149030"/>
                </a:lnTo>
                <a:lnTo>
                  <a:pt x="249210" y="149135"/>
                </a:lnTo>
                <a:lnTo>
                  <a:pt x="249210" y="149294"/>
                </a:lnTo>
                <a:lnTo>
                  <a:pt x="249315" y="149505"/>
                </a:lnTo>
                <a:lnTo>
                  <a:pt x="249474" y="149716"/>
                </a:lnTo>
                <a:lnTo>
                  <a:pt x="249579" y="149769"/>
                </a:lnTo>
                <a:lnTo>
                  <a:pt x="249685" y="149769"/>
                </a:lnTo>
                <a:lnTo>
                  <a:pt x="249896" y="149875"/>
                </a:lnTo>
                <a:lnTo>
                  <a:pt x="250160" y="149875"/>
                </a:lnTo>
                <a:lnTo>
                  <a:pt x="251164" y="150139"/>
                </a:lnTo>
                <a:lnTo>
                  <a:pt x="251058" y="149928"/>
                </a:lnTo>
                <a:lnTo>
                  <a:pt x="250583" y="149505"/>
                </a:lnTo>
                <a:lnTo>
                  <a:pt x="250319" y="149083"/>
                </a:lnTo>
                <a:lnTo>
                  <a:pt x="251164" y="149928"/>
                </a:lnTo>
                <a:lnTo>
                  <a:pt x="251375" y="150033"/>
                </a:lnTo>
                <a:lnTo>
                  <a:pt x="251533" y="150033"/>
                </a:lnTo>
                <a:lnTo>
                  <a:pt x="251639" y="149980"/>
                </a:lnTo>
                <a:lnTo>
                  <a:pt x="251745" y="149769"/>
                </a:lnTo>
                <a:lnTo>
                  <a:pt x="251797" y="149716"/>
                </a:lnTo>
                <a:lnTo>
                  <a:pt x="251797" y="149663"/>
                </a:lnTo>
                <a:lnTo>
                  <a:pt x="251745" y="149505"/>
                </a:lnTo>
                <a:lnTo>
                  <a:pt x="251639" y="149399"/>
                </a:lnTo>
                <a:lnTo>
                  <a:pt x="251586" y="149294"/>
                </a:lnTo>
                <a:lnTo>
                  <a:pt x="251586" y="149135"/>
                </a:lnTo>
                <a:lnTo>
                  <a:pt x="251639" y="149030"/>
                </a:lnTo>
                <a:lnTo>
                  <a:pt x="251850" y="148819"/>
                </a:lnTo>
                <a:lnTo>
                  <a:pt x="251956" y="148713"/>
                </a:lnTo>
                <a:lnTo>
                  <a:pt x="252009" y="148554"/>
                </a:lnTo>
                <a:lnTo>
                  <a:pt x="252009" y="148343"/>
                </a:lnTo>
                <a:lnTo>
                  <a:pt x="252009" y="148185"/>
                </a:lnTo>
                <a:lnTo>
                  <a:pt x="251903" y="148132"/>
                </a:lnTo>
                <a:lnTo>
                  <a:pt x="251903" y="148079"/>
                </a:lnTo>
                <a:lnTo>
                  <a:pt x="252009" y="148026"/>
                </a:lnTo>
                <a:lnTo>
                  <a:pt x="252220" y="147921"/>
                </a:lnTo>
                <a:lnTo>
                  <a:pt x="252326" y="147921"/>
                </a:lnTo>
                <a:lnTo>
                  <a:pt x="252378" y="147868"/>
                </a:lnTo>
                <a:lnTo>
                  <a:pt x="252326" y="147498"/>
                </a:lnTo>
                <a:lnTo>
                  <a:pt x="252326" y="147340"/>
                </a:lnTo>
                <a:lnTo>
                  <a:pt x="252431" y="147287"/>
                </a:lnTo>
                <a:lnTo>
                  <a:pt x="252537" y="147234"/>
                </a:lnTo>
                <a:lnTo>
                  <a:pt x="252748" y="147181"/>
                </a:lnTo>
                <a:lnTo>
                  <a:pt x="253487" y="147181"/>
                </a:lnTo>
                <a:lnTo>
                  <a:pt x="253487" y="147234"/>
                </a:lnTo>
                <a:lnTo>
                  <a:pt x="253012" y="147287"/>
                </a:lnTo>
                <a:lnTo>
                  <a:pt x="252801" y="147393"/>
                </a:lnTo>
                <a:lnTo>
                  <a:pt x="252642" y="147815"/>
                </a:lnTo>
                <a:lnTo>
                  <a:pt x="252642" y="147921"/>
                </a:lnTo>
                <a:lnTo>
                  <a:pt x="252642" y="148026"/>
                </a:lnTo>
                <a:lnTo>
                  <a:pt x="252590" y="148079"/>
                </a:lnTo>
                <a:lnTo>
                  <a:pt x="252537" y="148079"/>
                </a:lnTo>
                <a:lnTo>
                  <a:pt x="252431" y="148132"/>
                </a:lnTo>
                <a:lnTo>
                  <a:pt x="252378" y="148185"/>
                </a:lnTo>
                <a:lnTo>
                  <a:pt x="252378" y="148343"/>
                </a:lnTo>
                <a:lnTo>
                  <a:pt x="252378" y="148502"/>
                </a:lnTo>
                <a:lnTo>
                  <a:pt x="252484" y="148871"/>
                </a:lnTo>
                <a:lnTo>
                  <a:pt x="252484" y="148924"/>
                </a:lnTo>
                <a:lnTo>
                  <a:pt x="252484" y="148977"/>
                </a:lnTo>
                <a:lnTo>
                  <a:pt x="252484" y="149030"/>
                </a:lnTo>
                <a:lnTo>
                  <a:pt x="252431" y="149135"/>
                </a:lnTo>
                <a:lnTo>
                  <a:pt x="252326" y="149241"/>
                </a:lnTo>
                <a:lnTo>
                  <a:pt x="252220" y="149294"/>
                </a:lnTo>
                <a:lnTo>
                  <a:pt x="252114" y="149294"/>
                </a:lnTo>
                <a:lnTo>
                  <a:pt x="252114" y="149347"/>
                </a:lnTo>
                <a:lnTo>
                  <a:pt x="252114" y="149399"/>
                </a:lnTo>
                <a:lnTo>
                  <a:pt x="252114" y="149452"/>
                </a:lnTo>
                <a:lnTo>
                  <a:pt x="252114" y="149716"/>
                </a:lnTo>
                <a:lnTo>
                  <a:pt x="252114" y="149769"/>
                </a:lnTo>
                <a:lnTo>
                  <a:pt x="252114" y="149875"/>
                </a:lnTo>
                <a:lnTo>
                  <a:pt x="252062" y="149928"/>
                </a:lnTo>
                <a:lnTo>
                  <a:pt x="252062" y="149980"/>
                </a:lnTo>
                <a:lnTo>
                  <a:pt x="252062" y="150086"/>
                </a:lnTo>
                <a:lnTo>
                  <a:pt x="252062" y="150297"/>
                </a:lnTo>
                <a:lnTo>
                  <a:pt x="252062" y="150403"/>
                </a:lnTo>
                <a:lnTo>
                  <a:pt x="252062" y="150456"/>
                </a:lnTo>
                <a:lnTo>
                  <a:pt x="252062" y="150561"/>
                </a:lnTo>
                <a:lnTo>
                  <a:pt x="252167" y="150667"/>
                </a:lnTo>
                <a:lnTo>
                  <a:pt x="252167" y="150720"/>
                </a:lnTo>
                <a:lnTo>
                  <a:pt x="252167" y="150773"/>
                </a:lnTo>
                <a:lnTo>
                  <a:pt x="252167" y="150825"/>
                </a:lnTo>
                <a:lnTo>
                  <a:pt x="252062" y="150825"/>
                </a:lnTo>
                <a:lnTo>
                  <a:pt x="252114" y="151142"/>
                </a:lnTo>
                <a:lnTo>
                  <a:pt x="252114" y="151195"/>
                </a:lnTo>
                <a:lnTo>
                  <a:pt x="252273" y="151195"/>
                </a:lnTo>
                <a:lnTo>
                  <a:pt x="252273" y="151301"/>
                </a:lnTo>
                <a:lnTo>
                  <a:pt x="252273" y="151406"/>
                </a:lnTo>
                <a:lnTo>
                  <a:pt x="252273" y="151459"/>
                </a:lnTo>
                <a:lnTo>
                  <a:pt x="252431" y="151459"/>
                </a:lnTo>
                <a:lnTo>
                  <a:pt x="252431" y="151512"/>
                </a:lnTo>
                <a:lnTo>
                  <a:pt x="252431" y="151617"/>
                </a:lnTo>
                <a:lnTo>
                  <a:pt x="252431" y="151670"/>
                </a:lnTo>
                <a:lnTo>
                  <a:pt x="252484" y="151670"/>
                </a:lnTo>
                <a:lnTo>
                  <a:pt x="252484" y="151723"/>
                </a:lnTo>
                <a:lnTo>
                  <a:pt x="252537" y="151776"/>
                </a:lnTo>
                <a:lnTo>
                  <a:pt x="252801" y="151776"/>
                </a:lnTo>
                <a:lnTo>
                  <a:pt x="253118" y="151565"/>
                </a:lnTo>
                <a:lnTo>
                  <a:pt x="253065" y="151406"/>
                </a:lnTo>
                <a:lnTo>
                  <a:pt x="253065" y="151248"/>
                </a:lnTo>
                <a:lnTo>
                  <a:pt x="253329" y="150720"/>
                </a:lnTo>
                <a:lnTo>
                  <a:pt x="253382" y="150614"/>
                </a:lnTo>
                <a:lnTo>
                  <a:pt x="253276" y="150508"/>
                </a:lnTo>
                <a:lnTo>
                  <a:pt x="253276" y="150456"/>
                </a:lnTo>
                <a:lnTo>
                  <a:pt x="253593" y="150350"/>
                </a:lnTo>
                <a:lnTo>
                  <a:pt x="253646" y="150297"/>
                </a:lnTo>
                <a:lnTo>
                  <a:pt x="253699" y="150350"/>
                </a:lnTo>
                <a:lnTo>
                  <a:pt x="253646" y="150403"/>
                </a:lnTo>
                <a:lnTo>
                  <a:pt x="253593" y="150403"/>
                </a:lnTo>
                <a:lnTo>
                  <a:pt x="253487" y="150456"/>
                </a:lnTo>
                <a:lnTo>
                  <a:pt x="253487" y="150508"/>
                </a:lnTo>
                <a:lnTo>
                  <a:pt x="253593" y="150614"/>
                </a:lnTo>
                <a:lnTo>
                  <a:pt x="253487" y="150773"/>
                </a:lnTo>
                <a:lnTo>
                  <a:pt x="253329" y="150984"/>
                </a:lnTo>
                <a:lnTo>
                  <a:pt x="253276" y="151089"/>
                </a:lnTo>
                <a:lnTo>
                  <a:pt x="253329" y="151406"/>
                </a:lnTo>
                <a:lnTo>
                  <a:pt x="253435" y="151512"/>
                </a:lnTo>
                <a:lnTo>
                  <a:pt x="253699" y="151512"/>
                </a:lnTo>
                <a:lnTo>
                  <a:pt x="253699" y="151829"/>
                </a:lnTo>
                <a:lnTo>
                  <a:pt x="253593" y="151934"/>
                </a:lnTo>
                <a:lnTo>
                  <a:pt x="253593" y="152040"/>
                </a:lnTo>
                <a:lnTo>
                  <a:pt x="253646" y="152304"/>
                </a:lnTo>
                <a:lnTo>
                  <a:pt x="253646" y="152462"/>
                </a:lnTo>
                <a:lnTo>
                  <a:pt x="253593" y="152462"/>
                </a:lnTo>
                <a:lnTo>
                  <a:pt x="253540" y="152410"/>
                </a:lnTo>
                <a:lnTo>
                  <a:pt x="253435" y="152304"/>
                </a:lnTo>
                <a:lnTo>
                  <a:pt x="253329" y="152198"/>
                </a:lnTo>
                <a:lnTo>
                  <a:pt x="253329" y="152093"/>
                </a:lnTo>
                <a:lnTo>
                  <a:pt x="253276" y="151987"/>
                </a:lnTo>
                <a:lnTo>
                  <a:pt x="253171" y="151987"/>
                </a:lnTo>
                <a:lnTo>
                  <a:pt x="253065" y="152040"/>
                </a:lnTo>
                <a:lnTo>
                  <a:pt x="252854" y="152304"/>
                </a:lnTo>
                <a:lnTo>
                  <a:pt x="253065" y="152515"/>
                </a:lnTo>
                <a:lnTo>
                  <a:pt x="253065" y="152568"/>
                </a:lnTo>
                <a:lnTo>
                  <a:pt x="253065" y="152674"/>
                </a:lnTo>
                <a:lnTo>
                  <a:pt x="253065" y="152779"/>
                </a:lnTo>
                <a:lnTo>
                  <a:pt x="253065" y="152832"/>
                </a:lnTo>
                <a:lnTo>
                  <a:pt x="253382" y="153307"/>
                </a:lnTo>
                <a:lnTo>
                  <a:pt x="253540" y="153624"/>
                </a:lnTo>
                <a:lnTo>
                  <a:pt x="253646" y="153783"/>
                </a:lnTo>
                <a:lnTo>
                  <a:pt x="253751" y="153835"/>
                </a:lnTo>
                <a:lnTo>
                  <a:pt x="253857" y="153677"/>
                </a:lnTo>
                <a:lnTo>
                  <a:pt x="253910" y="153466"/>
                </a:lnTo>
                <a:lnTo>
                  <a:pt x="253857" y="153096"/>
                </a:lnTo>
                <a:lnTo>
                  <a:pt x="253857" y="152938"/>
                </a:lnTo>
                <a:lnTo>
                  <a:pt x="253910" y="152991"/>
                </a:lnTo>
                <a:lnTo>
                  <a:pt x="253963" y="153096"/>
                </a:lnTo>
                <a:lnTo>
                  <a:pt x="253963" y="153149"/>
                </a:lnTo>
                <a:lnTo>
                  <a:pt x="254015" y="153202"/>
                </a:lnTo>
                <a:lnTo>
                  <a:pt x="254015" y="153096"/>
                </a:lnTo>
                <a:lnTo>
                  <a:pt x="254015" y="152938"/>
                </a:lnTo>
                <a:lnTo>
                  <a:pt x="254068" y="152726"/>
                </a:lnTo>
                <a:lnTo>
                  <a:pt x="254121" y="152621"/>
                </a:lnTo>
                <a:lnTo>
                  <a:pt x="254174" y="152568"/>
                </a:lnTo>
                <a:lnTo>
                  <a:pt x="255864" y="152885"/>
                </a:lnTo>
                <a:lnTo>
                  <a:pt x="255969" y="152885"/>
                </a:lnTo>
                <a:lnTo>
                  <a:pt x="256181" y="153149"/>
                </a:lnTo>
                <a:lnTo>
                  <a:pt x="256233" y="153202"/>
                </a:lnTo>
                <a:lnTo>
                  <a:pt x="256128" y="153202"/>
                </a:lnTo>
                <a:lnTo>
                  <a:pt x="255653" y="152991"/>
                </a:lnTo>
                <a:lnTo>
                  <a:pt x="255547" y="152938"/>
                </a:lnTo>
                <a:lnTo>
                  <a:pt x="255441" y="152938"/>
                </a:lnTo>
                <a:lnTo>
                  <a:pt x="255389" y="152991"/>
                </a:lnTo>
                <a:lnTo>
                  <a:pt x="255336" y="152991"/>
                </a:lnTo>
                <a:lnTo>
                  <a:pt x="255177" y="152938"/>
                </a:lnTo>
                <a:lnTo>
                  <a:pt x="254913" y="152779"/>
                </a:lnTo>
                <a:lnTo>
                  <a:pt x="254808" y="152726"/>
                </a:lnTo>
                <a:lnTo>
                  <a:pt x="254596" y="152674"/>
                </a:lnTo>
                <a:lnTo>
                  <a:pt x="254544" y="152674"/>
                </a:lnTo>
                <a:lnTo>
                  <a:pt x="254491" y="152885"/>
                </a:lnTo>
                <a:lnTo>
                  <a:pt x="254544" y="153730"/>
                </a:lnTo>
                <a:lnTo>
                  <a:pt x="254544" y="153994"/>
                </a:lnTo>
                <a:lnTo>
                  <a:pt x="254596" y="154100"/>
                </a:lnTo>
                <a:lnTo>
                  <a:pt x="254755" y="154205"/>
                </a:lnTo>
                <a:lnTo>
                  <a:pt x="254913" y="154311"/>
                </a:lnTo>
                <a:lnTo>
                  <a:pt x="255124" y="154416"/>
                </a:lnTo>
                <a:lnTo>
                  <a:pt x="255230" y="154469"/>
                </a:lnTo>
                <a:lnTo>
                  <a:pt x="255389" y="154733"/>
                </a:lnTo>
                <a:lnTo>
                  <a:pt x="255917" y="154997"/>
                </a:lnTo>
                <a:lnTo>
                  <a:pt x="255969" y="155103"/>
                </a:lnTo>
                <a:lnTo>
                  <a:pt x="256128" y="155209"/>
                </a:lnTo>
                <a:lnTo>
                  <a:pt x="256339" y="155209"/>
                </a:lnTo>
                <a:lnTo>
                  <a:pt x="256339" y="155314"/>
                </a:lnTo>
                <a:lnTo>
                  <a:pt x="256392" y="155473"/>
                </a:lnTo>
                <a:lnTo>
                  <a:pt x="256498" y="155631"/>
                </a:lnTo>
                <a:lnTo>
                  <a:pt x="256656" y="155895"/>
                </a:lnTo>
                <a:lnTo>
                  <a:pt x="256709" y="156001"/>
                </a:lnTo>
                <a:lnTo>
                  <a:pt x="257026" y="156159"/>
                </a:lnTo>
                <a:lnTo>
                  <a:pt x="257078" y="156159"/>
                </a:lnTo>
                <a:lnTo>
                  <a:pt x="257078" y="156212"/>
                </a:lnTo>
                <a:lnTo>
                  <a:pt x="256920" y="156212"/>
                </a:lnTo>
                <a:lnTo>
                  <a:pt x="256814" y="156159"/>
                </a:lnTo>
                <a:lnTo>
                  <a:pt x="256603" y="155895"/>
                </a:lnTo>
                <a:lnTo>
                  <a:pt x="256498" y="155789"/>
                </a:lnTo>
                <a:lnTo>
                  <a:pt x="256392" y="155631"/>
                </a:lnTo>
                <a:lnTo>
                  <a:pt x="256339" y="155578"/>
                </a:lnTo>
                <a:lnTo>
                  <a:pt x="256128" y="155473"/>
                </a:lnTo>
                <a:lnTo>
                  <a:pt x="255019" y="154786"/>
                </a:lnTo>
                <a:lnTo>
                  <a:pt x="254808" y="154733"/>
                </a:lnTo>
                <a:lnTo>
                  <a:pt x="254702" y="154680"/>
                </a:lnTo>
                <a:lnTo>
                  <a:pt x="254649" y="154575"/>
                </a:lnTo>
                <a:lnTo>
                  <a:pt x="254596" y="154522"/>
                </a:lnTo>
                <a:lnTo>
                  <a:pt x="254544" y="154469"/>
                </a:lnTo>
                <a:lnTo>
                  <a:pt x="254491" y="154364"/>
                </a:lnTo>
                <a:lnTo>
                  <a:pt x="254438" y="154364"/>
                </a:lnTo>
                <a:lnTo>
                  <a:pt x="254385" y="154416"/>
                </a:lnTo>
                <a:lnTo>
                  <a:pt x="254121" y="154416"/>
                </a:lnTo>
                <a:lnTo>
                  <a:pt x="254068" y="154469"/>
                </a:lnTo>
                <a:lnTo>
                  <a:pt x="254068" y="154628"/>
                </a:lnTo>
                <a:lnTo>
                  <a:pt x="254015" y="155103"/>
                </a:lnTo>
                <a:lnTo>
                  <a:pt x="254015" y="155209"/>
                </a:lnTo>
                <a:lnTo>
                  <a:pt x="254068" y="155209"/>
                </a:lnTo>
                <a:lnTo>
                  <a:pt x="254280" y="155578"/>
                </a:lnTo>
                <a:lnTo>
                  <a:pt x="254649" y="155578"/>
                </a:lnTo>
                <a:lnTo>
                  <a:pt x="254966" y="155525"/>
                </a:lnTo>
                <a:lnTo>
                  <a:pt x="255072" y="155420"/>
                </a:lnTo>
                <a:lnTo>
                  <a:pt x="255653" y="155420"/>
                </a:lnTo>
                <a:lnTo>
                  <a:pt x="255494" y="155525"/>
                </a:lnTo>
                <a:lnTo>
                  <a:pt x="255072" y="155578"/>
                </a:lnTo>
                <a:lnTo>
                  <a:pt x="254913" y="155737"/>
                </a:lnTo>
                <a:lnTo>
                  <a:pt x="254808" y="155895"/>
                </a:lnTo>
                <a:lnTo>
                  <a:pt x="254808" y="155948"/>
                </a:lnTo>
                <a:lnTo>
                  <a:pt x="254808" y="156212"/>
                </a:lnTo>
                <a:lnTo>
                  <a:pt x="254808" y="156476"/>
                </a:lnTo>
                <a:lnTo>
                  <a:pt x="254808" y="156529"/>
                </a:lnTo>
                <a:lnTo>
                  <a:pt x="254966" y="156846"/>
                </a:lnTo>
                <a:lnTo>
                  <a:pt x="255019" y="156951"/>
                </a:lnTo>
                <a:lnTo>
                  <a:pt x="255072" y="157004"/>
                </a:lnTo>
                <a:lnTo>
                  <a:pt x="255177" y="157004"/>
                </a:lnTo>
                <a:lnTo>
                  <a:pt x="255177" y="156951"/>
                </a:lnTo>
                <a:lnTo>
                  <a:pt x="255230" y="156951"/>
                </a:lnTo>
                <a:lnTo>
                  <a:pt x="255389" y="157004"/>
                </a:lnTo>
                <a:lnTo>
                  <a:pt x="255441" y="157004"/>
                </a:lnTo>
                <a:lnTo>
                  <a:pt x="255494" y="156898"/>
                </a:lnTo>
                <a:lnTo>
                  <a:pt x="255547" y="156898"/>
                </a:lnTo>
                <a:lnTo>
                  <a:pt x="255547" y="156951"/>
                </a:lnTo>
                <a:lnTo>
                  <a:pt x="255547" y="157004"/>
                </a:lnTo>
                <a:lnTo>
                  <a:pt x="255547" y="157163"/>
                </a:lnTo>
                <a:lnTo>
                  <a:pt x="255547" y="157215"/>
                </a:lnTo>
                <a:lnTo>
                  <a:pt x="255283" y="157215"/>
                </a:lnTo>
                <a:lnTo>
                  <a:pt x="255177" y="157268"/>
                </a:lnTo>
                <a:lnTo>
                  <a:pt x="255019" y="157374"/>
                </a:lnTo>
                <a:lnTo>
                  <a:pt x="255072" y="157585"/>
                </a:lnTo>
                <a:lnTo>
                  <a:pt x="255177" y="157691"/>
                </a:lnTo>
                <a:lnTo>
                  <a:pt x="255336" y="157796"/>
                </a:lnTo>
                <a:lnTo>
                  <a:pt x="255864" y="157796"/>
                </a:lnTo>
                <a:lnTo>
                  <a:pt x="256022" y="157849"/>
                </a:lnTo>
                <a:lnTo>
                  <a:pt x="256181" y="157849"/>
                </a:lnTo>
                <a:lnTo>
                  <a:pt x="256286" y="157796"/>
                </a:lnTo>
                <a:lnTo>
                  <a:pt x="256603" y="157796"/>
                </a:lnTo>
                <a:lnTo>
                  <a:pt x="256709" y="157743"/>
                </a:lnTo>
                <a:lnTo>
                  <a:pt x="256920" y="157479"/>
                </a:lnTo>
                <a:lnTo>
                  <a:pt x="257026" y="157479"/>
                </a:lnTo>
                <a:lnTo>
                  <a:pt x="257026" y="157691"/>
                </a:lnTo>
                <a:lnTo>
                  <a:pt x="256920" y="157796"/>
                </a:lnTo>
                <a:lnTo>
                  <a:pt x="256762" y="157902"/>
                </a:lnTo>
                <a:lnTo>
                  <a:pt x="256392" y="157902"/>
                </a:lnTo>
                <a:lnTo>
                  <a:pt x="256392" y="157955"/>
                </a:lnTo>
                <a:lnTo>
                  <a:pt x="256022" y="158166"/>
                </a:lnTo>
                <a:lnTo>
                  <a:pt x="255177" y="158113"/>
                </a:lnTo>
                <a:lnTo>
                  <a:pt x="255019" y="158113"/>
                </a:lnTo>
                <a:lnTo>
                  <a:pt x="254966" y="158166"/>
                </a:lnTo>
                <a:lnTo>
                  <a:pt x="254966" y="158272"/>
                </a:lnTo>
                <a:lnTo>
                  <a:pt x="254966" y="158377"/>
                </a:lnTo>
                <a:lnTo>
                  <a:pt x="254913" y="158377"/>
                </a:lnTo>
                <a:lnTo>
                  <a:pt x="254966" y="158483"/>
                </a:lnTo>
                <a:lnTo>
                  <a:pt x="254966" y="158641"/>
                </a:lnTo>
                <a:lnTo>
                  <a:pt x="254860" y="158800"/>
                </a:lnTo>
                <a:lnTo>
                  <a:pt x="254755" y="158905"/>
                </a:lnTo>
                <a:lnTo>
                  <a:pt x="254649" y="158905"/>
                </a:lnTo>
                <a:lnTo>
                  <a:pt x="254649" y="158958"/>
                </a:lnTo>
                <a:lnTo>
                  <a:pt x="254702" y="159011"/>
                </a:lnTo>
                <a:lnTo>
                  <a:pt x="254808" y="159011"/>
                </a:lnTo>
                <a:lnTo>
                  <a:pt x="254966" y="159064"/>
                </a:lnTo>
                <a:lnTo>
                  <a:pt x="255019" y="159064"/>
                </a:lnTo>
                <a:lnTo>
                  <a:pt x="255124" y="159169"/>
                </a:lnTo>
                <a:lnTo>
                  <a:pt x="255283" y="159169"/>
                </a:lnTo>
                <a:lnTo>
                  <a:pt x="255547" y="159328"/>
                </a:lnTo>
                <a:lnTo>
                  <a:pt x="255758" y="159539"/>
                </a:lnTo>
                <a:lnTo>
                  <a:pt x="255917" y="159539"/>
                </a:lnTo>
                <a:lnTo>
                  <a:pt x="256022" y="159433"/>
                </a:lnTo>
                <a:lnTo>
                  <a:pt x="256075" y="159275"/>
                </a:lnTo>
                <a:lnTo>
                  <a:pt x="256128" y="158958"/>
                </a:lnTo>
                <a:lnTo>
                  <a:pt x="256181" y="158905"/>
                </a:lnTo>
                <a:lnTo>
                  <a:pt x="256233" y="158905"/>
                </a:lnTo>
                <a:lnTo>
                  <a:pt x="256286" y="159011"/>
                </a:lnTo>
                <a:lnTo>
                  <a:pt x="256233" y="159116"/>
                </a:lnTo>
                <a:lnTo>
                  <a:pt x="256286" y="159169"/>
                </a:lnTo>
                <a:lnTo>
                  <a:pt x="256445" y="159169"/>
                </a:lnTo>
                <a:lnTo>
                  <a:pt x="256445" y="159116"/>
                </a:lnTo>
                <a:lnTo>
                  <a:pt x="256392" y="159116"/>
                </a:lnTo>
                <a:lnTo>
                  <a:pt x="256498" y="158958"/>
                </a:lnTo>
                <a:lnTo>
                  <a:pt x="256603" y="159011"/>
                </a:lnTo>
                <a:lnTo>
                  <a:pt x="256709" y="159169"/>
                </a:lnTo>
                <a:lnTo>
                  <a:pt x="256550" y="159169"/>
                </a:lnTo>
                <a:lnTo>
                  <a:pt x="256550" y="159275"/>
                </a:lnTo>
                <a:lnTo>
                  <a:pt x="256550" y="159328"/>
                </a:lnTo>
                <a:lnTo>
                  <a:pt x="256550" y="159381"/>
                </a:lnTo>
                <a:lnTo>
                  <a:pt x="256550" y="159433"/>
                </a:lnTo>
                <a:lnTo>
                  <a:pt x="256550" y="159486"/>
                </a:lnTo>
                <a:lnTo>
                  <a:pt x="256550" y="159539"/>
                </a:lnTo>
                <a:lnTo>
                  <a:pt x="256550" y="159592"/>
                </a:lnTo>
                <a:lnTo>
                  <a:pt x="256603" y="159592"/>
                </a:lnTo>
                <a:lnTo>
                  <a:pt x="256656" y="159539"/>
                </a:lnTo>
                <a:lnTo>
                  <a:pt x="256920" y="159539"/>
                </a:lnTo>
                <a:lnTo>
                  <a:pt x="256973" y="159592"/>
                </a:lnTo>
                <a:lnTo>
                  <a:pt x="257078" y="159697"/>
                </a:lnTo>
                <a:lnTo>
                  <a:pt x="257342" y="159856"/>
                </a:lnTo>
                <a:lnTo>
                  <a:pt x="257659" y="159856"/>
                </a:lnTo>
                <a:lnTo>
                  <a:pt x="257765" y="160014"/>
                </a:lnTo>
                <a:lnTo>
                  <a:pt x="257871" y="160067"/>
                </a:lnTo>
                <a:lnTo>
                  <a:pt x="257976" y="159909"/>
                </a:lnTo>
                <a:lnTo>
                  <a:pt x="258082" y="159592"/>
                </a:lnTo>
                <a:lnTo>
                  <a:pt x="258082" y="159539"/>
                </a:lnTo>
                <a:lnTo>
                  <a:pt x="258240" y="159433"/>
                </a:lnTo>
                <a:lnTo>
                  <a:pt x="258240" y="159486"/>
                </a:lnTo>
                <a:lnTo>
                  <a:pt x="258240" y="159592"/>
                </a:lnTo>
                <a:lnTo>
                  <a:pt x="258240" y="159645"/>
                </a:lnTo>
                <a:lnTo>
                  <a:pt x="258187" y="159697"/>
                </a:lnTo>
                <a:lnTo>
                  <a:pt x="258187" y="159750"/>
                </a:lnTo>
                <a:lnTo>
                  <a:pt x="258399" y="160278"/>
                </a:lnTo>
                <a:lnTo>
                  <a:pt x="258399" y="160542"/>
                </a:lnTo>
                <a:lnTo>
                  <a:pt x="258293" y="160542"/>
                </a:lnTo>
                <a:lnTo>
                  <a:pt x="258187" y="160437"/>
                </a:lnTo>
                <a:lnTo>
                  <a:pt x="258082" y="160437"/>
                </a:lnTo>
                <a:lnTo>
                  <a:pt x="258029" y="160490"/>
                </a:lnTo>
                <a:lnTo>
                  <a:pt x="257976" y="160437"/>
                </a:lnTo>
                <a:lnTo>
                  <a:pt x="257923" y="160331"/>
                </a:lnTo>
                <a:lnTo>
                  <a:pt x="257765" y="160331"/>
                </a:lnTo>
                <a:lnTo>
                  <a:pt x="257659" y="160384"/>
                </a:lnTo>
                <a:lnTo>
                  <a:pt x="257712" y="160490"/>
                </a:lnTo>
                <a:lnTo>
                  <a:pt x="257765" y="160595"/>
                </a:lnTo>
                <a:lnTo>
                  <a:pt x="257871" y="160701"/>
                </a:lnTo>
                <a:lnTo>
                  <a:pt x="257923" y="160754"/>
                </a:lnTo>
                <a:lnTo>
                  <a:pt x="257923" y="160912"/>
                </a:lnTo>
                <a:lnTo>
                  <a:pt x="257976" y="160912"/>
                </a:lnTo>
                <a:lnTo>
                  <a:pt x="258240" y="161176"/>
                </a:lnTo>
                <a:lnTo>
                  <a:pt x="258240" y="161229"/>
                </a:lnTo>
                <a:lnTo>
                  <a:pt x="258240" y="161282"/>
                </a:lnTo>
                <a:lnTo>
                  <a:pt x="258240" y="161387"/>
                </a:lnTo>
                <a:lnTo>
                  <a:pt x="258240" y="161440"/>
                </a:lnTo>
                <a:lnTo>
                  <a:pt x="258293" y="161493"/>
                </a:lnTo>
                <a:lnTo>
                  <a:pt x="258716" y="161863"/>
                </a:lnTo>
                <a:lnTo>
                  <a:pt x="259402" y="162285"/>
                </a:lnTo>
                <a:lnTo>
                  <a:pt x="259508" y="162285"/>
                </a:lnTo>
                <a:lnTo>
                  <a:pt x="259561" y="162232"/>
                </a:lnTo>
                <a:lnTo>
                  <a:pt x="259561" y="162021"/>
                </a:lnTo>
                <a:lnTo>
                  <a:pt x="259825" y="162021"/>
                </a:lnTo>
                <a:lnTo>
                  <a:pt x="259825" y="162391"/>
                </a:lnTo>
                <a:lnTo>
                  <a:pt x="259930" y="162285"/>
                </a:lnTo>
                <a:lnTo>
                  <a:pt x="260036" y="162232"/>
                </a:lnTo>
                <a:lnTo>
                  <a:pt x="260089" y="162232"/>
                </a:lnTo>
                <a:lnTo>
                  <a:pt x="260194" y="162285"/>
                </a:lnTo>
                <a:lnTo>
                  <a:pt x="259930" y="162285"/>
                </a:lnTo>
                <a:lnTo>
                  <a:pt x="259930" y="162444"/>
                </a:lnTo>
                <a:lnTo>
                  <a:pt x="259930" y="162496"/>
                </a:lnTo>
                <a:lnTo>
                  <a:pt x="259719" y="162655"/>
                </a:lnTo>
                <a:lnTo>
                  <a:pt x="259719" y="162760"/>
                </a:lnTo>
                <a:lnTo>
                  <a:pt x="259666" y="162866"/>
                </a:lnTo>
                <a:lnTo>
                  <a:pt x="259402" y="163183"/>
                </a:lnTo>
                <a:lnTo>
                  <a:pt x="259508" y="163236"/>
                </a:lnTo>
                <a:lnTo>
                  <a:pt x="259613" y="163236"/>
                </a:lnTo>
                <a:lnTo>
                  <a:pt x="259719" y="163288"/>
                </a:lnTo>
                <a:lnTo>
                  <a:pt x="259772" y="163447"/>
                </a:lnTo>
                <a:lnTo>
                  <a:pt x="259508" y="163447"/>
                </a:lnTo>
                <a:lnTo>
                  <a:pt x="259455" y="163500"/>
                </a:lnTo>
                <a:lnTo>
                  <a:pt x="259349" y="163605"/>
                </a:lnTo>
                <a:lnTo>
                  <a:pt x="259296" y="163764"/>
                </a:lnTo>
                <a:lnTo>
                  <a:pt x="259349" y="163869"/>
                </a:lnTo>
                <a:lnTo>
                  <a:pt x="259455" y="163869"/>
                </a:lnTo>
                <a:lnTo>
                  <a:pt x="259666" y="164028"/>
                </a:lnTo>
                <a:lnTo>
                  <a:pt x="259772" y="164028"/>
                </a:lnTo>
                <a:lnTo>
                  <a:pt x="260141" y="163922"/>
                </a:lnTo>
                <a:lnTo>
                  <a:pt x="260353" y="163764"/>
                </a:lnTo>
                <a:lnTo>
                  <a:pt x="260458" y="163764"/>
                </a:lnTo>
                <a:lnTo>
                  <a:pt x="260300" y="164081"/>
                </a:lnTo>
                <a:lnTo>
                  <a:pt x="260247" y="164292"/>
                </a:lnTo>
                <a:lnTo>
                  <a:pt x="260247" y="164503"/>
                </a:lnTo>
                <a:lnTo>
                  <a:pt x="260247" y="164662"/>
                </a:lnTo>
                <a:lnTo>
                  <a:pt x="260247" y="164714"/>
                </a:lnTo>
                <a:lnTo>
                  <a:pt x="260300" y="164767"/>
                </a:lnTo>
                <a:lnTo>
                  <a:pt x="260511" y="164978"/>
                </a:lnTo>
                <a:lnTo>
                  <a:pt x="260511" y="165031"/>
                </a:lnTo>
                <a:lnTo>
                  <a:pt x="260722" y="165137"/>
                </a:lnTo>
                <a:lnTo>
                  <a:pt x="260881" y="165190"/>
                </a:lnTo>
                <a:lnTo>
                  <a:pt x="260986" y="165401"/>
                </a:lnTo>
                <a:lnTo>
                  <a:pt x="260986" y="165559"/>
                </a:lnTo>
                <a:lnTo>
                  <a:pt x="261092" y="165982"/>
                </a:lnTo>
                <a:lnTo>
                  <a:pt x="261145" y="165929"/>
                </a:lnTo>
                <a:lnTo>
                  <a:pt x="261356" y="166035"/>
                </a:lnTo>
                <a:lnTo>
                  <a:pt x="261409" y="166035"/>
                </a:lnTo>
                <a:lnTo>
                  <a:pt x="261462" y="165982"/>
                </a:lnTo>
                <a:lnTo>
                  <a:pt x="261567" y="165982"/>
                </a:lnTo>
                <a:lnTo>
                  <a:pt x="261831" y="166087"/>
                </a:lnTo>
                <a:lnTo>
                  <a:pt x="261937" y="166087"/>
                </a:lnTo>
                <a:lnTo>
                  <a:pt x="261990" y="166193"/>
                </a:lnTo>
                <a:lnTo>
                  <a:pt x="261990" y="166563"/>
                </a:lnTo>
                <a:lnTo>
                  <a:pt x="261990" y="166721"/>
                </a:lnTo>
                <a:lnTo>
                  <a:pt x="262254" y="167249"/>
                </a:lnTo>
                <a:lnTo>
                  <a:pt x="262412" y="167302"/>
                </a:lnTo>
                <a:lnTo>
                  <a:pt x="263310" y="167355"/>
                </a:lnTo>
                <a:lnTo>
                  <a:pt x="263521" y="167460"/>
                </a:lnTo>
                <a:lnTo>
                  <a:pt x="263785" y="167460"/>
                </a:lnTo>
                <a:lnTo>
                  <a:pt x="263997" y="167302"/>
                </a:lnTo>
                <a:lnTo>
                  <a:pt x="264102" y="167302"/>
                </a:lnTo>
                <a:lnTo>
                  <a:pt x="264261" y="167355"/>
                </a:lnTo>
                <a:lnTo>
                  <a:pt x="264102" y="167355"/>
                </a:lnTo>
                <a:lnTo>
                  <a:pt x="264049" y="167408"/>
                </a:lnTo>
                <a:lnTo>
                  <a:pt x="263891" y="167619"/>
                </a:lnTo>
                <a:lnTo>
                  <a:pt x="263785" y="167725"/>
                </a:lnTo>
                <a:lnTo>
                  <a:pt x="263732" y="167725"/>
                </a:lnTo>
                <a:lnTo>
                  <a:pt x="263257" y="167566"/>
                </a:lnTo>
                <a:lnTo>
                  <a:pt x="262676" y="167566"/>
                </a:lnTo>
                <a:lnTo>
                  <a:pt x="262359" y="167672"/>
                </a:lnTo>
                <a:lnTo>
                  <a:pt x="262043" y="167777"/>
                </a:lnTo>
                <a:lnTo>
                  <a:pt x="261990" y="167883"/>
                </a:lnTo>
                <a:lnTo>
                  <a:pt x="261990" y="168622"/>
                </a:lnTo>
                <a:lnTo>
                  <a:pt x="262095" y="169150"/>
                </a:lnTo>
                <a:lnTo>
                  <a:pt x="262095" y="169256"/>
                </a:lnTo>
                <a:lnTo>
                  <a:pt x="262043" y="169256"/>
                </a:lnTo>
                <a:lnTo>
                  <a:pt x="262043" y="169414"/>
                </a:lnTo>
                <a:lnTo>
                  <a:pt x="262043" y="169520"/>
                </a:lnTo>
                <a:lnTo>
                  <a:pt x="261779" y="169520"/>
                </a:lnTo>
                <a:lnTo>
                  <a:pt x="261620" y="169573"/>
                </a:lnTo>
                <a:lnTo>
                  <a:pt x="261567" y="169678"/>
                </a:lnTo>
                <a:lnTo>
                  <a:pt x="261567" y="169784"/>
                </a:lnTo>
                <a:lnTo>
                  <a:pt x="261620" y="169943"/>
                </a:lnTo>
                <a:lnTo>
                  <a:pt x="261620" y="170101"/>
                </a:lnTo>
                <a:lnTo>
                  <a:pt x="261567" y="170207"/>
                </a:lnTo>
                <a:lnTo>
                  <a:pt x="261462" y="170365"/>
                </a:lnTo>
                <a:lnTo>
                  <a:pt x="261409" y="170523"/>
                </a:lnTo>
                <a:lnTo>
                  <a:pt x="261567" y="170629"/>
                </a:lnTo>
                <a:lnTo>
                  <a:pt x="261620" y="170735"/>
                </a:lnTo>
                <a:lnTo>
                  <a:pt x="261514" y="170840"/>
                </a:lnTo>
                <a:lnTo>
                  <a:pt x="261039" y="170840"/>
                </a:lnTo>
                <a:lnTo>
                  <a:pt x="260986" y="170893"/>
                </a:lnTo>
                <a:lnTo>
                  <a:pt x="260986" y="171052"/>
                </a:lnTo>
                <a:lnTo>
                  <a:pt x="260986" y="171263"/>
                </a:lnTo>
                <a:lnTo>
                  <a:pt x="261039" y="171527"/>
                </a:lnTo>
                <a:lnTo>
                  <a:pt x="260934" y="171474"/>
                </a:lnTo>
                <a:lnTo>
                  <a:pt x="260722" y="171210"/>
                </a:lnTo>
                <a:lnTo>
                  <a:pt x="260670" y="171157"/>
                </a:lnTo>
                <a:lnTo>
                  <a:pt x="260564" y="171263"/>
                </a:lnTo>
                <a:lnTo>
                  <a:pt x="260564" y="171368"/>
                </a:lnTo>
                <a:lnTo>
                  <a:pt x="260617" y="171527"/>
                </a:lnTo>
                <a:lnTo>
                  <a:pt x="260722" y="171580"/>
                </a:lnTo>
                <a:lnTo>
                  <a:pt x="260775" y="171738"/>
                </a:lnTo>
                <a:lnTo>
                  <a:pt x="260934" y="172372"/>
                </a:lnTo>
                <a:lnTo>
                  <a:pt x="260986" y="172636"/>
                </a:lnTo>
                <a:lnTo>
                  <a:pt x="261145" y="172794"/>
                </a:lnTo>
                <a:lnTo>
                  <a:pt x="261831" y="173217"/>
                </a:lnTo>
                <a:lnTo>
                  <a:pt x="261937" y="173322"/>
                </a:lnTo>
                <a:lnTo>
                  <a:pt x="261990" y="173322"/>
                </a:lnTo>
                <a:lnTo>
                  <a:pt x="261990" y="173270"/>
                </a:lnTo>
                <a:lnTo>
                  <a:pt x="261990" y="173164"/>
                </a:lnTo>
                <a:lnTo>
                  <a:pt x="262043" y="173111"/>
                </a:lnTo>
                <a:lnTo>
                  <a:pt x="262095" y="173111"/>
                </a:lnTo>
                <a:lnTo>
                  <a:pt x="262095" y="172953"/>
                </a:lnTo>
                <a:lnTo>
                  <a:pt x="262043" y="172847"/>
                </a:lnTo>
                <a:lnTo>
                  <a:pt x="261990" y="172794"/>
                </a:lnTo>
                <a:lnTo>
                  <a:pt x="261990" y="172741"/>
                </a:lnTo>
                <a:lnTo>
                  <a:pt x="262043" y="172741"/>
                </a:lnTo>
                <a:lnTo>
                  <a:pt x="262043" y="172636"/>
                </a:lnTo>
                <a:lnTo>
                  <a:pt x="261937" y="172530"/>
                </a:lnTo>
                <a:lnTo>
                  <a:pt x="261884" y="172425"/>
                </a:lnTo>
                <a:lnTo>
                  <a:pt x="261884" y="172372"/>
                </a:lnTo>
                <a:lnTo>
                  <a:pt x="261779" y="172161"/>
                </a:lnTo>
                <a:lnTo>
                  <a:pt x="261726" y="172055"/>
                </a:lnTo>
                <a:lnTo>
                  <a:pt x="262307" y="172636"/>
                </a:lnTo>
                <a:lnTo>
                  <a:pt x="262307" y="172583"/>
                </a:lnTo>
                <a:lnTo>
                  <a:pt x="262307" y="172530"/>
                </a:lnTo>
                <a:lnTo>
                  <a:pt x="262307" y="172477"/>
                </a:lnTo>
                <a:lnTo>
                  <a:pt x="262518" y="172266"/>
                </a:lnTo>
                <a:lnTo>
                  <a:pt x="262571" y="172055"/>
                </a:lnTo>
                <a:lnTo>
                  <a:pt x="262571" y="171791"/>
                </a:lnTo>
                <a:lnTo>
                  <a:pt x="262412" y="171527"/>
                </a:lnTo>
                <a:lnTo>
                  <a:pt x="262623" y="171580"/>
                </a:lnTo>
                <a:lnTo>
                  <a:pt x="262729" y="171527"/>
                </a:lnTo>
                <a:lnTo>
                  <a:pt x="262782" y="171421"/>
                </a:lnTo>
                <a:lnTo>
                  <a:pt x="262835" y="171316"/>
                </a:lnTo>
                <a:lnTo>
                  <a:pt x="262888" y="171210"/>
                </a:lnTo>
                <a:lnTo>
                  <a:pt x="262940" y="170999"/>
                </a:lnTo>
                <a:lnTo>
                  <a:pt x="262940" y="170787"/>
                </a:lnTo>
                <a:lnTo>
                  <a:pt x="262835" y="170735"/>
                </a:lnTo>
                <a:lnTo>
                  <a:pt x="262623" y="170682"/>
                </a:lnTo>
                <a:lnTo>
                  <a:pt x="262307" y="170471"/>
                </a:lnTo>
                <a:lnTo>
                  <a:pt x="262201" y="170471"/>
                </a:lnTo>
                <a:lnTo>
                  <a:pt x="262254" y="170418"/>
                </a:lnTo>
                <a:lnTo>
                  <a:pt x="262518" y="170418"/>
                </a:lnTo>
                <a:lnTo>
                  <a:pt x="262571" y="170365"/>
                </a:lnTo>
                <a:lnTo>
                  <a:pt x="262729" y="170312"/>
                </a:lnTo>
                <a:lnTo>
                  <a:pt x="262782" y="170259"/>
                </a:lnTo>
                <a:lnTo>
                  <a:pt x="263152" y="170259"/>
                </a:lnTo>
                <a:lnTo>
                  <a:pt x="263257" y="170101"/>
                </a:lnTo>
                <a:lnTo>
                  <a:pt x="263363" y="170101"/>
                </a:lnTo>
                <a:lnTo>
                  <a:pt x="263521" y="169943"/>
                </a:lnTo>
                <a:lnTo>
                  <a:pt x="263574" y="169890"/>
                </a:lnTo>
                <a:lnTo>
                  <a:pt x="263574" y="169837"/>
                </a:lnTo>
                <a:lnTo>
                  <a:pt x="263732" y="169837"/>
                </a:lnTo>
                <a:lnTo>
                  <a:pt x="263891" y="169784"/>
                </a:lnTo>
                <a:lnTo>
                  <a:pt x="264208" y="169414"/>
                </a:lnTo>
                <a:lnTo>
                  <a:pt x="264261" y="169520"/>
                </a:lnTo>
                <a:lnTo>
                  <a:pt x="264366" y="169467"/>
                </a:lnTo>
                <a:lnTo>
                  <a:pt x="264472" y="169362"/>
                </a:lnTo>
                <a:lnTo>
                  <a:pt x="264577" y="169256"/>
                </a:lnTo>
                <a:lnTo>
                  <a:pt x="264683" y="169467"/>
                </a:lnTo>
                <a:lnTo>
                  <a:pt x="264789" y="169626"/>
                </a:lnTo>
                <a:lnTo>
                  <a:pt x="264935" y="169674"/>
                </a:lnTo>
                <a:lnTo>
                  <a:pt x="264789" y="169784"/>
                </a:lnTo>
                <a:lnTo>
                  <a:pt x="264630" y="169837"/>
                </a:lnTo>
                <a:lnTo>
                  <a:pt x="264419" y="169784"/>
                </a:lnTo>
                <a:lnTo>
                  <a:pt x="264313" y="169784"/>
                </a:lnTo>
                <a:lnTo>
                  <a:pt x="264208" y="169890"/>
                </a:lnTo>
                <a:lnTo>
                  <a:pt x="264208" y="169943"/>
                </a:lnTo>
                <a:lnTo>
                  <a:pt x="264102" y="169995"/>
                </a:lnTo>
                <a:lnTo>
                  <a:pt x="263785" y="169995"/>
                </a:lnTo>
                <a:lnTo>
                  <a:pt x="263838" y="170101"/>
                </a:lnTo>
                <a:lnTo>
                  <a:pt x="263891" y="170259"/>
                </a:lnTo>
                <a:lnTo>
                  <a:pt x="263944" y="170365"/>
                </a:lnTo>
                <a:lnTo>
                  <a:pt x="263997" y="170418"/>
                </a:lnTo>
                <a:lnTo>
                  <a:pt x="264366" y="170418"/>
                </a:lnTo>
                <a:lnTo>
                  <a:pt x="264472" y="170471"/>
                </a:lnTo>
                <a:lnTo>
                  <a:pt x="264313" y="170576"/>
                </a:lnTo>
                <a:lnTo>
                  <a:pt x="263363" y="170523"/>
                </a:lnTo>
                <a:lnTo>
                  <a:pt x="263310" y="170576"/>
                </a:lnTo>
                <a:lnTo>
                  <a:pt x="263310" y="170787"/>
                </a:lnTo>
                <a:lnTo>
                  <a:pt x="263363" y="170893"/>
                </a:lnTo>
                <a:lnTo>
                  <a:pt x="263521" y="170946"/>
                </a:lnTo>
                <a:lnTo>
                  <a:pt x="263574" y="170999"/>
                </a:lnTo>
                <a:lnTo>
                  <a:pt x="263680" y="170946"/>
                </a:lnTo>
                <a:lnTo>
                  <a:pt x="263785" y="170946"/>
                </a:lnTo>
                <a:lnTo>
                  <a:pt x="263944" y="170893"/>
                </a:lnTo>
                <a:lnTo>
                  <a:pt x="263997" y="170787"/>
                </a:lnTo>
                <a:lnTo>
                  <a:pt x="263997" y="170682"/>
                </a:lnTo>
                <a:lnTo>
                  <a:pt x="264049" y="170735"/>
                </a:lnTo>
                <a:lnTo>
                  <a:pt x="264049" y="170840"/>
                </a:lnTo>
                <a:lnTo>
                  <a:pt x="264049" y="170893"/>
                </a:lnTo>
                <a:lnTo>
                  <a:pt x="264155" y="170946"/>
                </a:lnTo>
                <a:lnTo>
                  <a:pt x="264208" y="171052"/>
                </a:lnTo>
                <a:lnTo>
                  <a:pt x="264049" y="171104"/>
                </a:lnTo>
                <a:lnTo>
                  <a:pt x="263521" y="171157"/>
                </a:lnTo>
                <a:lnTo>
                  <a:pt x="263363" y="171210"/>
                </a:lnTo>
                <a:lnTo>
                  <a:pt x="263204" y="171316"/>
                </a:lnTo>
                <a:lnTo>
                  <a:pt x="263152" y="171421"/>
                </a:lnTo>
                <a:lnTo>
                  <a:pt x="263152" y="171632"/>
                </a:lnTo>
                <a:lnTo>
                  <a:pt x="263204" y="171685"/>
                </a:lnTo>
                <a:lnTo>
                  <a:pt x="263416" y="171474"/>
                </a:lnTo>
                <a:lnTo>
                  <a:pt x="263468" y="171421"/>
                </a:lnTo>
                <a:lnTo>
                  <a:pt x="263732" y="171474"/>
                </a:lnTo>
                <a:lnTo>
                  <a:pt x="263944" y="171421"/>
                </a:lnTo>
                <a:lnTo>
                  <a:pt x="263997" y="171421"/>
                </a:lnTo>
                <a:lnTo>
                  <a:pt x="263997" y="171474"/>
                </a:lnTo>
                <a:lnTo>
                  <a:pt x="263944" y="171527"/>
                </a:lnTo>
                <a:lnTo>
                  <a:pt x="263680" y="171580"/>
                </a:lnTo>
                <a:lnTo>
                  <a:pt x="263521" y="171580"/>
                </a:lnTo>
                <a:lnTo>
                  <a:pt x="263521" y="171685"/>
                </a:lnTo>
                <a:lnTo>
                  <a:pt x="263521" y="171844"/>
                </a:lnTo>
                <a:lnTo>
                  <a:pt x="263416" y="171844"/>
                </a:lnTo>
                <a:lnTo>
                  <a:pt x="263416" y="171896"/>
                </a:lnTo>
                <a:lnTo>
                  <a:pt x="263363" y="172002"/>
                </a:lnTo>
                <a:lnTo>
                  <a:pt x="263363" y="172161"/>
                </a:lnTo>
                <a:lnTo>
                  <a:pt x="263363" y="172266"/>
                </a:lnTo>
                <a:lnTo>
                  <a:pt x="263416" y="172425"/>
                </a:lnTo>
                <a:lnTo>
                  <a:pt x="263468" y="172425"/>
                </a:lnTo>
                <a:lnTo>
                  <a:pt x="263732" y="172477"/>
                </a:lnTo>
                <a:lnTo>
                  <a:pt x="263785" y="172583"/>
                </a:lnTo>
                <a:lnTo>
                  <a:pt x="263680" y="172900"/>
                </a:lnTo>
                <a:lnTo>
                  <a:pt x="263680" y="172953"/>
                </a:lnTo>
                <a:lnTo>
                  <a:pt x="263416" y="172953"/>
                </a:lnTo>
                <a:lnTo>
                  <a:pt x="263363" y="173006"/>
                </a:lnTo>
                <a:lnTo>
                  <a:pt x="263257" y="173111"/>
                </a:lnTo>
                <a:lnTo>
                  <a:pt x="263204" y="173217"/>
                </a:lnTo>
                <a:lnTo>
                  <a:pt x="262782" y="173534"/>
                </a:lnTo>
                <a:lnTo>
                  <a:pt x="262729" y="173639"/>
                </a:lnTo>
                <a:lnTo>
                  <a:pt x="262782" y="173850"/>
                </a:lnTo>
                <a:lnTo>
                  <a:pt x="262888" y="173956"/>
                </a:lnTo>
                <a:lnTo>
                  <a:pt x="263099" y="174220"/>
                </a:lnTo>
                <a:lnTo>
                  <a:pt x="263152" y="174326"/>
                </a:lnTo>
                <a:lnTo>
                  <a:pt x="263310" y="174537"/>
                </a:lnTo>
                <a:lnTo>
                  <a:pt x="263416" y="174643"/>
                </a:lnTo>
                <a:lnTo>
                  <a:pt x="263680" y="174748"/>
                </a:lnTo>
                <a:lnTo>
                  <a:pt x="263838" y="174959"/>
                </a:lnTo>
                <a:lnTo>
                  <a:pt x="263944" y="175012"/>
                </a:lnTo>
                <a:lnTo>
                  <a:pt x="264102" y="175012"/>
                </a:lnTo>
                <a:lnTo>
                  <a:pt x="264155" y="174907"/>
                </a:lnTo>
                <a:lnTo>
                  <a:pt x="264313" y="174590"/>
                </a:lnTo>
                <a:lnTo>
                  <a:pt x="264366" y="174431"/>
                </a:lnTo>
                <a:lnTo>
                  <a:pt x="264366" y="174273"/>
                </a:lnTo>
                <a:lnTo>
                  <a:pt x="264261" y="174009"/>
                </a:lnTo>
                <a:lnTo>
                  <a:pt x="264208" y="173850"/>
                </a:lnTo>
                <a:lnTo>
                  <a:pt x="264155" y="173692"/>
                </a:lnTo>
                <a:lnTo>
                  <a:pt x="264155" y="173534"/>
                </a:lnTo>
                <a:lnTo>
                  <a:pt x="264208" y="173375"/>
                </a:lnTo>
                <a:lnTo>
                  <a:pt x="264261" y="173270"/>
                </a:lnTo>
                <a:lnTo>
                  <a:pt x="264419" y="173164"/>
                </a:lnTo>
                <a:lnTo>
                  <a:pt x="264525" y="173111"/>
                </a:lnTo>
                <a:lnTo>
                  <a:pt x="264630" y="173111"/>
                </a:lnTo>
                <a:lnTo>
                  <a:pt x="264419" y="173481"/>
                </a:lnTo>
                <a:lnTo>
                  <a:pt x="264366" y="173692"/>
                </a:lnTo>
                <a:lnTo>
                  <a:pt x="264366" y="173956"/>
                </a:lnTo>
                <a:lnTo>
                  <a:pt x="264419" y="174062"/>
                </a:lnTo>
                <a:lnTo>
                  <a:pt x="264472" y="174167"/>
                </a:lnTo>
                <a:lnTo>
                  <a:pt x="264577" y="174273"/>
                </a:lnTo>
                <a:lnTo>
                  <a:pt x="264577" y="174379"/>
                </a:lnTo>
                <a:lnTo>
                  <a:pt x="264577" y="174484"/>
                </a:lnTo>
                <a:lnTo>
                  <a:pt x="264419" y="174643"/>
                </a:lnTo>
                <a:lnTo>
                  <a:pt x="264366" y="174748"/>
                </a:lnTo>
                <a:lnTo>
                  <a:pt x="264577" y="174643"/>
                </a:lnTo>
                <a:lnTo>
                  <a:pt x="264630" y="174590"/>
                </a:lnTo>
                <a:lnTo>
                  <a:pt x="264683" y="174484"/>
                </a:lnTo>
                <a:lnTo>
                  <a:pt x="264789" y="174326"/>
                </a:lnTo>
                <a:lnTo>
                  <a:pt x="264789" y="174220"/>
                </a:lnTo>
                <a:lnTo>
                  <a:pt x="264894" y="174115"/>
                </a:lnTo>
                <a:lnTo>
                  <a:pt x="264947" y="174062"/>
                </a:lnTo>
                <a:lnTo>
                  <a:pt x="265053" y="173798"/>
                </a:lnTo>
                <a:lnTo>
                  <a:pt x="265053" y="173586"/>
                </a:lnTo>
                <a:lnTo>
                  <a:pt x="265053" y="173322"/>
                </a:lnTo>
                <a:lnTo>
                  <a:pt x="264841" y="172636"/>
                </a:lnTo>
                <a:lnTo>
                  <a:pt x="264841" y="172372"/>
                </a:lnTo>
                <a:lnTo>
                  <a:pt x="264894" y="172161"/>
                </a:lnTo>
                <a:lnTo>
                  <a:pt x="264947" y="172161"/>
                </a:lnTo>
                <a:lnTo>
                  <a:pt x="265000" y="172319"/>
                </a:lnTo>
                <a:lnTo>
                  <a:pt x="265000" y="172741"/>
                </a:lnTo>
                <a:lnTo>
                  <a:pt x="265000" y="172794"/>
                </a:lnTo>
                <a:lnTo>
                  <a:pt x="265158" y="173164"/>
                </a:lnTo>
                <a:lnTo>
                  <a:pt x="265158" y="173270"/>
                </a:lnTo>
                <a:lnTo>
                  <a:pt x="265211" y="173639"/>
                </a:lnTo>
                <a:lnTo>
                  <a:pt x="265211" y="173692"/>
                </a:lnTo>
                <a:lnTo>
                  <a:pt x="265264" y="173798"/>
                </a:lnTo>
                <a:lnTo>
                  <a:pt x="265211" y="173956"/>
                </a:lnTo>
                <a:lnTo>
                  <a:pt x="265053" y="174220"/>
                </a:lnTo>
                <a:lnTo>
                  <a:pt x="265000" y="174326"/>
                </a:lnTo>
                <a:lnTo>
                  <a:pt x="264894" y="174326"/>
                </a:lnTo>
                <a:lnTo>
                  <a:pt x="264841" y="174379"/>
                </a:lnTo>
                <a:lnTo>
                  <a:pt x="264841" y="174484"/>
                </a:lnTo>
                <a:lnTo>
                  <a:pt x="264841" y="174590"/>
                </a:lnTo>
                <a:lnTo>
                  <a:pt x="264789" y="174748"/>
                </a:lnTo>
                <a:lnTo>
                  <a:pt x="264736" y="174959"/>
                </a:lnTo>
                <a:lnTo>
                  <a:pt x="264577" y="174959"/>
                </a:lnTo>
                <a:lnTo>
                  <a:pt x="264472" y="175012"/>
                </a:lnTo>
                <a:lnTo>
                  <a:pt x="264419" y="175171"/>
                </a:lnTo>
                <a:lnTo>
                  <a:pt x="264472" y="175276"/>
                </a:lnTo>
                <a:lnTo>
                  <a:pt x="264630" y="175382"/>
                </a:lnTo>
                <a:lnTo>
                  <a:pt x="264736" y="175435"/>
                </a:lnTo>
                <a:lnTo>
                  <a:pt x="264947" y="175435"/>
                </a:lnTo>
                <a:lnTo>
                  <a:pt x="265106" y="175382"/>
                </a:lnTo>
                <a:lnTo>
                  <a:pt x="265211" y="175276"/>
                </a:lnTo>
                <a:lnTo>
                  <a:pt x="265317" y="175171"/>
                </a:lnTo>
                <a:lnTo>
                  <a:pt x="265370" y="175012"/>
                </a:lnTo>
                <a:lnTo>
                  <a:pt x="265370" y="174959"/>
                </a:lnTo>
                <a:lnTo>
                  <a:pt x="265317" y="174748"/>
                </a:lnTo>
                <a:lnTo>
                  <a:pt x="265264" y="174590"/>
                </a:lnTo>
                <a:lnTo>
                  <a:pt x="265370" y="174484"/>
                </a:lnTo>
                <a:lnTo>
                  <a:pt x="265475" y="174379"/>
                </a:lnTo>
                <a:lnTo>
                  <a:pt x="265581" y="174379"/>
                </a:lnTo>
                <a:lnTo>
                  <a:pt x="265528" y="174273"/>
                </a:lnTo>
                <a:lnTo>
                  <a:pt x="265634" y="174273"/>
                </a:lnTo>
                <a:lnTo>
                  <a:pt x="265686" y="174326"/>
                </a:lnTo>
                <a:lnTo>
                  <a:pt x="265686" y="174431"/>
                </a:lnTo>
                <a:lnTo>
                  <a:pt x="265686" y="174695"/>
                </a:lnTo>
                <a:lnTo>
                  <a:pt x="265686" y="174748"/>
                </a:lnTo>
                <a:lnTo>
                  <a:pt x="265686" y="174801"/>
                </a:lnTo>
                <a:lnTo>
                  <a:pt x="265686" y="174959"/>
                </a:lnTo>
                <a:lnTo>
                  <a:pt x="265686" y="175012"/>
                </a:lnTo>
                <a:lnTo>
                  <a:pt x="265581" y="175224"/>
                </a:lnTo>
                <a:lnTo>
                  <a:pt x="265475" y="175435"/>
                </a:lnTo>
                <a:lnTo>
                  <a:pt x="265211" y="175699"/>
                </a:lnTo>
                <a:lnTo>
                  <a:pt x="265422" y="175804"/>
                </a:lnTo>
                <a:lnTo>
                  <a:pt x="265581" y="176016"/>
                </a:lnTo>
                <a:lnTo>
                  <a:pt x="265792" y="176121"/>
                </a:lnTo>
                <a:lnTo>
                  <a:pt x="266003" y="175963"/>
                </a:lnTo>
                <a:lnTo>
                  <a:pt x="266003" y="175910"/>
                </a:lnTo>
                <a:lnTo>
                  <a:pt x="266003" y="175804"/>
                </a:lnTo>
                <a:lnTo>
                  <a:pt x="266003" y="175752"/>
                </a:lnTo>
                <a:lnTo>
                  <a:pt x="266056" y="175699"/>
                </a:lnTo>
                <a:lnTo>
                  <a:pt x="266162" y="175699"/>
                </a:lnTo>
                <a:lnTo>
                  <a:pt x="266267" y="175646"/>
                </a:lnTo>
                <a:lnTo>
                  <a:pt x="266373" y="175540"/>
                </a:lnTo>
                <a:lnTo>
                  <a:pt x="266373" y="175382"/>
                </a:lnTo>
                <a:lnTo>
                  <a:pt x="266426" y="175065"/>
                </a:lnTo>
                <a:lnTo>
                  <a:pt x="266479" y="174907"/>
                </a:lnTo>
                <a:lnTo>
                  <a:pt x="266479" y="174801"/>
                </a:lnTo>
                <a:lnTo>
                  <a:pt x="266479" y="174695"/>
                </a:lnTo>
                <a:lnTo>
                  <a:pt x="266479" y="174537"/>
                </a:lnTo>
                <a:lnTo>
                  <a:pt x="266479" y="174431"/>
                </a:lnTo>
                <a:lnTo>
                  <a:pt x="266479" y="174379"/>
                </a:lnTo>
                <a:lnTo>
                  <a:pt x="266479" y="174326"/>
                </a:lnTo>
                <a:lnTo>
                  <a:pt x="266479" y="174220"/>
                </a:lnTo>
                <a:lnTo>
                  <a:pt x="266531" y="174167"/>
                </a:lnTo>
                <a:lnTo>
                  <a:pt x="266584" y="174167"/>
                </a:lnTo>
                <a:lnTo>
                  <a:pt x="266637" y="174273"/>
                </a:lnTo>
                <a:lnTo>
                  <a:pt x="266690" y="174379"/>
                </a:lnTo>
                <a:lnTo>
                  <a:pt x="266743" y="174379"/>
                </a:lnTo>
                <a:lnTo>
                  <a:pt x="266743" y="174273"/>
                </a:lnTo>
                <a:lnTo>
                  <a:pt x="266743" y="173956"/>
                </a:lnTo>
                <a:lnTo>
                  <a:pt x="266743" y="173903"/>
                </a:lnTo>
                <a:lnTo>
                  <a:pt x="266690" y="173692"/>
                </a:lnTo>
                <a:lnTo>
                  <a:pt x="266690" y="173639"/>
                </a:lnTo>
                <a:lnTo>
                  <a:pt x="266690" y="173534"/>
                </a:lnTo>
                <a:lnTo>
                  <a:pt x="266690" y="173481"/>
                </a:lnTo>
                <a:lnTo>
                  <a:pt x="266690" y="173375"/>
                </a:lnTo>
                <a:lnTo>
                  <a:pt x="266690" y="173270"/>
                </a:lnTo>
                <a:lnTo>
                  <a:pt x="266690" y="173111"/>
                </a:lnTo>
                <a:lnTo>
                  <a:pt x="266690" y="172847"/>
                </a:lnTo>
                <a:lnTo>
                  <a:pt x="266795" y="172900"/>
                </a:lnTo>
                <a:lnTo>
                  <a:pt x="266848" y="172794"/>
                </a:lnTo>
                <a:lnTo>
                  <a:pt x="266848" y="172741"/>
                </a:lnTo>
                <a:lnTo>
                  <a:pt x="266743" y="172741"/>
                </a:lnTo>
                <a:lnTo>
                  <a:pt x="266743" y="172583"/>
                </a:lnTo>
                <a:lnTo>
                  <a:pt x="266848" y="172425"/>
                </a:lnTo>
                <a:lnTo>
                  <a:pt x="266848" y="172266"/>
                </a:lnTo>
                <a:lnTo>
                  <a:pt x="266848" y="172161"/>
                </a:lnTo>
                <a:lnTo>
                  <a:pt x="266690" y="172002"/>
                </a:lnTo>
                <a:lnTo>
                  <a:pt x="266690" y="171949"/>
                </a:lnTo>
                <a:lnTo>
                  <a:pt x="266690" y="171844"/>
                </a:lnTo>
                <a:lnTo>
                  <a:pt x="266690" y="171738"/>
                </a:lnTo>
                <a:lnTo>
                  <a:pt x="266479" y="171421"/>
                </a:lnTo>
                <a:lnTo>
                  <a:pt x="266373" y="171210"/>
                </a:lnTo>
                <a:lnTo>
                  <a:pt x="266373" y="170999"/>
                </a:lnTo>
                <a:lnTo>
                  <a:pt x="265686" y="169890"/>
                </a:lnTo>
                <a:lnTo>
                  <a:pt x="265528" y="169731"/>
                </a:lnTo>
                <a:lnTo>
                  <a:pt x="265422" y="169626"/>
                </a:lnTo>
                <a:lnTo>
                  <a:pt x="265211" y="169520"/>
                </a:lnTo>
                <a:lnTo>
                  <a:pt x="265000" y="169626"/>
                </a:lnTo>
                <a:lnTo>
                  <a:pt x="265000" y="169626"/>
                </a:lnTo>
                <a:lnTo>
                  <a:pt x="265053" y="169573"/>
                </a:lnTo>
                <a:lnTo>
                  <a:pt x="265106" y="169520"/>
                </a:lnTo>
                <a:lnTo>
                  <a:pt x="265158" y="169467"/>
                </a:lnTo>
                <a:lnTo>
                  <a:pt x="265634" y="169256"/>
                </a:lnTo>
                <a:lnTo>
                  <a:pt x="265739" y="169098"/>
                </a:lnTo>
                <a:lnTo>
                  <a:pt x="265898" y="168992"/>
                </a:lnTo>
                <a:lnTo>
                  <a:pt x="265951" y="168939"/>
                </a:lnTo>
                <a:lnTo>
                  <a:pt x="266056" y="168728"/>
                </a:lnTo>
                <a:lnTo>
                  <a:pt x="266162" y="168622"/>
                </a:lnTo>
                <a:lnTo>
                  <a:pt x="266215" y="168517"/>
                </a:lnTo>
                <a:lnTo>
                  <a:pt x="266479" y="168411"/>
                </a:lnTo>
                <a:lnTo>
                  <a:pt x="266479" y="168411"/>
                </a:lnTo>
                <a:lnTo>
                  <a:pt x="266215" y="168728"/>
                </a:lnTo>
                <a:lnTo>
                  <a:pt x="266162" y="168886"/>
                </a:lnTo>
                <a:lnTo>
                  <a:pt x="266320" y="168886"/>
                </a:lnTo>
                <a:lnTo>
                  <a:pt x="265898" y="169203"/>
                </a:lnTo>
                <a:lnTo>
                  <a:pt x="265686" y="169467"/>
                </a:lnTo>
                <a:lnTo>
                  <a:pt x="265634" y="169573"/>
                </a:lnTo>
                <a:lnTo>
                  <a:pt x="265739" y="169573"/>
                </a:lnTo>
                <a:lnTo>
                  <a:pt x="265739" y="169731"/>
                </a:lnTo>
                <a:lnTo>
                  <a:pt x="265792" y="169837"/>
                </a:lnTo>
                <a:lnTo>
                  <a:pt x="265845" y="169890"/>
                </a:lnTo>
                <a:lnTo>
                  <a:pt x="266056" y="169890"/>
                </a:lnTo>
                <a:lnTo>
                  <a:pt x="266056" y="169943"/>
                </a:lnTo>
                <a:lnTo>
                  <a:pt x="266320" y="170207"/>
                </a:lnTo>
                <a:lnTo>
                  <a:pt x="266373" y="170312"/>
                </a:lnTo>
                <a:lnTo>
                  <a:pt x="266531" y="170735"/>
                </a:lnTo>
                <a:lnTo>
                  <a:pt x="266584" y="170840"/>
                </a:lnTo>
                <a:lnTo>
                  <a:pt x="266690" y="170840"/>
                </a:lnTo>
                <a:lnTo>
                  <a:pt x="266743" y="170893"/>
                </a:lnTo>
                <a:lnTo>
                  <a:pt x="266795" y="170893"/>
                </a:lnTo>
                <a:lnTo>
                  <a:pt x="266954" y="170787"/>
                </a:lnTo>
                <a:lnTo>
                  <a:pt x="267060" y="170893"/>
                </a:lnTo>
                <a:lnTo>
                  <a:pt x="267007" y="170946"/>
                </a:lnTo>
                <a:lnTo>
                  <a:pt x="266848" y="171104"/>
                </a:lnTo>
                <a:lnTo>
                  <a:pt x="266901" y="171210"/>
                </a:lnTo>
                <a:lnTo>
                  <a:pt x="267060" y="171421"/>
                </a:lnTo>
                <a:lnTo>
                  <a:pt x="267112" y="171580"/>
                </a:lnTo>
                <a:lnTo>
                  <a:pt x="267165" y="171685"/>
                </a:lnTo>
                <a:lnTo>
                  <a:pt x="267165" y="171738"/>
                </a:lnTo>
                <a:lnTo>
                  <a:pt x="267165" y="171791"/>
                </a:lnTo>
                <a:lnTo>
                  <a:pt x="267112" y="171896"/>
                </a:lnTo>
                <a:lnTo>
                  <a:pt x="267112" y="171949"/>
                </a:lnTo>
                <a:lnTo>
                  <a:pt x="267112" y="172108"/>
                </a:lnTo>
                <a:lnTo>
                  <a:pt x="267218" y="172319"/>
                </a:lnTo>
                <a:lnTo>
                  <a:pt x="267218" y="172425"/>
                </a:lnTo>
                <a:lnTo>
                  <a:pt x="267271" y="173058"/>
                </a:lnTo>
                <a:lnTo>
                  <a:pt x="267218" y="173164"/>
                </a:lnTo>
                <a:lnTo>
                  <a:pt x="267165" y="173903"/>
                </a:lnTo>
                <a:lnTo>
                  <a:pt x="267218" y="174801"/>
                </a:lnTo>
                <a:lnTo>
                  <a:pt x="267271" y="175065"/>
                </a:lnTo>
                <a:lnTo>
                  <a:pt x="267429" y="175118"/>
                </a:lnTo>
                <a:lnTo>
                  <a:pt x="267904" y="175012"/>
                </a:lnTo>
                <a:lnTo>
                  <a:pt x="268010" y="174959"/>
                </a:lnTo>
                <a:lnTo>
                  <a:pt x="268169" y="174748"/>
                </a:lnTo>
                <a:lnTo>
                  <a:pt x="268274" y="174748"/>
                </a:lnTo>
                <a:lnTo>
                  <a:pt x="268327" y="174854"/>
                </a:lnTo>
                <a:lnTo>
                  <a:pt x="268221" y="174907"/>
                </a:lnTo>
                <a:lnTo>
                  <a:pt x="268274" y="175012"/>
                </a:lnTo>
                <a:lnTo>
                  <a:pt x="268485" y="175171"/>
                </a:lnTo>
                <a:lnTo>
                  <a:pt x="268433" y="175224"/>
                </a:lnTo>
                <a:lnTo>
                  <a:pt x="267218" y="175224"/>
                </a:lnTo>
                <a:lnTo>
                  <a:pt x="267060" y="175171"/>
                </a:lnTo>
                <a:lnTo>
                  <a:pt x="267007" y="175171"/>
                </a:lnTo>
                <a:lnTo>
                  <a:pt x="266901" y="175224"/>
                </a:lnTo>
                <a:lnTo>
                  <a:pt x="266848" y="175435"/>
                </a:lnTo>
                <a:lnTo>
                  <a:pt x="266848" y="175488"/>
                </a:lnTo>
                <a:lnTo>
                  <a:pt x="266743" y="175540"/>
                </a:lnTo>
                <a:lnTo>
                  <a:pt x="266637" y="175646"/>
                </a:lnTo>
                <a:lnTo>
                  <a:pt x="266373" y="175963"/>
                </a:lnTo>
                <a:lnTo>
                  <a:pt x="266320" y="176068"/>
                </a:lnTo>
                <a:lnTo>
                  <a:pt x="266320" y="176438"/>
                </a:lnTo>
                <a:lnTo>
                  <a:pt x="266373" y="176544"/>
                </a:lnTo>
                <a:lnTo>
                  <a:pt x="266426" y="176702"/>
                </a:lnTo>
                <a:lnTo>
                  <a:pt x="266584" y="176808"/>
                </a:lnTo>
                <a:lnTo>
                  <a:pt x="266637" y="176913"/>
                </a:lnTo>
                <a:lnTo>
                  <a:pt x="266795" y="176913"/>
                </a:lnTo>
                <a:lnTo>
                  <a:pt x="267165" y="176755"/>
                </a:lnTo>
                <a:lnTo>
                  <a:pt x="267324" y="176544"/>
                </a:lnTo>
                <a:lnTo>
                  <a:pt x="267376" y="176491"/>
                </a:lnTo>
                <a:lnTo>
                  <a:pt x="267535" y="176438"/>
                </a:lnTo>
                <a:lnTo>
                  <a:pt x="267535" y="176491"/>
                </a:lnTo>
                <a:lnTo>
                  <a:pt x="267588" y="176755"/>
                </a:lnTo>
                <a:lnTo>
                  <a:pt x="267588" y="176808"/>
                </a:lnTo>
                <a:lnTo>
                  <a:pt x="267640" y="176861"/>
                </a:lnTo>
                <a:lnTo>
                  <a:pt x="267746" y="176861"/>
                </a:lnTo>
                <a:lnTo>
                  <a:pt x="268010" y="176333"/>
                </a:lnTo>
                <a:lnTo>
                  <a:pt x="268169" y="176174"/>
                </a:lnTo>
                <a:lnTo>
                  <a:pt x="268433" y="176016"/>
                </a:lnTo>
                <a:lnTo>
                  <a:pt x="268221" y="176227"/>
                </a:lnTo>
                <a:lnTo>
                  <a:pt x="268063" y="176491"/>
                </a:lnTo>
                <a:lnTo>
                  <a:pt x="267957" y="176649"/>
                </a:lnTo>
                <a:lnTo>
                  <a:pt x="267957" y="176755"/>
                </a:lnTo>
                <a:lnTo>
                  <a:pt x="267957" y="176966"/>
                </a:lnTo>
                <a:lnTo>
                  <a:pt x="267535" y="176966"/>
                </a:lnTo>
                <a:lnTo>
                  <a:pt x="267535" y="176913"/>
                </a:lnTo>
                <a:lnTo>
                  <a:pt x="267535" y="176861"/>
                </a:lnTo>
                <a:lnTo>
                  <a:pt x="267535" y="176808"/>
                </a:lnTo>
                <a:lnTo>
                  <a:pt x="267482" y="176755"/>
                </a:lnTo>
                <a:lnTo>
                  <a:pt x="267376" y="176755"/>
                </a:lnTo>
                <a:lnTo>
                  <a:pt x="267112" y="176913"/>
                </a:lnTo>
                <a:lnTo>
                  <a:pt x="266901" y="177019"/>
                </a:lnTo>
                <a:lnTo>
                  <a:pt x="266795" y="177125"/>
                </a:lnTo>
                <a:lnTo>
                  <a:pt x="266743" y="177230"/>
                </a:lnTo>
                <a:lnTo>
                  <a:pt x="266690" y="177442"/>
                </a:lnTo>
                <a:lnTo>
                  <a:pt x="266637" y="177547"/>
                </a:lnTo>
                <a:lnTo>
                  <a:pt x="266637" y="177653"/>
                </a:lnTo>
                <a:lnTo>
                  <a:pt x="266743" y="177653"/>
                </a:lnTo>
                <a:lnTo>
                  <a:pt x="266795" y="177758"/>
                </a:lnTo>
                <a:lnTo>
                  <a:pt x="266848" y="177864"/>
                </a:lnTo>
                <a:lnTo>
                  <a:pt x="266954" y="177917"/>
                </a:lnTo>
                <a:lnTo>
                  <a:pt x="267007" y="178075"/>
                </a:lnTo>
                <a:lnTo>
                  <a:pt x="266954" y="178234"/>
                </a:lnTo>
                <a:lnTo>
                  <a:pt x="266848" y="178234"/>
                </a:lnTo>
                <a:lnTo>
                  <a:pt x="266901" y="178392"/>
                </a:lnTo>
                <a:lnTo>
                  <a:pt x="266954" y="178498"/>
                </a:lnTo>
                <a:lnTo>
                  <a:pt x="267007" y="178603"/>
                </a:lnTo>
                <a:lnTo>
                  <a:pt x="266954" y="178762"/>
                </a:lnTo>
                <a:lnTo>
                  <a:pt x="267007" y="178815"/>
                </a:lnTo>
                <a:lnTo>
                  <a:pt x="266954" y="179079"/>
                </a:lnTo>
                <a:lnTo>
                  <a:pt x="267060" y="179237"/>
                </a:lnTo>
                <a:lnTo>
                  <a:pt x="267271" y="179501"/>
                </a:lnTo>
                <a:lnTo>
                  <a:pt x="267429" y="179554"/>
                </a:lnTo>
                <a:lnTo>
                  <a:pt x="267535" y="179448"/>
                </a:lnTo>
                <a:lnTo>
                  <a:pt x="267640" y="179237"/>
                </a:lnTo>
                <a:lnTo>
                  <a:pt x="267693" y="178973"/>
                </a:lnTo>
                <a:lnTo>
                  <a:pt x="267746" y="179079"/>
                </a:lnTo>
                <a:lnTo>
                  <a:pt x="267852" y="179079"/>
                </a:lnTo>
                <a:lnTo>
                  <a:pt x="267904" y="179026"/>
                </a:lnTo>
                <a:lnTo>
                  <a:pt x="267904" y="178920"/>
                </a:lnTo>
                <a:lnTo>
                  <a:pt x="267904" y="178815"/>
                </a:lnTo>
                <a:lnTo>
                  <a:pt x="267852" y="178709"/>
                </a:lnTo>
                <a:lnTo>
                  <a:pt x="267852" y="178498"/>
                </a:lnTo>
                <a:lnTo>
                  <a:pt x="267852" y="177970"/>
                </a:lnTo>
                <a:lnTo>
                  <a:pt x="267852" y="177864"/>
                </a:lnTo>
                <a:lnTo>
                  <a:pt x="267904" y="177864"/>
                </a:lnTo>
                <a:lnTo>
                  <a:pt x="267957" y="177970"/>
                </a:lnTo>
                <a:lnTo>
                  <a:pt x="267957" y="178022"/>
                </a:lnTo>
                <a:lnTo>
                  <a:pt x="267957" y="178128"/>
                </a:lnTo>
                <a:lnTo>
                  <a:pt x="267957" y="178286"/>
                </a:lnTo>
                <a:lnTo>
                  <a:pt x="267957" y="178392"/>
                </a:lnTo>
                <a:lnTo>
                  <a:pt x="267957" y="178551"/>
                </a:lnTo>
                <a:lnTo>
                  <a:pt x="267957" y="178709"/>
                </a:lnTo>
                <a:lnTo>
                  <a:pt x="268010" y="178867"/>
                </a:lnTo>
                <a:lnTo>
                  <a:pt x="268063" y="178973"/>
                </a:lnTo>
                <a:lnTo>
                  <a:pt x="268169" y="179131"/>
                </a:lnTo>
                <a:lnTo>
                  <a:pt x="268116" y="179184"/>
                </a:lnTo>
                <a:lnTo>
                  <a:pt x="267957" y="179184"/>
                </a:lnTo>
                <a:lnTo>
                  <a:pt x="267904" y="179237"/>
                </a:lnTo>
                <a:lnTo>
                  <a:pt x="267904" y="179343"/>
                </a:lnTo>
                <a:lnTo>
                  <a:pt x="267957" y="179448"/>
                </a:lnTo>
                <a:lnTo>
                  <a:pt x="268010" y="179501"/>
                </a:lnTo>
                <a:lnTo>
                  <a:pt x="268169" y="179501"/>
                </a:lnTo>
                <a:lnTo>
                  <a:pt x="268169" y="179448"/>
                </a:lnTo>
                <a:lnTo>
                  <a:pt x="268485" y="178920"/>
                </a:lnTo>
                <a:lnTo>
                  <a:pt x="268591" y="178815"/>
                </a:lnTo>
                <a:lnTo>
                  <a:pt x="268697" y="178815"/>
                </a:lnTo>
                <a:lnTo>
                  <a:pt x="268644" y="178867"/>
                </a:lnTo>
                <a:lnTo>
                  <a:pt x="268485" y="179131"/>
                </a:lnTo>
                <a:lnTo>
                  <a:pt x="268485" y="179184"/>
                </a:lnTo>
                <a:lnTo>
                  <a:pt x="268644" y="179184"/>
                </a:lnTo>
                <a:lnTo>
                  <a:pt x="269066" y="178867"/>
                </a:lnTo>
                <a:lnTo>
                  <a:pt x="269330" y="178551"/>
                </a:lnTo>
                <a:lnTo>
                  <a:pt x="269542" y="178445"/>
                </a:lnTo>
                <a:lnTo>
                  <a:pt x="269647" y="178339"/>
                </a:lnTo>
                <a:lnTo>
                  <a:pt x="269753" y="178075"/>
                </a:lnTo>
                <a:lnTo>
                  <a:pt x="269806" y="177970"/>
                </a:lnTo>
                <a:lnTo>
                  <a:pt x="269964" y="177811"/>
                </a:lnTo>
                <a:lnTo>
                  <a:pt x="270017" y="177706"/>
                </a:lnTo>
                <a:lnTo>
                  <a:pt x="270070" y="177547"/>
                </a:lnTo>
                <a:lnTo>
                  <a:pt x="270070" y="177442"/>
                </a:lnTo>
                <a:lnTo>
                  <a:pt x="270122" y="177389"/>
                </a:lnTo>
                <a:lnTo>
                  <a:pt x="270228" y="177283"/>
                </a:lnTo>
                <a:lnTo>
                  <a:pt x="270281" y="177230"/>
                </a:lnTo>
                <a:lnTo>
                  <a:pt x="270334" y="176913"/>
                </a:lnTo>
                <a:lnTo>
                  <a:pt x="270387" y="176702"/>
                </a:lnTo>
                <a:lnTo>
                  <a:pt x="270545" y="176597"/>
                </a:lnTo>
                <a:lnTo>
                  <a:pt x="270545" y="176491"/>
                </a:lnTo>
                <a:lnTo>
                  <a:pt x="270545" y="176333"/>
                </a:lnTo>
                <a:lnTo>
                  <a:pt x="270651" y="176280"/>
                </a:lnTo>
                <a:lnTo>
                  <a:pt x="270756" y="176121"/>
                </a:lnTo>
                <a:lnTo>
                  <a:pt x="270809" y="176016"/>
                </a:lnTo>
                <a:lnTo>
                  <a:pt x="270862" y="175963"/>
                </a:lnTo>
                <a:lnTo>
                  <a:pt x="270862" y="175857"/>
                </a:lnTo>
                <a:lnTo>
                  <a:pt x="270862" y="175752"/>
                </a:lnTo>
                <a:lnTo>
                  <a:pt x="270862" y="175699"/>
                </a:lnTo>
                <a:lnTo>
                  <a:pt x="270967" y="175699"/>
                </a:lnTo>
                <a:lnTo>
                  <a:pt x="271020" y="175646"/>
                </a:lnTo>
                <a:lnTo>
                  <a:pt x="271073" y="175540"/>
                </a:lnTo>
                <a:lnTo>
                  <a:pt x="271179" y="175435"/>
                </a:lnTo>
                <a:lnTo>
                  <a:pt x="271390" y="175276"/>
                </a:lnTo>
                <a:lnTo>
                  <a:pt x="271126" y="174907"/>
                </a:lnTo>
                <a:lnTo>
                  <a:pt x="271126" y="174748"/>
                </a:lnTo>
                <a:lnTo>
                  <a:pt x="271126" y="174590"/>
                </a:lnTo>
                <a:lnTo>
                  <a:pt x="271126" y="174167"/>
                </a:lnTo>
                <a:lnTo>
                  <a:pt x="271126" y="174009"/>
                </a:lnTo>
                <a:lnTo>
                  <a:pt x="271126" y="173903"/>
                </a:lnTo>
                <a:lnTo>
                  <a:pt x="270967" y="173692"/>
                </a:lnTo>
                <a:lnTo>
                  <a:pt x="270915" y="173586"/>
                </a:lnTo>
                <a:lnTo>
                  <a:pt x="270862" y="173375"/>
                </a:lnTo>
                <a:lnTo>
                  <a:pt x="270703" y="173058"/>
                </a:lnTo>
                <a:lnTo>
                  <a:pt x="270703" y="172794"/>
                </a:lnTo>
                <a:lnTo>
                  <a:pt x="270703" y="172741"/>
                </a:lnTo>
                <a:lnTo>
                  <a:pt x="270809" y="172477"/>
                </a:lnTo>
                <a:lnTo>
                  <a:pt x="270809" y="172319"/>
                </a:lnTo>
                <a:lnTo>
                  <a:pt x="270809" y="172161"/>
                </a:lnTo>
                <a:lnTo>
                  <a:pt x="270809" y="172002"/>
                </a:lnTo>
                <a:lnTo>
                  <a:pt x="270756" y="171844"/>
                </a:lnTo>
                <a:lnTo>
                  <a:pt x="270703" y="171791"/>
                </a:lnTo>
                <a:lnTo>
                  <a:pt x="270651" y="171632"/>
                </a:lnTo>
                <a:lnTo>
                  <a:pt x="270651" y="171580"/>
                </a:lnTo>
                <a:lnTo>
                  <a:pt x="270651" y="171474"/>
                </a:lnTo>
                <a:lnTo>
                  <a:pt x="270651" y="171421"/>
                </a:lnTo>
                <a:lnTo>
                  <a:pt x="270651" y="171263"/>
                </a:lnTo>
                <a:lnTo>
                  <a:pt x="270651" y="171210"/>
                </a:lnTo>
                <a:lnTo>
                  <a:pt x="270703" y="170999"/>
                </a:lnTo>
                <a:lnTo>
                  <a:pt x="270756" y="170893"/>
                </a:lnTo>
                <a:lnTo>
                  <a:pt x="270915" y="170735"/>
                </a:lnTo>
                <a:lnTo>
                  <a:pt x="271179" y="170365"/>
                </a:lnTo>
                <a:lnTo>
                  <a:pt x="271284" y="170101"/>
                </a:lnTo>
                <a:lnTo>
                  <a:pt x="271284" y="169943"/>
                </a:lnTo>
                <a:lnTo>
                  <a:pt x="271284" y="169573"/>
                </a:lnTo>
                <a:lnTo>
                  <a:pt x="271284" y="169256"/>
                </a:lnTo>
                <a:lnTo>
                  <a:pt x="271284" y="169098"/>
                </a:lnTo>
                <a:lnTo>
                  <a:pt x="271231" y="168886"/>
                </a:lnTo>
                <a:lnTo>
                  <a:pt x="271073" y="168569"/>
                </a:lnTo>
                <a:lnTo>
                  <a:pt x="270967" y="168411"/>
                </a:lnTo>
                <a:lnTo>
                  <a:pt x="270862" y="168411"/>
                </a:lnTo>
                <a:lnTo>
                  <a:pt x="270387" y="168569"/>
                </a:lnTo>
                <a:lnTo>
                  <a:pt x="270228" y="168569"/>
                </a:lnTo>
                <a:lnTo>
                  <a:pt x="270017" y="168464"/>
                </a:lnTo>
                <a:lnTo>
                  <a:pt x="269489" y="168305"/>
                </a:lnTo>
                <a:lnTo>
                  <a:pt x="269436" y="168253"/>
                </a:lnTo>
                <a:lnTo>
                  <a:pt x="269383" y="168094"/>
                </a:lnTo>
                <a:lnTo>
                  <a:pt x="269225" y="167566"/>
                </a:lnTo>
                <a:lnTo>
                  <a:pt x="269172" y="167408"/>
                </a:lnTo>
                <a:lnTo>
                  <a:pt x="269066" y="167355"/>
                </a:lnTo>
                <a:lnTo>
                  <a:pt x="268538" y="167249"/>
                </a:lnTo>
                <a:lnTo>
                  <a:pt x="268327" y="167091"/>
                </a:lnTo>
                <a:lnTo>
                  <a:pt x="267799" y="166404"/>
                </a:lnTo>
                <a:lnTo>
                  <a:pt x="267429" y="166193"/>
                </a:lnTo>
                <a:lnTo>
                  <a:pt x="266584" y="166035"/>
                </a:lnTo>
                <a:lnTo>
                  <a:pt x="266162" y="165876"/>
                </a:lnTo>
                <a:lnTo>
                  <a:pt x="265634" y="165506"/>
                </a:lnTo>
                <a:lnTo>
                  <a:pt x="265000" y="165031"/>
                </a:lnTo>
                <a:lnTo>
                  <a:pt x="264366" y="164556"/>
                </a:lnTo>
                <a:lnTo>
                  <a:pt x="264155" y="164345"/>
                </a:lnTo>
                <a:lnTo>
                  <a:pt x="264049" y="164292"/>
                </a:lnTo>
                <a:lnTo>
                  <a:pt x="263891" y="164292"/>
                </a:lnTo>
                <a:lnTo>
                  <a:pt x="263416" y="164345"/>
                </a:lnTo>
                <a:lnTo>
                  <a:pt x="262888" y="164345"/>
                </a:lnTo>
                <a:lnTo>
                  <a:pt x="262782" y="164292"/>
                </a:lnTo>
                <a:lnTo>
                  <a:pt x="262729" y="164239"/>
                </a:lnTo>
                <a:lnTo>
                  <a:pt x="262729" y="163869"/>
                </a:lnTo>
                <a:lnTo>
                  <a:pt x="262729" y="163711"/>
                </a:lnTo>
                <a:lnTo>
                  <a:pt x="262729" y="163553"/>
                </a:lnTo>
                <a:lnTo>
                  <a:pt x="262571" y="163288"/>
                </a:lnTo>
                <a:lnTo>
                  <a:pt x="262518" y="163130"/>
                </a:lnTo>
                <a:lnTo>
                  <a:pt x="262518" y="163077"/>
                </a:lnTo>
                <a:lnTo>
                  <a:pt x="262518" y="162972"/>
                </a:lnTo>
                <a:lnTo>
                  <a:pt x="262518" y="162866"/>
                </a:lnTo>
                <a:lnTo>
                  <a:pt x="262571" y="162760"/>
                </a:lnTo>
                <a:lnTo>
                  <a:pt x="262571" y="162655"/>
                </a:lnTo>
                <a:lnTo>
                  <a:pt x="262571" y="162602"/>
                </a:lnTo>
                <a:lnTo>
                  <a:pt x="261462" y="162021"/>
                </a:lnTo>
                <a:lnTo>
                  <a:pt x="261779" y="160542"/>
                </a:lnTo>
                <a:lnTo>
                  <a:pt x="261198" y="160384"/>
                </a:lnTo>
                <a:lnTo>
                  <a:pt x="260353" y="160120"/>
                </a:lnTo>
                <a:lnTo>
                  <a:pt x="260670" y="159486"/>
                </a:lnTo>
                <a:lnTo>
                  <a:pt x="260881" y="159116"/>
                </a:lnTo>
                <a:lnTo>
                  <a:pt x="260511" y="158377"/>
                </a:lnTo>
                <a:lnTo>
                  <a:pt x="260247" y="157796"/>
                </a:lnTo>
                <a:lnTo>
                  <a:pt x="259772" y="157110"/>
                </a:lnTo>
                <a:lnTo>
                  <a:pt x="259349" y="156476"/>
                </a:lnTo>
                <a:lnTo>
                  <a:pt x="258980" y="155737"/>
                </a:lnTo>
                <a:lnTo>
                  <a:pt x="258610" y="154997"/>
                </a:lnTo>
                <a:lnTo>
                  <a:pt x="258029" y="153888"/>
                </a:lnTo>
                <a:lnTo>
                  <a:pt x="257607" y="153096"/>
                </a:lnTo>
                <a:lnTo>
                  <a:pt x="257237" y="152568"/>
                </a:lnTo>
                <a:lnTo>
                  <a:pt x="256867" y="151987"/>
                </a:lnTo>
                <a:lnTo>
                  <a:pt x="256762" y="151723"/>
                </a:lnTo>
                <a:lnTo>
                  <a:pt x="256550" y="150931"/>
                </a:lnTo>
                <a:lnTo>
                  <a:pt x="256445" y="150720"/>
                </a:lnTo>
                <a:lnTo>
                  <a:pt x="256022" y="150139"/>
                </a:lnTo>
                <a:lnTo>
                  <a:pt x="255441" y="149452"/>
                </a:lnTo>
                <a:lnTo>
                  <a:pt x="255283" y="149083"/>
                </a:lnTo>
                <a:lnTo>
                  <a:pt x="255177" y="148713"/>
                </a:lnTo>
                <a:lnTo>
                  <a:pt x="255389" y="148396"/>
                </a:lnTo>
                <a:lnTo>
                  <a:pt x="255019" y="147868"/>
                </a:lnTo>
                <a:lnTo>
                  <a:pt x="254649" y="147498"/>
                </a:lnTo>
                <a:lnTo>
                  <a:pt x="254280" y="147129"/>
                </a:lnTo>
                <a:lnTo>
                  <a:pt x="253910" y="146653"/>
                </a:lnTo>
                <a:lnTo>
                  <a:pt x="253435" y="145808"/>
                </a:lnTo>
                <a:lnTo>
                  <a:pt x="253276" y="145544"/>
                </a:lnTo>
                <a:lnTo>
                  <a:pt x="253118" y="145386"/>
                </a:lnTo>
                <a:lnTo>
                  <a:pt x="252590" y="145122"/>
                </a:lnTo>
                <a:lnTo>
                  <a:pt x="251956" y="144752"/>
                </a:lnTo>
                <a:lnTo>
                  <a:pt x="251428" y="144435"/>
                </a:lnTo>
                <a:lnTo>
                  <a:pt x="251005" y="143854"/>
                </a:lnTo>
                <a:lnTo>
                  <a:pt x="250952" y="143749"/>
                </a:lnTo>
                <a:lnTo>
                  <a:pt x="250952" y="143590"/>
                </a:lnTo>
                <a:lnTo>
                  <a:pt x="250952" y="143485"/>
                </a:lnTo>
                <a:lnTo>
                  <a:pt x="250952" y="143432"/>
                </a:lnTo>
                <a:lnTo>
                  <a:pt x="250847" y="143273"/>
                </a:lnTo>
                <a:lnTo>
                  <a:pt x="250794" y="143221"/>
                </a:lnTo>
                <a:lnTo>
                  <a:pt x="250530" y="143115"/>
                </a:lnTo>
                <a:lnTo>
                  <a:pt x="250583" y="142745"/>
                </a:lnTo>
                <a:lnTo>
                  <a:pt x="250583" y="142587"/>
                </a:lnTo>
                <a:lnTo>
                  <a:pt x="250530" y="142429"/>
                </a:lnTo>
                <a:lnTo>
                  <a:pt x="250319" y="142006"/>
                </a:lnTo>
                <a:lnTo>
                  <a:pt x="250160" y="141848"/>
                </a:lnTo>
                <a:lnTo>
                  <a:pt x="250002" y="141795"/>
                </a:lnTo>
                <a:lnTo>
                  <a:pt x="249791" y="141795"/>
                </a:lnTo>
                <a:lnTo>
                  <a:pt x="249685" y="141742"/>
                </a:lnTo>
                <a:lnTo>
                  <a:pt x="249527" y="141584"/>
                </a:lnTo>
                <a:lnTo>
                  <a:pt x="249315" y="141214"/>
                </a:lnTo>
                <a:lnTo>
                  <a:pt x="249263" y="141108"/>
                </a:lnTo>
                <a:lnTo>
                  <a:pt x="249210" y="140844"/>
                </a:lnTo>
                <a:lnTo>
                  <a:pt x="249157" y="140739"/>
                </a:lnTo>
                <a:lnTo>
                  <a:pt x="249104" y="140686"/>
                </a:lnTo>
                <a:lnTo>
                  <a:pt x="248893" y="140633"/>
                </a:lnTo>
                <a:lnTo>
                  <a:pt x="248470" y="140527"/>
                </a:lnTo>
                <a:lnTo>
                  <a:pt x="247995" y="140422"/>
                </a:lnTo>
                <a:lnTo>
                  <a:pt x="247890" y="140316"/>
                </a:lnTo>
                <a:lnTo>
                  <a:pt x="247784" y="140158"/>
                </a:lnTo>
                <a:lnTo>
                  <a:pt x="247625" y="139841"/>
                </a:lnTo>
                <a:lnTo>
                  <a:pt x="247625" y="139682"/>
                </a:lnTo>
                <a:lnTo>
                  <a:pt x="247678" y="139524"/>
                </a:lnTo>
                <a:lnTo>
                  <a:pt x="247731" y="139366"/>
                </a:lnTo>
                <a:lnTo>
                  <a:pt x="247256" y="139049"/>
                </a:lnTo>
                <a:lnTo>
                  <a:pt x="247309" y="138837"/>
                </a:lnTo>
                <a:lnTo>
                  <a:pt x="247520" y="138626"/>
                </a:lnTo>
                <a:lnTo>
                  <a:pt x="247573" y="138521"/>
                </a:lnTo>
                <a:lnTo>
                  <a:pt x="247573" y="138362"/>
                </a:lnTo>
                <a:lnTo>
                  <a:pt x="247573" y="137887"/>
                </a:lnTo>
                <a:lnTo>
                  <a:pt x="247573" y="137728"/>
                </a:lnTo>
                <a:lnTo>
                  <a:pt x="247520" y="137623"/>
                </a:lnTo>
                <a:lnTo>
                  <a:pt x="247256" y="137306"/>
                </a:lnTo>
                <a:lnTo>
                  <a:pt x="247150" y="137253"/>
                </a:lnTo>
                <a:lnTo>
                  <a:pt x="246939" y="137148"/>
                </a:lnTo>
                <a:lnTo>
                  <a:pt x="246728" y="136936"/>
                </a:lnTo>
                <a:lnTo>
                  <a:pt x="246622" y="136672"/>
                </a:lnTo>
                <a:lnTo>
                  <a:pt x="246411" y="136461"/>
                </a:lnTo>
                <a:lnTo>
                  <a:pt x="246041" y="136144"/>
                </a:lnTo>
                <a:lnTo>
                  <a:pt x="245724" y="135933"/>
                </a:lnTo>
                <a:lnTo>
                  <a:pt x="245460" y="135563"/>
                </a:lnTo>
                <a:close/>
                <a:moveTo>
                  <a:pt x="258504" y="178181"/>
                </a:moveTo>
                <a:lnTo>
                  <a:pt x="258451" y="178234"/>
                </a:lnTo>
                <a:lnTo>
                  <a:pt x="258399" y="178339"/>
                </a:lnTo>
                <a:lnTo>
                  <a:pt x="258293" y="178234"/>
                </a:lnTo>
                <a:lnTo>
                  <a:pt x="258293" y="178339"/>
                </a:lnTo>
                <a:lnTo>
                  <a:pt x="258293" y="178392"/>
                </a:lnTo>
                <a:lnTo>
                  <a:pt x="258293" y="178445"/>
                </a:lnTo>
                <a:lnTo>
                  <a:pt x="258293" y="178551"/>
                </a:lnTo>
                <a:lnTo>
                  <a:pt x="258346" y="178656"/>
                </a:lnTo>
                <a:lnTo>
                  <a:pt x="258346" y="178709"/>
                </a:lnTo>
                <a:lnTo>
                  <a:pt x="258346" y="178815"/>
                </a:lnTo>
                <a:lnTo>
                  <a:pt x="258399" y="178867"/>
                </a:lnTo>
                <a:lnTo>
                  <a:pt x="258504" y="178867"/>
                </a:lnTo>
                <a:lnTo>
                  <a:pt x="258504" y="178920"/>
                </a:lnTo>
                <a:lnTo>
                  <a:pt x="258504" y="179026"/>
                </a:lnTo>
                <a:lnTo>
                  <a:pt x="258504" y="179079"/>
                </a:lnTo>
                <a:lnTo>
                  <a:pt x="258557" y="179131"/>
                </a:lnTo>
                <a:lnTo>
                  <a:pt x="258557" y="179184"/>
                </a:lnTo>
                <a:lnTo>
                  <a:pt x="258557" y="179237"/>
                </a:lnTo>
                <a:lnTo>
                  <a:pt x="258557" y="179343"/>
                </a:lnTo>
                <a:lnTo>
                  <a:pt x="258663" y="179501"/>
                </a:lnTo>
                <a:lnTo>
                  <a:pt x="258768" y="179607"/>
                </a:lnTo>
                <a:lnTo>
                  <a:pt x="258874" y="179607"/>
                </a:lnTo>
                <a:lnTo>
                  <a:pt x="258874" y="179396"/>
                </a:lnTo>
                <a:lnTo>
                  <a:pt x="258874" y="179290"/>
                </a:lnTo>
                <a:lnTo>
                  <a:pt x="258927" y="179184"/>
                </a:lnTo>
                <a:lnTo>
                  <a:pt x="258874" y="179131"/>
                </a:lnTo>
                <a:lnTo>
                  <a:pt x="258716" y="179131"/>
                </a:lnTo>
                <a:lnTo>
                  <a:pt x="258716" y="179079"/>
                </a:lnTo>
                <a:lnTo>
                  <a:pt x="258716" y="179026"/>
                </a:lnTo>
                <a:lnTo>
                  <a:pt x="258663" y="178920"/>
                </a:lnTo>
                <a:lnTo>
                  <a:pt x="258927" y="178920"/>
                </a:lnTo>
                <a:lnTo>
                  <a:pt x="258927" y="178815"/>
                </a:lnTo>
                <a:lnTo>
                  <a:pt x="258927" y="178762"/>
                </a:lnTo>
                <a:lnTo>
                  <a:pt x="258927" y="178656"/>
                </a:lnTo>
                <a:lnTo>
                  <a:pt x="259032" y="178656"/>
                </a:lnTo>
                <a:lnTo>
                  <a:pt x="259032" y="178603"/>
                </a:lnTo>
                <a:lnTo>
                  <a:pt x="259032" y="178551"/>
                </a:lnTo>
                <a:lnTo>
                  <a:pt x="258980" y="178445"/>
                </a:lnTo>
                <a:lnTo>
                  <a:pt x="258874" y="178445"/>
                </a:lnTo>
                <a:lnTo>
                  <a:pt x="258874" y="178392"/>
                </a:lnTo>
                <a:lnTo>
                  <a:pt x="258821" y="178339"/>
                </a:lnTo>
                <a:lnTo>
                  <a:pt x="258768" y="178286"/>
                </a:lnTo>
                <a:lnTo>
                  <a:pt x="258716" y="178234"/>
                </a:lnTo>
                <a:lnTo>
                  <a:pt x="258663" y="178286"/>
                </a:lnTo>
                <a:lnTo>
                  <a:pt x="258610" y="178339"/>
                </a:lnTo>
                <a:lnTo>
                  <a:pt x="258557" y="178339"/>
                </a:lnTo>
                <a:lnTo>
                  <a:pt x="258504" y="178286"/>
                </a:lnTo>
                <a:lnTo>
                  <a:pt x="258610" y="178286"/>
                </a:lnTo>
                <a:lnTo>
                  <a:pt x="258610" y="178234"/>
                </a:lnTo>
                <a:lnTo>
                  <a:pt x="258610" y="178181"/>
                </a:lnTo>
                <a:close/>
                <a:moveTo>
                  <a:pt x="131391" y="179131"/>
                </a:moveTo>
                <a:lnTo>
                  <a:pt x="131338" y="179184"/>
                </a:lnTo>
                <a:lnTo>
                  <a:pt x="131338" y="179237"/>
                </a:lnTo>
                <a:lnTo>
                  <a:pt x="131338" y="179290"/>
                </a:lnTo>
                <a:lnTo>
                  <a:pt x="131338" y="179343"/>
                </a:lnTo>
                <a:lnTo>
                  <a:pt x="131338" y="179448"/>
                </a:lnTo>
                <a:lnTo>
                  <a:pt x="131338" y="179501"/>
                </a:lnTo>
                <a:lnTo>
                  <a:pt x="131338" y="179607"/>
                </a:lnTo>
                <a:lnTo>
                  <a:pt x="131338" y="179660"/>
                </a:lnTo>
                <a:lnTo>
                  <a:pt x="131549" y="179660"/>
                </a:lnTo>
                <a:lnTo>
                  <a:pt x="131655" y="179607"/>
                </a:lnTo>
                <a:lnTo>
                  <a:pt x="131708" y="179554"/>
                </a:lnTo>
                <a:lnTo>
                  <a:pt x="131708" y="179448"/>
                </a:lnTo>
                <a:lnTo>
                  <a:pt x="131708" y="179396"/>
                </a:lnTo>
                <a:lnTo>
                  <a:pt x="131708" y="179343"/>
                </a:lnTo>
                <a:lnTo>
                  <a:pt x="131602" y="179237"/>
                </a:lnTo>
                <a:lnTo>
                  <a:pt x="131549" y="179184"/>
                </a:lnTo>
                <a:lnTo>
                  <a:pt x="131444" y="179131"/>
                </a:lnTo>
                <a:close/>
                <a:moveTo>
                  <a:pt x="254649" y="166246"/>
                </a:moveTo>
                <a:lnTo>
                  <a:pt x="254649" y="166299"/>
                </a:lnTo>
                <a:lnTo>
                  <a:pt x="254755" y="166457"/>
                </a:lnTo>
                <a:lnTo>
                  <a:pt x="254860" y="166563"/>
                </a:lnTo>
                <a:lnTo>
                  <a:pt x="254860" y="166668"/>
                </a:lnTo>
                <a:lnTo>
                  <a:pt x="254808" y="166774"/>
                </a:lnTo>
                <a:lnTo>
                  <a:pt x="254596" y="166774"/>
                </a:lnTo>
                <a:lnTo>
                  <a:pt x="254544" y="166880"/>
                </a:lnTo>
                <a:lnTo>
                  <a:pt x="254544" y="167038"/>
                </a:lnTo>
                <a:lnTo>
                  <a:pt x="254596" y="167038"/>
                </a:lnTo>
                <a:lnTo>
                  <a:pt x="254649" y="167091"/>
                </a:lnTo>
                <a:lnTo>
                  <a:pt x="254649" y="167196"/>
                </a:lnTo>
                <a:lnTo>
                  <a:pt x="254649" y="167302"/>
                </a:lnTo>
                <a:lnTo>
                  <a:pt x="254649" y="167408"/>
                </a:lnTo>
                <a:lnTo>
                  <a:pt x="254649" y="167460"/>
                </a:lnTo>
                <a:lnTo>
                  <a:pt x="254702" y="167566"/>
                </a:lnTo>
                <a:lnTo>
                  <a:pt x="254755" y="167672"/>
                </a:lnTo>
                <a:lnTo>
                  <a:pt x="254808" y="167672"/>
                </a:lnTo>
                <a:lnTo>
                  <a:pt x="254869" y="167660"/>
                </a:lnTo>
                <a:lnTo>
                  <a:pt x="254966" y="167725"/>
                </a:lnTo>
                <a:lnTo>
                  <a:pt x="255019" y="167777"/>
                </a:lnTo>
                <a:lnTo>
                  <a:pt x="255124" y="167777"/>
                </a:lnTo>
                <a:lnTo>
                  <a:pt x="255547" y="167725"/>
                </a:lnTo>
                <a:lnTo>
                  <a:pt x="255758" y="167777"/>
                </a:lnTo>
                <a:lnTo>
                  <a:pt x="255864" y="167936"/>
                </a:lnTo>
                <a:lnTo>
                  <a:pt x="255811" y="168358"/>
                </a:lnTo>
                <a:lnTo>
                  <a:pt x="255811" y="168569"/>
                </a:lnTo>
                <a:lnTo>
                  <a:pt x="255969" y="168728"/>
                </a:lnTo>
                <a:lnTo>
                  <a:pt x="255969" y="168886"/>
                </a:lnTo>
                <a:lnTo>
                  <a:pt x="255969" y="169203"/>
                </a:lnTo>
                <a:lnTo>
                  <a:pt x="256022" y="169467"/>
                </a:lnTo>
                <a:lnTo>
                  <a:pt x="256022" y="169678"/>
                </a:lnTo>
                <a:lnTo>
                  <a:pt x="255969" y="169678"/>
                </a:lnTo>
                <a:lnTo>
                  <a:pt x="255917" y="169731"/>
                </a:lnTo>
                <a:lnTo>
                  <a:pt x="255864" y="169784"/>
                </a:lnTo>
                <a:lnTo>
                  <a:pt x="255864" y="169837"/>
                </a:lnTo>
                <a:lnTo>
                  <a:pt x="255917" y="170101"/>
                </a:lnTo>
                <a:lnTo>
                  <a:pt x="255917" y="170154"/>
                </a:lnTo>
                <a:lnTo>
                  <a:pt x="255969" y="170259"/>
                </a:lnTo>
                <a:lnTo>
                  <a:pt x="255969" y="170312"/>
                </a:lnTo>
                <a:lnTo>
                  <a:pt x="255991" y="170328"/>
                </a:lnTo>
                <a:lnTo>
                  <a:pt x="255991" y="170328"/>
                </a:lnTo>
                <a:lnTo>
                  <a:pt x="255917" y="170365"/>
                </a:lnTo>
                <a:lnTo>
                  <a:pt x="255864" y="170365"/>
                </a:lnTo>
                <a:lnTo>
                  <a:pt x="255864" y="170259"/>
                </a:lnTo>
                <a:lnTo>
                  <a:pt x="255864" y="170154"/>
                </a:lnTo>
                <a:lnTo>
                  <a:pt x="255864" y="170101"/>
                </a:lnTo>
                <a:lnTo>
                  <a:pt x="255811" y="170048"/>
                </a:lnTo>
                <a:lnTo>
                  <a:pt x="255811" y="170101"/>
                </a:lnTo>
                <a:lnTo>
                  <a:pt x="255600" y="170259"/>
                </a:lnTo>
                <a:lnTo>
                  <a:pt x="255600" y="170365"/>
                </a:lnTo>
                <a:lnTo>
                  <a:pt x="255653" y="170418"/>
                </a:lnTo>
                <a:lnTo>
                  <a:pt x="255758" y="170523"/>
                </a:lnTo>
                <a:lnTo>
                  <a:pt x="255547" y="170523"/>
                </a:lnTo>
                <a:lnTo>
                  <a:pt x="255547" y="170629"/>
                </a:lnTo>
                <a:lnTo>
                  <a:pt x="255600" y="170682"/>
                </a:lnTo>
                <a:lnTo>
                  <a:pt x="255653" y="170682"/>
                </a:lnTo>
                <a:lnTo>
                  <a:pt x="255705" y="170735"/>
                </a:lnTo>
                <a:lnTo>
                  <a:pt x="255811" y="170946"/>
                </a:lnTo>
                <a:lnTo>
                  <a:pt x="255864" y="170999"/>
                </a:lnTo>
                <a:lnTo>
                  <a:pt x="255917" y="170999"/>
                </a:lnTo>
                <a:lnTo>
                  <a:pt x="255917" y="171052"/>
                </a:lnTo>
                <a:lnTo>
                  <a:pt x="255969" y="171104"/>
                </a:lnTo>
                <a:lnTo>
                  <a:pt x="256022" y="171104"/>
                </a:lnTo>
                <a:lnTo>
                  <a:pt x="256022" y="171052"/>
                </a:lnTo>
                <a:lnTo>
                  <a:pt x="256075" y="170840"/>
                </a:lnTo>
                <a:lnTo>
                  <a:pt x="256075" y="170735"/>
                </a:lnTo>
                <a:lnTo>
                  <a:pt x="256075" y="170391"/>
                </a:lnTo>
                <a:lnTo>
                  <a:pt x="256075" y="170391"/>
                </a:lnTo>
                <a:lnTo>
                  <a:pt x="256181" y="170471"/>
                </a:lnTo>
                <a:lnTo>
                  <a:pt x="256233" y="170471"/>
                </a:lnTo>
                <a:lnTo>
                  <a:pt x="256286" y="170365"/>
                </a:lnTo>
                <a:lnTo>
                  <a:pt x="256286" y="170259"/>
                </a:lnTo>
                <a:lnTo>
                  <a:pt x="256286" y="170207"/>
                </a:lnTo>
                <a:lnTo>
                  <a:pt x="256339" y="170259"/>
                </a:lnTo>
                <a:lnTo>
                  <a:pt x="256339" y="170365"/>
                </a:lnTo>
                <a:lnTo>
                  <a:pt x="256339" y="170576"/>
                </a:lnTo>
                <a:lnTo>
                  <a:pt x="256339" y="170735"/>
                </a:lnTo>
                <a:lnTo>
                  <a:pt x="256339" y="170893"/>
                </a:lnTo>
                <a:lnTo>
                  <a:pt x="256233" y="170946"/>
                </a:lnTo>
                <a:lnTo>
                  <a:pt x="256128" y="171052"/>
                </a:lnTo>
                <a:lnTo>
                  <a:pt x="256022" y="171157"/>
                </a:lnTo>
                <a:lnTo>
                  <a:pt x="255969" y="171368"/>
                </a:lnTo>
                <a:lnTo>
                  <a:pt x="255917" y="171474"/>
                </a:lnTo>
                <a:lnTo>
                  <a:pt x="255758" y="171474"/>
                </a:lnTo>
                <a:lnTo>
                  <a:pt x="255653" y="171421"/>
                </a:lnTo>
                <a:lnTo>
                  <a:pt x="255600" y="171368"/>
                </a:lnTo>
                <a:lnTo>
                  <a:pt x="255547" y="171474"/>
                </a:lnTo>
                <a:lnTo>
                  <a:pt x="255547" y="171685"/>
                </a:lnTo>
                <a:lnTo>
                  <a:pt x="255547" y="171791"/>
                </a:lnTo>
                <a:lnTo>
                  <a:pt x="255494" y="171791"/>
                </a:lnTo>
                <a:lnTo>
                  <a:pt x="255441" y="171738"/>
                </a:lnTo>
                <a:lnTo>
                  <a:pt x="255389" y="171632"/>
                </a:lnTo>
                <a:lnTo>
                  <a:pt x="255336" y="171632"/>
                </a:lnTo>
                <a:lnTo>
                  <a:pt x="255283" y="171738"/>
                </a:lnTo>
                <a:lnTo>
                  <a:pt x="255283" y="171844"/>
                </a:lnTo>
                <a:lnTo>
                  <a:pt x="255283" y="171896"/>
                </a:lnTo>
                <a:lnTo>
                  <a:pt x="255389" y="171896"/>
                </a:lnTo>
                <a:lnTo>
                  <a:pt x="255441" y="172002"/>
                </a:lnTo>
                <a:lnTo>
                  <a:pt x="255441" y="172055"/>
                </a:lnTo>
                <a:lnTo>
                  <a:pt x="255283" y="172108"/>
                </a:lnTo>
                <a:lnTo>
                  <a:pt x="255283" y="172161"/>
                </a:lnTo>
                <a:lnTo>
                  <a:pt x="255283" y="172213"/>
                </a:lnTo>
                <a:lnTo>
                  <a:pt x="255283" y="172319"/>
                </a:lnTo>
                <a:lnTo>
                  <a:pt x="255336" y="172477"/>
                </a:lnTo>
                <a:lnTo>
                  <a:pt x="255441" y="172583"/>
                </a:lnTo>
                <a:lnTo>
                  <a:pt x="255917" y="172847"/>
                </a:lnTo>
                <a:lnTo>
                  <a:pt x="256128" y="172847"/>
                </a:lnTo>
                <a:lnTo>
                  <a:pt x="256814" y="172530"/>
                </a:lnTo>
                <a:lnTo>
                  <a:pt x="257026" y="172530"/>
                </a:lnTo>
                <a:lnTo>
                  <a:pt x="257184" y="172477"/>
                </a:lnTo>
                <a:lnTo>
                  <a:pt x="257607" y="172477"/>
                </a:lnTo>
                <a:lnTo>
                  <a:pt x="257501" y="172530"/>
                </a:lnTo>
                <a:lnTo>
                  <a:pt x="257290" y="172530"/>
                </a:lnTo>
                <a:lnTo>
                  <a:pt x="257237" y="172583"/>
                </a:lnTo>
                <a:lnTo>
                  <a:pt x="257184" y="172636"/>
                </a:lnTo>
                <a:lnTo>
                  <a:pt x="257026" y="172794"/>
                </a:lnTo>
                <a:lnTo>
                  <a:pt x="256867" y="172900"/>
                </a:lnTo>
                <a:lnTo>
                  <a:pt x="256814" y="172953"/>
                </a:lnTo>
                <a:lnTo>
                  <a:pt x="256814" y="173006"/>
                </a:lnTo>
                <a:lnTo>
                  <a:pt x="256762" y="173217"/>
                </a:lnTo>
                <a:lnTo>
                  <a:pt x="256762" y="173270"/>
                </a:lnTo>
                <a:lnTo>
                  <a:pt x="256656" y="173428"/>
                </a:lnTo>
                <a:lnTo>
                  <a:pt x="256603" y="173586"/>
                </a:lnTo>
                <a:lnTo>
                  <a:pt x="256603" y="173639"/>
                </a:lnTo>
                <a:lnTo>
                  <a:pt x="256656" y="173798"/>
                </a:lnTo>
                <a:lnTo>
                  <a:pt x="256814" y="173903"/>
                </a:lnTo>
                <a:lnTo>
                  <a:pt x="257131" y="173850"/>
                </a:lnTo>
                <a:lnTo>
                  <a:pt x="257290" y="173903"/>
                </a:lnTo>
                <a:lnTo>
                  <a:pt x="257184" y="173903"/>
                </a:lnTo>
                <a:lnTo>
                  <a:pt x="257078" y="173956"/>
                </a:lnTo>
                <a:lnTo>
                  <a:pt x="256973" y="174009"/>
                </a:lnTo>
                <a:lnTo>
                  <a:pt x="256867" y="174062"/>
                </a:lnTo>
                <a:lnTo>
                  <a:pt x="257026" y="174062"/>
                </a:lnTo>
                <a:lnTo>
                  <a:pt x="257078" y="174167"/>
                </a:lnTo>
                <a:lnTo>
                  <a:pt x="257078" y="174273"/>
                </a:lnTo>
                <a:lnTo>
                  <a:pt x="257131" y="174379"/>
                </a:lnTo>
                <a:lnTo>
                  <a:pt x="257395" y="174484"/>
                </a:lnTo>
                <a:lnTo>
                  <a:pt x="257818" y="174590"/>
                </a:lnTo>
                <a:lnTo>
                  <a:pt x="257923" y="174695"/>
                </a:lnTo>
                <a:lnTo>
                  <a:pt x="257923" y="174695"/>
                </a:lnTo>
                <a:lnTo>
                  <a:pt x="257818" y="174643"/>
                </a:lnTo>
                <a:lnTo>
                  <a:pt x="257131" y="174695"/>
                </a:lnTo>
                <a:lnTo>
                  <a:pt x="257078" y="174695"/>
                </a:lnTo>
                <a:lnTo>
                  <a:pt x="256973" y="174590"/>
                </a:lnTo>
                <a:lnTo>
                  <a:pt x="256920" y="174590"/>
                </a:lnTo>
                <a:lnTo>
                  <a:pt x="256550" y="174484"/>
                </a:lnTo>
                <a:lnTo>
                  <a:pt x="256498" y="174431"/>
                </a:lnTo>
                <a:lnTo>
                  <a:pt x="256445" y="174379"/>
                </a:lnTo>
                <a:lnTo>
                  <a:pt x="256286" y="174379"/>
                </a:lnTo>
                <a:lnTo>
                  <a:pt x="256233" y="174431"/>
                </a:lnTo>
                <a:lnTo>
                  <a:pt x="256181" y="174484"/>
                </a:lnTo>
                <a:lnTo>
                  <a:pt x="256181" y="174537"/>
                </a:lnTo>
                <a:lnTo>
                  <a:pt x="256181" y="174643"/>
                </a:lnTo>
                <a:lnTo>
                  <a:pt x="256128" y="174695"/>
                </a:lnTo>
                <a:lnTo>
                  <a:pt x="256075" y="174695"/>
                </a:lnTo>
                <a:lnTo>
                  <a:pt x="256075" y="174801"/>
                </a:lnTo>
                <a:lnTo>
                  <a:pt x="256128" y="174854"/>
                </a:lnTo>
                <a:lnTo>
                  <a:pt x="256181" y="174854"/>
                </a:lnTo>
                <a:lnTo>
                  <a:pt x="256233" y="174959"/>
                </a:lnTo>
                <a:lnTo>
                  <a:pt x="256233" y="175065"/>
                </a:lnTo>
                <a:lnTo>
                  <a:pt x="256233" y="175171"/>
                </a:lnTo>
                <a:lnTo>
                  <a:pt x="256233" y="175224"/>
                </a:lnTo>
                <a:lnTo>
                  <a:pt x="256445" y="175224"/>
                </a:lnTo>
                <a:lnTo>
                  <a:pt x="256550" y="175171"/>
                </a:lnTo>
                <a:lnTo>
                  <a:pt x="256709" y="175171"/>
                </a:lnTo>
                <a:lnTo>
                  <a:pt x="256762" y="175224"/>
                </a:lnTo>
                <a:lnTo>
                  <a:pt x="256814" y="175276"/>
                </a:lnTo>
                <a:lnTo>
                  <a:pt x="256867" y="175329"/>
                </a:lnTo>
                <a:lnTo>
                  <a:pt x="256867" y="175276"/>
                </a:lnTo>
                <a:lnTo>
                  <a:pt x="256867" y="175224"/>
                </a:lnTo>
                <a:lnTo>
                  <a:pt x="257501" y="175224"/>
                </a:lnTo>
                <a:lnTo>
                  <a:pt x="257607" y="175171"/>
                </a:lnTo>
                <a:lnTo>
                  <a:pt x="257712" y="175171"/>
                </a:lnTo>
                <a:lnTo>
                  <a:pt x="257765" y="175224"/>
                </a:lnTo>
                <a:lnTo>
                  <a:pt x="257765" y="175329"/>
                </a:lnTo>
                <a:lnTo>
                  <a:pt x="257712" y="175382"/>
                </a:lnTo>
                <a:lnTo>
                  <a:pt x="257395" y="175593"/>
                </a:lnTo>
                <a:lnTo>
                  <a:pt x="257184" y="175646"/>
                </a:lnTo>
                <a:lnTo>
                  <a:pt x="257131" y="175699"/>
                </a:lnTo>
                <a:lnTo>
                  <a:pt x="257131" y="175752"/>
                </a:lnTo>
                <a:lnTo>
                  <a:pt x="257501" y="175804"/>
                </a:lnTo>
                <a:lnTo>
                  <a:pt x="257607" y="175752"/>
                </a:lnTo>
                <a:lnTo>
                  <a:pt x="257818" y="175699"/>
                </a:lnTo>
                <a:lnTo>
                  <a:pt x="257923" y="175593"/>
                </a:lnTo>
                <a:lnTo>
                  <a:pt x="257923" y="175540"/>
                </a:lnTo>
                <a:lnTo>
                  <a:pt x="257923" y="175488"/>
                </a:lnTo>
                <a:lnTo>
                  <a:pt x="257923" y="175435"/>
                </a:lnTo>
                <a:lnTo>
                  <a:pt x="257923" y="175329"/>
                </a:lnTo>
                <a:lnTo>
                  <a:pt x="257923" y="175276"/>
                </a:lnTo>
                <a:lnTo>
                  <a:pt x="258029" y="175276"/>
                </a:lnTo>
                <a:lnTo>
                  <a:pt x="258135" y="175329"/>
                </a:lnTo>
                <a:lnTo>
                  <a:pt x="258082" y="175488"/>
                </a:lnTo>
                <a:lnTo>
                  <a:pt x="258082" y="175646"/>
                </a:lnTo>
                <a:lnTo>
                  <a:pt x="258135" y="175857"/>
                </a:lnTo>
                <a:lnTo>
                  <a:pt x="258187" y="176016"/>
                </a:lnTo>
                <a:lnTo>
                  <a:pt x="258240" y="176016"/>
                </a:lnTo>
                <a:lnTo>
                  <a:pt x="258451" y="176174"/>
                </a:lnTo>
                <a:lnTo>
                  <a:pt x="258557" y="176333"/>
                </a:lnTo>
                <a:lnTo>
                  <a:pt x="258927" y="176333"/>
                </a:lnTo>
                <a:lnTo>
                  <a:pt x="258980" y="176280"/>
                </a:lnTo>
                <a:lnTo>
                  <a:pt x="258980" y="176174"/>
                </a:lnTo>
                <a:lnTo>
                  <a:pt x="258980" y="176016"/>
                </a:lnTo>
                <a:lnTo>
                  <a:pt x="258927" y="175963"/>
                </a:lnTo>
                <a:lnTo>
                  <a:pt x="258874" y="175910"/>
                </a:lnTo>
                <a:lnTo>
                  <a:pt x="258821" y="175699"/>
                </a:lnTo>
                <a:lnTo>
                  <a:pt x="258821" y="175540"/>
                </a:lnTo>
                <a:lnTo>
                  <a:pt x="258874" y="175435"/>
                </a:lnTo>
                <a:lnTo>
                  <a:pt x="258874" y="175540"/>
                </a:lnTo>
                <a:lnTo>
                  <a:pt x="258927" y="175646"/>
                </a:lnTo>
                <a:lnTo>
                  <a:pt x="259032" y="175804"/>
                </a:lnTo>
                <a:lnTo>
                  <a:pt x="259138" y="176016"/>
                </a:lnTo>
                <a:lnTo>
                  <a:pt x="259191" y="176068"/>
                </a:lnTo>
                <a:lnTo>
                  <a:pt x="259244" y="176121"/>
                </a:lnTo>
                <a:lnTo>
                  <a:pt x="259191" y="176280"/>
                </a:lnTo>
                <a:lnTo>
                  <a:pt x="259032" y="176544"/>
                </a:lnTo>
                <a:lnTo>
                  <a:pt x="258927" y="176808"/>
                </a:lnTo>
                <a:lnTo>
                  <a:pt x="258980" y="177019"/>
                </a:lnTo>
                <a:lnTo>
                  <a:pt x="259032" y="176966"/>
                </a:lnTo>
                <a:lnTo>
                  <a:pt x="259191" y="176597"/>
                </a:lnTo>
                <a:lnTo>
                  <a:pt x="259244" y="176491"/>
                </a:lnTo>
                <a:lnTo>
                  <a:pt x="259349" y="176491"/>
                </a:lnTo>
                <a:lnTo>
                  <a:pt x="259402" y="176544"/>
                </a:lnTo>
                <a:lnTo>
                  <a:pt x="259508" y="176544"/>
                </a:lnTo>
                <a:lnTo>
                  <a:pt x="259349" y="176808"/>
                </a:lnTo>
                <a:lnTo>
                  <a:pt x="259349" y="176913"/>
                </a:lnTo>
                <a:lnTo>
                  <a:pt x="259402" y="177019"/>
                </a:lnTo>
                <a:lnTo>
                  <a:pt x="259719" y="177072"/>
                </a:lnTo>
                <a:lnTo>
                  <a:pt x="259666" y="177125"/>
                </a:lnTo>
                <a:lnTo>
                  <a:pt x="259561" y="177125"/>
                </a:lnTo>
                <a:lnTo>
                  <a:pt x="259402" y="177072"/>
                </a:lnTo>
                <a:lnTo>
                  <a:pt x="259296" y="177072"/>
                </a:lnTo>
                <a:lnTo>
                  <a:pt x="259244" y="177177"/>
                </a:lnTo>
                <a:lnTo>
                  <a:pt x="259191" y="177283"/>
                </a:lnTo>
                <a:lnTo>
                  <a:pt x="259244" y="177336"/>
                </a:lnTo>
                <a:lnTo>
                  <a:pt x="259349" y="177336"/>
                </a:lnTo>
                <a:lnTo>
                  <a:pt x="259402" y="177389"/>
                </a:lnTo>
                <a:lnTo>
                  <a:pt x="259349" y="177389"/>
                </a:lnTo>
                <a:lnTo>
                  <a:pt x="259349" y="177494"/>
                </a:lnTo>
                <a:lnTo>
                  <a:pt x="259349" y="177600"/>
                </a:lnTo>
                <a:lnTo>
                  <a:pt x="259296" y="177706"/>
                </a:lnTo>
                <a:lnTo>
                  <a:pt x="259244" y="177706"/>
                </a:lnTo>
                <a:lnTo>
                  <a:pt x="259138" y="177600"/>
                </a:lnTo>
                <a:lnTo>
                  <a:pt x="259138" y="177706"/>
                </a:lnTo>
                <a:lnTo>
                  <a:pt x="259138" y="177758"/>
                </a:lnTo>
                <a:lnTo>
                  <a:pt x="259191" y="177864"/>
                </a:lnTo>
                <a:lnTo>
                  <a:pt x="259349" y="177970"/>
                </a:lnTo>
                <a:lnTo>
                  <a:pt x="259508" y="177970"/>
                </a:lnTo>
                <a:lnTo>
                  <a:pt x="259613" y="177758"/>
                </a:lnTo>
                <a:lnTo>
                  <a:pt x="259613" y="177442"/>
                </a:lnTo>
                <a:lnTo>
                  <a:pt x="259719" y="177547"/>
                </a:lnTo>
                <a:lnTo>
                  <a:pt x="259772" y="177653"/>
                </a:lnTo>
                <a:lnTo>
                  <a:pt x="259825" y="177811"/>
                </a:lnTo>
                <a:lnTo>
                  <a:pt x="259772" y="177970"/>
                </a:lnTo>
                <a:lnTo>
                  <a:pt x="259719" y="178022"/>
                </a:lnTo>
                <a:lnTo>
                  <a:pt x="259561" y="178022"/>
                </a:lnTo>
                <a:lnTo>
                  <a:pt x="259561" y="178075"/>
                </a:lnTo>
                <a:lnTo>
                  <a:pt x="259561" y="178181"/>
                </a:lnTo>
                <a:lnTo>
                  <a:pt x="259719" y="178181"/>
                </a:lnTo>
                <a:lnTo>
                  <a:pt x="259877" y="178128"/>
                </a:lnTo>
                <a:lnTo>
                  <a:pt x="259930" y="178022"/>
                </a:lnTo>
                <a:lnTo>
                  <a:pt x="259930" y="177917"/>
                </a:lnTo>
                <a:lnTo>
                  <a:pt x="259930" y="177811"/>
                </a:lnTo>
                <a:lnTo>
                  <a:pt x="259930" y="177758"/>
                </a:lnTo>
                <a:lnTo>
                  <a:pt x="259930" y="177706"/>
                </a:lnTo>
                <a:lnTo>
                  <a:pt x="259930" y="177494"/>
                </a:lnTo>
                <a:lnTo>
                  <a:pt x="259983" y="177336"/>
                </a:lnTo>
                <a:lnTo>
                  <a:pt x="260089" y="177283"/>
                </a:lnTo>
                <a:lnTo>
                  <a:pt x="260036" y="177442"/>
                </a:lnTo>
                <a:lnTo>
                  <a:pt x="260036" y="177547"/>
                </a:lnTo>
                <a:lnTo>
                  <a:pt x="260036" y="177653"/>
                </a:lnTo>
                <a:lnTo>
                  <a:pt x="260089" y="177758"/>
                </a:lnTo>
                <a:lnTo>
                  <a:pt x="260141" y="177864"/>
                </a:lnTo>
                <a:lnTo>
                  <a:pt x="260194" y="177970"/>
                </a:lnTo>
                <a:lnTo>
                  <a:pt x="260089" y="177970"/>
                </a:lnTo>
                <a:lnTo>
                  <a:pt x="260036" y="178022"/>
                </a:lnTo>
                <a:lnTo>
                  <a:pt x="260089" y="178022"/>
                </a:lnTo>
                <a:lnTo>
                  <a:pt x="260089" y="178075"/>
                </a:lnTo>
                <a:lnTo>
                  <a:pt x="260247" y="178075"/>
                </a:lnTo>
                <a:lnTo>
                  <a:pt x="260247" y="178128"/>
                </a:lnTo>
                <a:lnTo>
                  <a:pt x="260247" y="178181"/>
                </a:lnTo>
                <a:lnTo>
                  <a:pt x="260247" y="178286"/>
                </a:lnTo>
                <a:lnTo>
                  <a:pt x="260300" y="178339"/>
                </a:lnTo>
                <a:lnTo>
                  <a:pt x="260405" y="178392"/>
                </a:lnTo>
                <a:lnTo>
                  <a:pt x="260564" y="178392"/>
                </a:lnTo>
                <a:lnTo>
                  <a:pt x="260564" y="178445"/>
                </a:lnTo>
                <a:lnTo>
                  <a:pt x="260353" y="178445"/>
                </a:lnTo>
                <a:lnTo>
                  <a:pt x="260405" y="178498"/>
                </a:lnTo>
                <a:lnTo>
                  <a:pt x="260617" y="178551"/>
                </a:lnTo>
                <a:lnTo>
                  <a:pt x="260670" y="178656"/>
                </a:lnTo>
                <a:lnTo>
                  <a:pt x="260564" y="178762"/>
                </a:lnTo>
                <a:lnTo>
                  <a:pt x="260300" y="178867"/>
                </a:lnTo>
                <a:lnTo>
                  <a:pt x="260194" y="178973"/>
                </a:lnTo>
                <a:lnTo>
                  <a:pt x="260300" y="178973"/>
                </a:lnTo>
                <a:lnTo>
                  <a:pt x="260458" y="179079"/>
                </a:lnTo>
                <a:lnTo>
                  <a:pt x="260564" y="179079"/>
                </a:lnTo>
                <a:lnTo>
                  <a:pt x="260564" y="179026"/>
                </a:lnTo>
                <a:lnTo>
                  <a:pt x="260564" y="178973"/>
                </a:lnTo>
                <a:lnTo>
                  <a:pt x="260617" y="178920"/>
                </a:lnTo>
                <a:lnTo>
                  <a:pt x="260828" y="178920"/>
                </a:lnTo>
                <a:lnTo>
                  <a:pt x="260828" y="179026"/>
                </a:lnTo>
                <a:lnTo>
                  <a:pt x="260775" y="179079"/>
                </a:lnTo>
                <a:lnTo>
                  <a:pt x="260617" y="179131"/>
                </a:lnTo>
                <a:lnTo>
                  <a:pt x="260511" y="179237"/>
                </a:lnTo>
                <a:lnTo>
                  <a:pt x="260458" y="179343"/>
                </a:lnTo>
                <a:lnTo>
                  <a:pt x="260458" y="179501"/>
                </a:lnTo>
                <a:lnTo>
                  <a:pt x="260458" y="179607"/>
                </a:lnTo>
                <a:lnTo>
                  <a:pt x="260511" y="179712"/>
                </a:lnTo>
                <a:lnTo>
                  <a:pt x="260670" y="179501"/>
                </a:lnTo>
                <a:lnTo>
                  <a:pt x="260881" y="179660"/>
                </a:lnTo>
                <a:lnTo>
                  <a:pt x="261145" y="179871"/>
                </a:lnTo>
                <a:lnTo>
                  <a:pt x="261356" y="179871"/>
                </a:lnTo>
                <a:lnTo>
                  <a:pt x="261303" y="179765"/>
                </a:lnTo>
                <a:lnTo>
                  <a:pt x="261409" y="179765"/>
                </a:lnTo>
                <a:lnTo>
                  <a:pt x="261462" y="179818"/>
                </a:lnTo>
                <a:lnTo>
                  <a:pt x="261514" y="179871"/>
                </a:lnTo>
                <a:lnTo>
                  <a:pt x="261831" y="179924"/>
                </a:lnTo>
                <a:lnTo>
                  <a:pt x="261831" y="179818"/>
                </a:lnTo>
                <a:lnTo>
                  <a:pt x="261831" y="179765"/>
                </a:lnTo>
                <a:lnTo>
                  <a:pt x="261831" y="179660"/>
                </a:lnTo>
                <a:lnTo>
                  <a:pt x="261831" y="179554"/>
                </a:lnTo>
                <a:lnTo>
                  <a:pt x="261831" y="179448"/>
                </a:lnTo>
                <a:lnTo>
                  <a:pt x="261779" y="179396"/>
                </a:lnTo>
                <a:lnTo>
                  <a:pt x="262043" y="179396"/>
                </a:lnTo>
                <a:lnTo>
                  <a:pt x="261990" y="179237"/>
                </a:lnTo>
                <a:lnTo>
                  <a:pt x="262095" y="179131"/>
                </a:lnTo>
                <a:lnTo>
                  <a:pt x="262095" y="179026"/>
                </a:lnTo>
                <a:lnTo>
                  <a:pt x="261990" y="178920"/>
                </a:lnTo>
                <a:lnTo>
                  <a:pt x="261937" y="178867"/>
                </a:lnTo>
                <a:lnTo>
                  <a:pt x="261779" y="178762"/>
                </a:lnTo>
                <a:lnTo>
                  <a:pt x="261673" y="178656"/>
                </a:lnTo>
                <a:lnTo>
                  <a:pt x="261673" y="178551"/>
                </a:lnTo>
                <a:lnTo>
                  <a:pt x="261726" y="178498"/>
                </a:lnTo>
                <a:lnTo>
                  <a:pt x="261990" y="178498"/>
                </a:lnTo>
                <a:lnTo>
                  <a:pt x="261990" y="178234"/>
                </a:lnTo>
                <a:lnTo>
                  <a:pt x="261990" y="178181"/>
                </a:lnTo>
                <a:lnTo>
                  <a:pt x="262043" y="178128"/>
                </a:lnTo>
                <a:lnTo>
                  <a:pt x="262043" y="178075"/>
                </a:lnTo>
                <a:lnTo>
                  <a:pt x="261990" y="177970"/>
                </a:lnTo>
                <a:lnTo>
                  <a:pt x="261779" y="177970"/>
                </a:lnTo>
                <a:lnTo>
                  <a:pt x="261779" y="177917"/>
                </a:lnTo>
                <a:lnTo>
                  <a:pt x="261831" y="177864"/>
                </a:lnTo>
                <a:lnTo>
                  <a:pt x="261937" y="177758"/>
                </a:lnTo>
                <a:lnTo>
                  <a:pt x="261937" y="177653"/>
                </a:lnTo>
                <a:lnTo>
                  <a:pt x="261937" y="177600"/>
                </a:lnTo>
                <a:lnTo>
                  <a:pt x="261937" y="177547"/>
                </a:lnTo>
                <a:lnTo>
                  <a:pt x="261990" y="177494"/>
                </a:lnTo>
                <a:lnTo>
                  <a:pt x="261831" y="177442"/>
                </a:lnTo>
                <a:lnTo>
                  <a:pt x="261673" y="177547"/>
                </a:lnTo>
                <a:lnTo>
                  <a:pt x="261514" y="177706"/>
                </a:lnTo>
                <a:lnTo>
                  <a:pt x="261409" y="177917"/>
                </a:lnTo>
                <a:lnTo>
                  <a:pt x="261409" y="177864"/>
                </a:lnTo>
                <a:lnTo>
                  <a:pt x="261356" y="177864"/>
                </a:lnTo>
                <a:lnTo>
                  <a:pt x="261250" y="177970"/>
                </a:lnTo>
                <a:lnTo>
                  <a:pt x="261145" y="177917"/>
                </a:lnTo>
                <a:lnTo>
                  <a:pt x="261145" y="177864"/>
                </a:lnTo>
                <a:lnTo>
                  <a:pt x="261092" y="177811"/>
                </a:lnTo>
                <a:lnTo>
                  <a:pt x="260828" y="177811"/>
                </a:lnTo>
                <a:lnTo>
                  <a:pt x="260934" y="177706"/>
                </a:lnTo>
                <a:lnTo>
                  <a:pt x="261198" y="177600"/>
                </a:lnTo>
                <a:lnTo>
                  <a:pt x="261356" y="177494"/>
                </a:lnTo>
                <a:lnTo>
                  <a:pt x="261514" y="177494"/>
                </a:lnTo>
                <a:lnTo>
                  <a:pt x="261567" y="177442"/>
                </a:lnTo>
                <a:lnTo>
                  <a:pt x="261567" y="177336"/>
                </a:lnTo>
                <a:lnTo>
                  <a:pt x="261462" y="177283"/>
                </a:lnTo>
                <a:lnTo>
                  <a:pt x="261356" y="177230"/>
                </a:lnTo>
                <a:lnTo>
                  <a:pt x="261356" y="177177"/>
                </a:lnTo>
                <a:lnTo>
                  <a:pt x="261462" y="177177"/>
                </a:lnTo>
                <a:lnTo>
                  <a:pt x="261514" y="177125"/>
                </a:lnTo>
                <a:lnTo>
                  <a:pt x="261462" y="177072"/>
                </a:lnTo>
                <a:lnTo>
                  <a:pt x="261409" y="177019"/>
                </a:lnTo>
                <a:lnTo>
                  <a:pt x="261409" y="176966"/>
                </a:lnTo>
                <a:lnTo>
                  <a:pt x="261462" y="176913"/>
                </a:lnTo>
                <a:lnTo>
                  <a:pt x="261514" y="176966"/>
                </a:lnTo>
                <a:lnTo>
                  <a:pt x="261567" y="177072"/>
                </a:lnTo>
                <a:lnTo>
                  <a:pt x="261620" y="177125"/>
                </a:lnTo>
                <a:lnTo>
                  <a:pt x="261726" y="177125"/>
                </a:lnTo>
                <a:lnTo>
                  <a:pt x="261779" y="177072"/>
                </a:lnTo>
                <a:lnTo>
                  <a:pt x="261884" y="176966"/>
                </a:lnTo>
                <a:lnTo>
                  <a:pt x="261937" y="176808"/>
                </a:lnTo>
                <a:lnTo>
                  <a:pt x="261779" y="176808"/>
                </a:lnTo>
                <a:lnTo>
                  <a:pt x="261831" y="176649"/>
                </a:lnTo>
                <a:lnTo>
                  <a:pt x="261937" y="176491"/>
                </a:lnTo>
                <a:lnTo>
                  <a:pt x="261990" y="176333"/>
                </a:lnTo>
                <a:lnTo>
                  <a:pt x="262043" y="176121"/>
                </a:lnTo>
                <a:lnTo>
                  <a:pt x="262043" y="176016"/>
                </a:lnTo>
                <a:lnTo>
                  <a:pt x="262043" y="175910"/>
                </a:lnTo>
                <a:lnTo>
                  <a:pt x="262043" y="175752"/>
                </a:lnTo>
                <a:lnTo>
                  <a:pt x="262043" y="175699"/>
                </a:lnTo>
                <a:lnTo>
                  <a:pt x="261990" y="175593"/>
                </a:lnTo>
                <a:lnTo>
                  <a:pt x="261937" y="175540"/>
                </a:lnTo>
                <a:lnTo>
                  <a:pt x="261831" y="175540"/>
                </a:lnTo>
                <a:lnTo>
                  <a:pt x="261726" y="175646"/>
                </a:lnTo>
                <a:lnTo>
                  <a:pt x="261567" y="176068"/>
                </a:lnTo>
                <a:lnTo>
                  <a:pt x="261409" y="176121"/>
                </a:lnTo>
                <a:lnTo>
                  <a:pt x="261145" y="175910"/>
                </a:lnTo>
                <a:lnTo>
                  <a:pt x="260986" y="175910"/>
                </a:lnTo>
                <a:lnTo>
                  <a:pt x="260881" y="176121"/>
                </a:lnTo>
                <a:lnTo>
                  <a:pt x="260881" y="176174"/>
                </a:lnTo>
                <a:lnTo>
                  <a:pt x="260775" y="176174"/>
                </a:lnTo>
                <a:lnTo>
                  <a:pt x="260722" y="176121"/>
                </a:lnTo>
                <a:lnTo>
                  <a:pt x="260722" y="175963"/>
                </a:lnTo>
                <a:lnTo>
                  <a:pt x="260775" y="175857"/>
                </a:lnTo>
                <a:lnTo>
                  <a:pt x="260775" y="175804"/>
                </a:lnTo>
                <a:lnTo>
                  <a:pt x="260775" y="175699"/>
                </a:lnTo>
                <a:lnTo>
                  <a:pt x="260881" y="175752"/>
                </a:lnTo>
                <a:lnTo>
                  <a:pt x="261198" y="175752"/>
                </a:lnTo>
                <a:lnTo>
                  <a:pt x="261356" y="175699"/>
                </a:lnTo>
                <a:lnTo>
                  <a:pt x="261462" y="175646"/>
                </a:lnTo>
                <a:lnTo>
                  <a:pt x="261462" y="175540"/>
                </a:lnTo>
                <a:lnTo>
                  <a:pt x="261409" y="175435"/>
                </a:lnTo>
                <a:lnTo>
                  <a:pt x="261303" y="175329"/>
                </a:lnTo>
                <a:lnTo>
                  <a:pt x="261303" y="175276"/>
                </a:lnTo>
                <a:lnTo>
                  <a:pt x="261303" y="175224"/>
                </a:lnTo>
                <a:lnTo>
                  <a:pt x="261250" y="175171"/>
                </a:lnTo>
                <a:lnTo>
                  <a:pt x="261198" y="175171"/>
                </a:lnTo>
                <a:lnTo>
                  <a:pt x="261198" y="175065"/>
                </a:lnTo>
                <a:lnTo>
                  <a:pt x="261198" y="174959"/>
                </a:lnTo>
                <a:lnTo>
                  <a:pt x="261145" y="174959"/>
                </a:lnTo>
                <a:lnTo>
                  <a:pt x="261145" y="174907"/>
                </a:lnTo>
                <a:lnTo>
                  <a:pt x="261145" y="174801"/>
                </a:lnTo>
                <a:lnTo>
                  <a:pt x="260934" y="174801"/>
                </a:lnTo>
                <a:lnTo>
                  <a:pt x="260881" y="174748"/>
                </a:lnTo>
                <a:lnTo>
                  <a:pt x="260775" y="174273"/>
                </a:lnTo>
                <a:lnTo>
                  <a:pt x="260722" y="174220"/>
                </a:lnTo>
                <a:lnTo>
                  <a:pt x="260353" y="174326"/>
                </a:lnTo>
                <a:lnTo>
                  <a:pt x="260300" y="174379"/>
                </a:lnTo>
                <a:lnTo>
                  <a:pt x="260247" y="174431"/>
                </a:lnTo>
                <a:lnTo>
                  <a:pt x="260194" y="174431"/>
                </a:lnTo>
                <a:lnTo>
                  <a:pt x="260141" y="174326"/>
                </a:lnTo>
                <a:lnTo>
                  <a:pt x="260141" y="174273"/>
                </a:lnTo>
                <a:lnTo>
                  <a:pt x="260036" y="174220"/>
                </a:lnTo>
                <a:lnTo>
                  <a:pt x="259772" y="174379"/>
                </a:lnTo>
                <a:lnTo>
                  <a:pt x="259719" y="174379"/>
                </a:lnTo>
                <a:lnTo>
                  <a:pt x="259719" y="174273"/>
                </a:lnTo>
                <a:lnTo>
                  <a:pt x="259772" y="174115"/>
                </a:lnTo>
                <a:lnTo>
                  <a:pt x="260194" y="174115"/>
                </a:lnTo>
                <a:lnTo>
                  <a:pt x="260194" y="174062"/>
                </a:lnTo>
                <a:lnTo>
                  <a:pt x="260194" y="174009"/>
                </a:lnTo>
                <a:lnTo>
                  <a:pt x="260247" y="173956"/>
                </a:lnTo>
                <a:lnTo>
                  <a:pt x="260353" y="173956"/>
                </a:lnTo>
                <a:lnTo>
                  <a:pt x="260458" y="174009"/>
                </a:lnTo>
                <a:lnTo>
                  <a:pt x="260511" y="174009"/>
                </a:lnTo>
                <a:lnTo>
                  <a:pt x="260617" y="173956"/>
                </a:lnTo>
                <a:lnTo>
                  <a:pt x="260564" y="173903"/>
                </a:lnTo>
                <a:lnTo>
                  <a:pt x="260458" y="173798"/>
                </a:lnTo>
                <a:lnTo>
                  <a:pt x="260194" y="173692"/>
                </a:lnTo>
                <a:lnTo>
                  <a:pt x="260089" y="173639"/>
                </a:lnTo>
                <a:lnTo>
                  <a:pt x="260036" y="173481"/>
                </a:lnTo>
                <a:lnTo>
                  <a:pt x="259983" y="173375"/>
                </a:lnTo>
                <a:lnTo>
                  <a:pt x="259877" y="173428"/>
                </a:lnTo>
                <a:lnTo>
                  <a:pt x="259772" y="173481"/>
                </a:lnTo>
                <a:lnTo>
                  <a:pt x="259455" y="173481"/>
                </a:lnTo>
                <a:lnTo>
                  <a:pt x="259402" y="173534"/>
                </a:lnTo>
                <a:lnTo>
                  <a:pt x="259349" y="173534"/>
                </a:lnTo>
                <a:lnTo>
                  <a:pt x="259349" y="173586"/>
                </a:lnTo>
                <a:lnTo>
                  <a:pt x="259349" y="173745"/>
                </a:lnTo>
                <a:lnTo>
                  <a:pt x="259296" y="173745"/>
                </a:lnTo>
                <a:lnTo>
                  <a:pt x="258980" y="173850"/>
                </a:lnTo>
                <a:lnTo>
                  <a:pt x="258927" y="173956"/>
                </a:lnTo>
                <a:lnTo>
                  <a:pt x="258874" y="174062"/>
                </a:lnTo>
                <a:lnTo>
                  <a:pt x="258821" y="174167"/>
                </a:lnTo>
                <a:lnTo>
                  <a:pt x="258821" y="174062"/>
                </a:lnTo>
                <a:lnTo>
                  <a:pt x="258821" y="173956"/>
                </a:lnTo>
                <a:lnTo>
                  <a:pt x="258768" y="173903"/>
                </a:lnTo>
                <a:lnTo>
                  <a:pt x="258716" y="173850"/>
                </a:lnTo>
                <a:lnTo>
                  <a:pt x="258821" y="173692"/>
                </a:lnTo>
                <a:lnTo>
                  <a:pt x="259138" y="173534"/>
                </a:lnTo>
                <a:lnTo>
                  <a:pt x="259296" y="173428"/>
                </a:lnTo>
                <a:lnTo>
                  <a:pt x="259508" y="173111"/>
                </a:lnTo>
                <a:lnTo>
                  <a:pt x="259508" y="173006"/>
                </a:lnTo>
                <a:lnTo>
                  <a:pt x="259402" y="172953"/>
                </a:lnTo>
                <a:lnTo>
                  <a:pt x="259296" y="172900"/>
                </a:lnTo>
                <a:lnTo>
                  <a:pt x="259244" y="172900"/>
                </a:lnTo>
                <a:lnTo>
                  <a:pt x="259244" y="172794"/>
                </a:lnTo>
                <a:lnTo>
                  <a:pt x="259296" y="172741"/>
                </a:lnTo>
                <a:lnTo>
                  <a:pt x="259296" y="172689"/>
                </a:lnTo>
                <a:lnTo>
                  <a:pt x="259349" y="172689"/>
                </a:lnTo>
                <a:lnTo>
                  <a:pt x="259349" y="172583"/>
                </a:lnTo>
                <a:lnTo>
                  <a:pt x="259349" y="172530"/>
                </a:lnTo>
                <a:lnTo>
                  <a:pt x="259296" y="172530"/>
                </a:lnTo>
                <a:lnTo>
                  <a:pt x="259455" y="172477"/>
                </a:lnTo>
                <a:lnTo>
                  <a:pt x="259613" y="172636"/>
                </a:lnTo>
                <a:lnTo>
                  <a:pt x="259877" y="173111"/>
                </a:lnTo>
                <a:lnTo>
                  <a:pt x="259983" y="173164"/>
                </a:lnTo>
                <a:lnTo>
                  <a:pt x="260353" y="173270"/>
                </a:lnTo>
                <a:lnTo>
                  <a:pt x="260511" y="173375"/>
                </a:lnTo>
                <a:lnTo>
                  <a:pt x="260722" y="173481"/>
                </a:lnTo>
                <a:lnTo>
                  <a:pt x="260881" y="173692"/>
                </a:lnTo>
                <a:lnTo>
                  <a:pt x="261092" y="173903"/>
                </a:lnTo>
                <a:lnTo>
                  <a:pt x="261198" y="173956"/>
                </a:lnTo>
                <a:lnTo>
                  <a:pt x="261250" y="173798"/>
                </a:lnTo>
                <a:lnTo>
                  <a:pt x="261250" y="173639"/>
                </a:lnTo>
                <a:lnTo>
                  <a:pt x="261198" y="173534"/>
                </a:lnTo>
                <a:lnTo>
                  <a:pt x="260934" y="173270"/>
                </a:lnTo>
                <a:lnTo>
                  <a:pt x="260828" y="173217"/>
                </a:lnTo>
                <a:lnTo>
                  <a:pt x="260564" y="173217"/>
                </a:lnTo>
                <a:lnTo>
                  <a:pt x="260511" y="173111"/>
                </a:lnTo>
                <a:lnTo>
                  <a:pt x="260353" y="172636"/>
                </a:lnTo>
                <a:lnTo>
                  <a:pt x="260353" y="172583"/>
                </a:lnTo>
                <a:lnTo>
                  <a:pt x="260353" y="172530"/>
                </a:lnTo>
                <a:lnTo>
                  <a:pt x="260353" y="172319"/>
                </a:lnTo>
                <a:lnTo>
                  <a:pt x="260353" y="172266"/>
                </a:lnTo>
                <a:lnTo>
                  <a:pt x="260247" y="172108"/>
                </a:lnTo>
                <a:lnTo>
                  <a:pt x="260141" y="172108"/>
                </a:lnTo>
                <a:lnTo>
                  <a:pt x="259983" y="172425"/>
                </a:lnTo>
                <a:lnTo>
                  <a:pt x="259930" y="172477"/>
                </a:lnTo>
                <a:lnTo>
                  <a:pt x="259930" y="172319"/>
                </a:lnTo>
                <a:lnTo>
                  <a:pt x="259930" y="172213"/>
                </a:lnTo>
                <a:lnTo>
                  <a:pt x="259930" y="172108"/>
                </a:lnTo>
                <a:lnTo>
                  <a:pt x="259825" y="172108"/>
                </a:lnTo>
                <a:lnTo>
                  <a:pt x="259930" y="171844"/>
                </a:lnTo>
                <a:lnTo>
                  <a:pt x="259930" y="171791"/>
                </a:lnTo>
                <a:lnTo>
                  <a:pt x="259930" y="171632"/>
                </a:lnTo>
                <a:lnTo>
                  <a:pt x="259877" y="171527"/>
                </a:lnTo>
                <a:lnTo>
                  <a:pt x="259825" y="171368"/>
                </a:lnTo>
                <a:lnTo>
                  <a:pt x="259825" y="171263"/>
                </a:lnTo>
                <a:lnTo>
                  <a:pt x="259877" y="171157"/>
                </a:lnTo>
                <a:lnTo>
                  <a:pt x="259666" y="170735"/>
                </a:lnTo>
                <a:lnTo>
                  <a:pt x="259561" y="170576"/>
                </a:lnTo>
                <a:lnTo>
                  <a:pt x="259402" y="170418"/>
                </a:lnTo>
                <a:lnTo>
                  <a:pt x="259402" y="170365"/>
                </a:lnTo>
                <a:lnTo>
                  <a:pt x="259349" y="170259"/>
                </a:lnTo>
                <a:lnTo>
                  <a:pt x="259191" y="170207"/>
                </a:lnTo>
                <a:lnTo>
                  <a:pt x="259191" y="170101"/>
                </a:lnTo>
                <a:lnTo>
                  <a:pt x="259191" y="169995"/>
                </a:lnTo>
                <a:lnTo>
                  <a:pt x="259191" y="169943"/>
                </a:lnTo>
                <a:lnTo>
                  <a:pt x="259085" y="169890"/>
                </a:lnTo>
                <a:lnTo>
                  <a:pt x="258927" y="169784"/>
                </a:lnTo>
                <a:lnTo>
                  <a:pt x="258821" y="169626"/>
                </a:lnTo>
                <a:lnTo>
                  <a:pt x="258716" y="169467"/>
                </a:lnTo>
                <a:lnTo>
                  <a:pt x="258610" y="169309"/>
                </a:lnTo>
                <a:lnTo>
                  <a:pt x="258346" y="169150"/>
                </a:lnTo>
                <a:lnTo>
                  <a:pt x="258240" y="169150"/>
                </a:lnTo>
                <a:lnTo>
                  <a:pt x="258187" y="169045"/>
                </a:lnTo>
                <a:lnTo>
                  <a:pt x="258135" y="168992"/>
                </a:lnTo>
                <a:lnTo>
                  <a:pt x="258029" y="168992"/>
                </a:lnTo>
                <a:lnTo>
                  <a:pt x="258029" y="169045"/>
                </a:lnTo>
                <a:lnTo>
                  <a:pt x="257923" y="169045"/>
                </a:lnTo>
                <a:lnTo>
                  <a:pt x="257923" y="168992"/>
                </a:lnTo>
                <a:lnTo>
                  <a:pt x="257871" y="168886"/>
                </a:lnTo>
                <a:lnTo>
                  <a:pt x="257871" y="168781"/>
                </a:lnTo>
                <a:lnTo>
                  <a:pt x="257818" y="168728"/>
                </a:lnTo>
                <a:lnTo>
                  <a:pt x="257765" y="168675"/>
                </a:lnTo>
                <a:lnTo>
                  <a:pt x="257712" y="168675"/>
                </a:lnTo>
                <a:lnTo>
                  <a:pt x="257659" y="168728"/>
                </a:lnTo>
                <a:lnTo>
                  <a:pt x="257659" y="168834"/>
                </a:lnTo>
                <a:lnTo>
                  <a:pt x="257659" y="168886"/>
                </a:lnTo>
                <a:lnTo>
                  <a:pt x="257448" y="168781"/>
                </a:lnTo>
                <a:lnTo>
                  <a:pt x="257395" y="168781"/>
                </a:lnTo>
                <a:lnTo>
                  <a:pt x="257237" y="168834"/>
                </a:lnTo>
                <a:lnTo>
                  <a:pt x="257184" y="168834"/>
                </a:lnTo>
                <a:lnTo>
                  <a:pt x="257078" y="168781"/>
                </a:lnTo>
                <a:lnTo>
                  <a:pt x="257026" y="168675"/>
                </a:lnTo>
                <a:lnTo>
                  <a:pt x="256814" y="168253"/>
                </a:lnTo>
                <a:lnTo>
                  <a:pt x="256867" y="168200"/>
                </a:lnTo>
                <a:lnTo>
                  <a:pt x="257026" y="168358"/>
                </a:lnTo>
                <a:lnTo>
                  <a:pt x="257131" y="168358"/>
                </a:lnTo>
                <a:lnTo>
                  <a:pt x="257184" y="168253"/>
                </a:lnTo>
                <a:lnTo>
                  <a:pt x="257237" y="167989"/>
                </a:lnTo>
                <a:lnTo>
                  <a:pt x="257290" y="167936"/>
                </a:lnTo>
                <a:lnTo>
                  <a:pt x="257342" y="167936"/>
                </a:lnTo>
                <a:lnTo>
                  <a:pt x="257342" y="167883"/>
                </a:lnTo>
                <a:lnTo>
                  <a:pt x="257342" y="167777"/>
                </a:lnTo>
                <a:lnTo>
                  <a:pt x="257290" y="167777"/>
                </a:lnTo>
                <a:lnTo>
                  <a:pt x="257290" y="167725"/>
                </a:lnTo>
                <a:lnTo>
                  <a:pt x="257290" y="167672"/>
                </a:lnTo>
                <a:lnTo>
                  <a:pt x="257290" y="167460"/>
                </a:lnTo>
                <a:lnTo>
                  <a:pt x="257290" y="167355"/>
                </a:lnTo>
                <a:lnTo>
                  <a:pt x="257131" y="167355"/>
                </a:lnTo>
                <a:lnTo>
                  <a:pt x="257078" y="167302"/>
                </a:lnTo>
                <a:lnTo>
                  <a:pt x="256973" y="167249"/>
                </a:lnTo>
                <a:lnTo>
                  <a:pt x="256920" y="167249"/>
                </a:lnTo>
                <a:lnTo>
                  <a:pt x="256920" y="167038"/>
                </a:lnTo>
                <a:lnTo>
                  <a:pt x="256920" y="166932"/>
                </a:lnTo>
                <a:lnTo>
                  <a:pt x="256920" y="166880"/>
                </a:lnTo>
                <a:lnTo>
                  <a:pt x="256920" y="166774"/>
                </a:lnTo>
                <a:lnTo>
                  <a:pt x="256867" y="166668"/>
                </a:lnTo>
                <a:lnTo>
                  <a:pt x="256814" y="166563"/>
                </a:lnTo>
                <a:lnTo>
                  <a:pt x="256709" y="166510"/>
                </a:lnTo>
                <a:lnTo>
                  <a:pt x="256603" y="166510"/>
                </a:lnTo>
                <a:lnTo>
                  <a:pt x="256339" y="166563"/>
                </a:lnTo>
                <a:lnTo>
                  <a:pt x="256181" y="166668"/>
                </a:lnTo>
                <a:lnTo>
                  <a:pt x="256181" y="166880"/>
                </a:lnTo>
                <a:lnTo>
                  <a:pt x="256075" y="166932"/>
                </a:lnTo>
                <a:lnTo>
                  <a:pt x="255969" y="166827"/>
                </a:lnTo>
                <a:lnTo>
                  <a:pt x="255969" y="166668"/>
                </a:lnTo>
                <a:lnTo>
                  <a:pt x="256075" y="166563"/>
                </a:lnTo>
                <a:lnTo>
                  <a:pt x="256075" y="166510"/>
                </a:lnTo>
                <a:lnTo>
                  <a:pt x="255917" y="166404"/>
                </a:lnTo>
                <a:lnTo>
                  <a:pt x="255494" y="166404"/>
                </a:lnTo>
                <a:lnTo>
                  <a:pt x="254755" y="166246"/>
                </a:lnTo>
                <a:close/>
                <a:moveTo>
                  <a:pt x="256603" y="175804"/>
                </a:moveTo>
                <a:lnTo>
                  <a:pt x="256498" y="175857"/>
                </a:lnTo>
                <a:lnTo>
                  <a:pt x="256445" y="175910"/>
                </a:lnTo>
                <a:lnTo>
                  <a:pt x="256392" y="176016"/>
                </a:lnTo>
                <a:lnTo>
                  <a:pt x="256392" y="176068"/>
                </a:lnTo>
                <a:lnTo>
                  <a:pt x="256550" y="176227"/>
                </a:lnTo>
                <a:lnTo>
                  <a:pt x="256233" y="176333"/>
                </a:lnTo>
                <a:lnTo>
                  <a:pt x="256233" y="176385"/>
                </a:lnTo>
                <a:lnTo>
                  <a:pt x="256392" y="176385"/>
                </a:lnTo>
                <a:lnTo>
                  <a:pt x="256445" y="176491"/>
                </a:lnTo>
                <a:lnTo>
                  <a:pt x="256445" y="176544"/>
                </a:lnTo>
                <a:lnTo>
                  <a:pt x="256233" y="176544"/>
                </a:lnTo>
                <a:lnTo>
                  <a:pt x="256392" y="176755"/>
                </a:lnTo>
                <a:lnTo>
                  <a:pt x="256286" y="176755"/>
                </a:lnTo>
                <a:lnTo>
                  <a:pt x="256392" y="176808"/>
                </a:lnTo>
                <a:lnTo>
                  <a:pt x="256603" y="176861"/>
                </a:lnTo>
                <a:lnTo>
                  <a:pt x="256709" y="177019"/>
                </a:lnTo>
                <a:lnTo>
                  <a:pt x="256233" y="177019"/>
                </a:lnTo>
                <a:lnTo>
                  <a:pt x="256233" y="177125"/>
                </a:lnTo>
                <a:lnTo>
                  <a:pt x="256286" y="177230"/>
                </a:lnTo>
                <a:lnTo>
                  <a:pt x="256286" y="177283"/>
                </a:lnTo>
                <a:lnTo>
                  <a:pt x="256286" y="177336"/>
                </a:lnTo>
                <a:lnTo>
                  <a:pt x="256498" y="177653"/>
                </a:lnTo>
                <a:lnTo>
                  <a:pt x="256603" y="177864"/>
                </a:lnTo>
                <a:lnTo>
                  <a:pt x="256498" y="177970"/>
                </a:lnTo>
                <a:lnTo>
                  <a:pt x="256550" y="178075"/>
                </a:lnTo>
                <a:lnTo>
                  <a:pt x="256550" y="178128"/>
                </a:lnTo>
                <a:lnTo>
                  <a:pt x="256550" y="178181"/>
                </a:lnTo>
                <a:lnTo>
                  <a:pt x="256603" y="178286"/>
                </a:lnTo>
                <a:lnTo>
                  <a:pt x="256656" y="178286"/>
                </a:lnTo>
                <a:lnTo>
                  <a:pt x="256762" y="178234"/>
                </a:lnTo>
                <a:lnTo>
                  <a:pt x="256973" y="178234"/>
                </a:lnTo>
                <a:lnTo>
                  <a:pt x="256973" y="178286"/>
                </a:lnTo>
                <a:lnTo>
                  <a:pt x="256973" y="178339"/>
                </a:lnTo>
                <a:lnTo>
                  <a:pt x="256920" y="178339"/>
                </a:lnTo>
                <a:lnTo>
                  <a:pt x="256814" y="178392"/>
                </a:lnTo>
                <a:lnTo>
                  <a:pt x="256814" y="178445"/>
                </a:lnTo>
                <a:lnTo>
                  <a:pt x="257026" y="178445"/>
                </a:lnTo>
                <a:lnTo>
                  <a:pt x="257078" y="178498"/>
                </a:lnTo>
                <a:lnTo>
                  <a:pt x="257026" y="178603"/>
                </a:lnTo>
                <a:lnTo>
                  <a:pt x="257026" y="178709"/>
                </a:lnTo>
                <a:lnTo>
                  <a:pt x="257078" y="178815"/>
                </a:lnTo>
                <a:lnTo>
                  <a:pt x="257184" y="178815"/>
                </a:lnTo>
                <a:lnTo>
                  <a:pt x="257237" y="178867"/>
                </a:lnTo>
                <a:lnTo>
                  <a:pt x="257290" y="179131"/>
                </a:lnTo>
                <a:lnTo>
                  <a:pt x="257395" y="179184"/>
                </a:lnTo>
                <a:lnTo>
                  <a:pt x="257554" y="179079"/>
                </a:lnTo>
                <a:lnTo>
                  <a:pt x="257659" y="179079"/>
                </a:lnTo>
                <a:lnTo>
                  <a:pt x="257712" y="179131"/>
                </a:lnTo>
                <a:lnTo>
                  <a:pt x="257712" y="179237"/>
                </a:lnTo>
                <a:lnTo>
                  <a:pt x="257659" y="179343"/>
                </a:lnTo>
                <a:lnTo>
                  <a:pt x="257554" y="179396"/>
                </a:lnTo>
                <a:lnTo>
                  <a:pt x="257501" y="179396"/>
                </a:lnTo>
                <a:lnTo>
                  <a:pt x="257554" y="179501"/>
                </a:lnTo>
                <a:lnTo>
                  <a:pt x="258029" y="179924"/>
                </a:lnTo>
                <a:lnTo>
                  <a:pt x="257976" y="179924"/>
                </a:lnTo>
                <a:lnTo>
                  <a:pt x="257976" y="179976"/>
                </a:lnTo>
                <a:lnTo>
                  <a:pt x="258029" y="180082"/>
                </a:lnTo>
                <a:lnTo>
                  <a:pt x="258082" y="180240"/>
                </a:lnTo>
                <a:lnTo>
                  <a:pt x="258082" y="180293"/>
                </a:lnTo>
                <a:lnTo>
                  <a:pt x="258293" y="180240"/>
                </a:lnTo>
                <a:lnTo>
                  <a:pt x="258399" y="180293"/>
                </a:lnTo>
                <a:lnTo>
                  <a:pt x="258451" y="180452"/>
                </a:lnTo>
                <a:lnTo>
                  <a:pt x="258874" y="180452"/>
                </a:lnTo>
                <a:lnTo>
                  <a:pt x="258716" y="180240"/>
                </a:lnTo>
                <a:lnTo>
                  <a:pt x="258663" y="179976"/>
                </a:lnTo>
                <a:lnTo>
                  <a:pt x="258610" y="179871"/>
                </a:lnTo>
                <a:lnTo>
                  <a:pt x="258346" y="179765"/>
                </a:lnTo>
                <a:lnTo>
                  <a:pt x="258399" y="179765"/>
                </a:lnTo>
                <a:lnTo>
                  <a:pt x="258399" y="179712"/>
                </a:lnTo>
                <a:lnTo>
                  <a:pt x="258504" y="179607"/>
                </a:lnTo>
                <a:lnTo>
                  <a:pt x="258504" y="179554"/>
                </a:lnTo>
                <a:lnTo>
                  <a:pt x="258346" y="179290"/>
                </a:lnTo>
                <a:lnTo>
                  <a:pt x="258346" y="179237"/>
                </a:lnTo>
                <a:lnTo>
                  <a:pt x="258346" y="179184"/>
                </a:lnTo>
                <a:lnTo>
                  <a:pt x="258346" y="179131"/>
                </a:lnTo>
                <a:lnTo>
                  <a:pt x="258346" y="179079"/>
                </a:lnTo>
                <a:lnTo>
                  <a:pt x="258240" y="179026"/>
                </a:lnTo>
                <a:lnTo>
                  <a:pt x="258029" y="179026"/>
                </a:lnTo>
                <a:lnTo>
                  <a:pt x="258135" y="178920"/>
                </a:lnTo>
                <a:lnTo>
                  <a:pt x="258135" y="178815"/>
                </a:lnTo>
                <a:lnTo>
                  <a:pt x="258082" y="178762"/>
                </a:lnTo>
                <a:lnTo>
                  <a:pt x="257976" y="178762"/>
                </a:lnTo>
                <a:lnTo>
                  <a:pt x="257976" y="178603"/>
                </a:lnTo>
                <a:lnTo>
                  <a:pt x="257923" y="178498"/>
                </a:lnTo>
                <a:lnTo>
                  <a:pt x="257712" y="178392"/>
                </a:lnTo>
                <a:lnTo>
                  <a:pt x="257765" y="178286"/>
                </a:lnTo>
                <a:lnTo>
                  <a:pt x="257765" y="178234"/>
                </a:lnTo>
                <a:lnTo>
                  <a:pt x="257712" y="178234"/>
                </a:lnTo>
                <a:lnTo>
                  <a:pt x="257765" y="178181"/>
                </a:lnTo>
                <a:lnTo>
                  <a:pt x="257712" y="178181"/>
                </a:lnTo>
                <a:lnTo>
                  <a:pt x="257554" y="178234"/>
                </a:lnTo>
                <a:lnTo>
                  <a:pt x="257554" y="177864"/>
                </a:lnTo>
                <a:lnTo>
                  <a:pt x="257448" y="177600"/>
                </a:lnTo>
                <a:lnTo>
                  <a:pt x="257342" y="177547"/>
                </a:lnTo>
                <a:lnTo>
                  <a:pt x="257184" y="177547"/>
                </a:lnTo>
                <a:lnTo>
                  <a:pt x="257026" y="177442"/>
                </a:lnTo>
                <a:lnTo>
                  <a:pt x="257026" y="177389"/>
                </a:lnTo>
                <a:lnTo>
                  <a:pt x="257078" y="177389"/>
                </a:lnTo>
                <a:lnTo>
                  <a:pt x="257290" y="177336"/>
                </a:lnTo>
                <a:lnTo>
                  <a:pt x="257290" y="177283"/>
                </a:lnTo>
                <a:lnTo>
                  <a:pt x="256867" y="177072"/>
                </a:lnTo>
                <a:lnTo>
                  <a:pt x="256973" y="176913"/>
                </a:lnTo>
                <a:lnTo>
                  <a:pt x="257184" y="177019"/>
                </a:lnTo>
                <a:lnTo>
                  <a:pt x="257342" y="177177"/>
                </a:lnTo>
                <a:lnTo>
                  <a:pt x="257448" y="177283"/>
                </a:lnTo>
                <a:lnTo>
                  <a:pt x="257290" y="177072"/>
                </a:lnTo>
                <a:lnTo>
                  <a:pt x="257290" y="177019"/>
                </a:lnTo>
                <a:lnTo>
                  <a:pt x="257290" y="176861"/>
                </a:lnTo>
                <a:lnTo>
                  <a:pt x="257290" y="176808"/>
                </a:lnTo>
                <a:lnTo>
                  <a:pt x="257237" y="176755"/>
                </a:lnTo>
                <a:lnTo>
                  <a:pt x="257026" y="176649"/>
                </a:lnTo>
                <a:lnTo>
                  <a:pt x="256973" y="176597"/>
                </a:lnTo>
                <a:lnTo>
                  <a:pt x="256973" y="176333"/>
                </a:lnTo>
                <a:lnTo>
                  <a:pt x="256973" y="176174"/>
                </a:lnTo>
                <a:lnTo>
                  <a:pt x="256920" y="176121"/>
                </a:lnTo>
                <a:lnTo>
                  <a:pt x="256814" y="176121"/>
                </a:lnTo>
                <a:lnTo>
                  <a:pt x="256814" y="176016"/>
                </a:lnTo>
                <a:lnTo>
                  <a:pt x="256814" y="175910"/>
                </a:lnTo>
                <a:lnTo>
                  <a:pt x="256762" y="175804"/>
                </a:lnTo>
                <a:close/>
                <a:moveTo>
                  <a:pt x="111693" y="177177"/>
                </a:moveTo>
                <a:lnTo>
                  <a:pt x="111534" y="177230"/>
                </a:lnTo>
                <a:lnTo>
                  <a:pt x="111429" y="177283"/>
                </a:lnTo>
                <a:lnTo>
                  <a:pt x="111376" y="177336"/>
                </a:lnTo>
                <a:lnTo>
                  <a:pt x="110901" y="177389"/>
                </a:lnTo>
                <a:lnTo>
                  <a:pt x="110795" y="177442"/>
                </a:lnTo>
                <a:lnTo>
                  <a:pt x="110584" y="177706"/>
                </a:lnTo>
                <a:lnTo>
                  <a:pt x="110373" y="177864"/>
                </a:lnTo>
                <a:lnTo>
                  <a:pt x="110267" y="177917"/>
                </a:lnTo>
                <a:lnTo>
                  <a:pt x="109950" y="177970"/>
                </a:lnTo>
                <a:lnTo>
                  <a:pt x="109792" y="178022"/>
                </a:lnTo>
                <a:lnTo>
                  <a:pt x="109633" y="178128"/>
                </a:lnTo>
                <a:lnTo>
                  <a:pt x="109475" y="178339"/>
                </a:lnTo>
                <a:lnTo>
                  <a:pt x="109528" y="178445"/>
                </a:lnTo>
                <a:lnTo>
                  <a:pt x="109528" y="178498"/>
                </a:lnTo>
                <a:lnTo>
                  <a:pt x="109475" y="178551"/>
                </a:lnTo>
                <a:lnTo>
                  <a:pt x="109052" y="178551"/>
                </a:lnTo>
                <a:lnTo>
                  <a:pt x="108947" y="178498"/>
                </a:lnTo>
                <a:lnTo>
                  <a:pt x="108736" y="178286"/>
                </a:lnTo>
                <a:lnTo>
                  <a:pt x="108630" y="178234"/>
                </a:lnTo>
                <a:lnTo>
                  <a:pt x="108366" y="178234"/>
                </a:lnTo>
                <a:lnTo>
                  <a:pt x="108260" y="178286"/>
                </a:lnTo>
                <a:lnTo>
                  <a:pt x="107943" y="178551"/>
                </a:lnTo>
                <a:lnTo>
                  <a:pt x="107943" y="178603"/>
                </a:lnTo>
                <a:lnTo>
                  <a:pt x="107891" y="178920"/>
                </a:lnTo>
                <a:lnTo>
                  <a:pt x="107838" y="178973"/>
                </a:lnTo>
                <a:lnTo>
                  <a:pt x="107257" y="180293"/>
                </a:lnTo>
                <a:lnTo>
                  <a:pt x="107046" y="180505"/>
                </a:lnTo>
                <a:lnTo>
                  <a:pt x="106782" y="180663"/>
                </a:lnTo>
                <a:lnTo>
                  <a:pt x="106412" y="180769"/>
                </a:lnTo>
                <a:lnTo>
                  <a:pt x="106253" y="180821"/>
                </a:lnTo>
                <a:lnTo>
                  <a:pt x="106095" y="180927"/>
                </a:lnTo>
                <a:lnTo>
                  <a:pt x="106042" y="181033"/>
                </a:lnTo>
                <a:lnTo>
                  <a:pt x="106095" y="181297"/>
                </a:lnTo>
                <a:lnTo>
                  <a:pt x="106148" y="181402"/>
                </a:lnTo>
                <a:lnTo>
                  <a:pt x="106148" y="181508"/>
                </a:lnTo>
                <a:lnTo>
                  <a:pt x="106148" y="181614"/>
                </a:lnTo>
                <a:lnTo>
                  <a:pt x="106201" y="181666"/>
                </a:lnTo>
                <a:lnTo>
                  <a:pt x="106253" y="181772"/>
                </a:lnTo>
                <a:lnTo>
                  <a:pt x="106253" y="181930"/>
                </a:lnTo>
                <a:lnTo>
                  <a:pt x="106306" y="181983"/>
                </a:lnTo>
                <a:lnTo>
                  <a:pt x="106412" y="182089"/>
                </a:lnTo>
                <a:lnTo>
                  <a:pt x="106518" y="182353"/>
                </a:lnTo>
                <a:lnTo>
                  <a:pt x="106623" y="182458"/>
                </a:lnTo>
                <a:lnTo>
                  <a:pt x="106729" y="182511"/>
                </a:lnTo>
                <a:lnTo>
                  <a:pt x="107468" y="182617"/>
                </a:lnTo>
                <a:lnTo>
                  <a:pt x="107521" y="182617"/>
                </a:lnTo>
                <a:lnTo>
                  <a:pt x="107627" y="182511"/>
                </a:lnTo>
                <a:lnTo>
                  <a:pt x="108155" y="182511"/>
                </a:lnTo>
                <a:lnTo>
                  <a:pt x="108366" y="182406"/>
                </a:lnTo>
                <a:lnTo>
                  <a:pt x="108630" y="182300"/>
                </a:lnTo>
                <a:lnTo>
                  <a:pt x="108841" y="182142"/>
                </a:lnTo>
                <a:lnTo>
                  <a:pt x="108947" y="181878"/>
                </a:lnTo>
                <a:lnTo>
                  <a:pt x="108947" y="181772"/>
                </a:lnTo>
                <a:lnTo>
                  <a:pt x="108947" y="181719"/>
                </a:lnTo>
                <a:lnTo>
                  <a:pt x="108947" y="181666"/>
                </a:lnTo>
                <a:lnTo>
                  <a:pt x="108947" y="181561"/>
                </a:lnTo>
                <a:lnTo>
                  <a:pt x="108947" y="181455"/>
                </a:lnTo>
                <a:lnTo>
                  <a:pt x="109475" y="180980"/>
                </a:lnTo>
                <a:lnTo>
                  <a:pt x="109633" y="180874"/>
                </a:lnTo>
                <a:lnTo>
                  <a:pt x="109897" y="180769"/>
                </a:lnTo>
                <a:lnTo>
                  <a:pt x="111482" y="180610"/>
                </a:lnTo>
                <a:lnTo>
                  <a:pt x="112010" y="180821"/>
                </a:lnTo>
                <a:lnTo>
                  <a:pt x="112274" y="180821"/>
                </a:lnTo>
                <a:lnTo>
                  <a:pt x="112696" y="180610"/>
                </a:lnTo>
                <a:lnTo>
                  <a:pt x="112802" y="180610"/>
                </a:lnTo>
                <a:lnTo>
                  <a:pt x="112855" y="180452"/>
                </a:lnTo>
                <a:lnTo>
                  <a:pt x="113119" y="180399"/>
                </a:lnTo>
                <a:lnTo>
                  <a:pt x="113224" y="180240"/>
                </a:lnTo>
                <a:lnTo>
                  <a:pt x="113224" y="180135"/>
                </a:lnTo>
                <a:lnTo>
                  <a:pt x="113172" y="179871"/>
                </a:lnTo>
                <a:lnTo>
                  <a:pt x="113172" y="179818"/>
                </a:lnTo>
                <a:lnTo>
                  <a:pt x="113224" y="179765"/>
                </a:lnTo>
                <a:lnTo>
                  <a:pt x="113277" y="179712"/>
                </a:lnTo>
                <a:lnTo>
                  <a:pt x="113436" y="179554"/>
                </a:lnTo>
                <a:lnTo>
                  <a:pt x="113541" y="179660"/>
                </a:lnTo>
                <a:lnTo>
                  <a:pt x="113700" y="179976"/>
                </a:lnTo>
                <a:lnTo>
                  <a:pt x="113805" y="180029"/>
                </a:lnTo>
                <a:lnTo>
                  <a:pt x="113964" y="180029"/>
                </a:lnTo>
                <a:lnTo>
                  <a:pt x="114017" y="180188"/>
                </a:lnTo>
                <a:lnTo>
                  <a:pt x="114069" y="180240"/>
                </a:lnTo>
                <a:lnTo>
                  <a:pt x="114175" y="180240"/>
                </a:lnTo>
                <a:lnTo>
                  <a:pt x="114333" y="180082"/>
                </a:lnTo>
                <a:lnTo>
                  <a:pt x="114545" y="180082"/>
                </a:lnTo>
                <a:lnTo>
                  <a:pt x="114597" y="180135"/>
                </a:lnTo>
                <a:lnTo>
                  <a:pt x="114650" y="180188"/>
                </a:lnTo>
                <a:lnTo>
                  <a:pt x="114492" y="180293"/>
                </a:lnTo>
                <a:lnTo>
                  <a:pt x="114386" y="180293"/>
                </a:lnTo>
                <a:lnTo>
                  <a:pt x="114492" y="180346"/>
                </a:lnTo>
                <a:lnTo>
                  <a:pt x="114914" y="180399"/>
                </a:lnTo>
                <a:lnTo>
                  <a:pt x="114967" y="180399"/>
                </a:lnTo>
                <a:lnTo>
                  <a:pt x="114967" y="180293"/>
                </a:lnTo>
                <a:lnTo>
                  <a:pt x="114861" y="180240"/>
                </a:lnTo>
                <a:lnTo>
                  <a:pt x="114861" y="180188"/>
                </a:lnTo>
                <a:lnTo>
                  <a:pt x="114809" y="180135"/>
                </a:lnTo>
                <a:lnTo>
                  <a:pt x="114809" y="180082"/>
                </a:lnTo>
                <a:lnTo>
                  <a:pt x="114756" y="180029"/>
                </a:lnTo>
                <a:lnTo>
                  <a:pt x="114703" y="179976"/>
                </a:lnTo>
                <a:lnTo>
                  <a:pt x="114597" y="179660"/>
                </a:lnTo>
                <a:lnTo>
                  <a:pt x="114545" y="179501"/>
                </a:lnTo>
                <a:lnTo>
                  <a:pt x="114439" y="179448"/>
                </a:lnTo>
                <a:lnTo>
                  <a:pt x="114281" y="179448"/>
                </a:lnTo>
                <a:lnTo>
                  <a:pt x="114228" y="179501"/>
                </a:lnTo>
                <a:lnTo>
                  <a:pt x="114175" y="179554"/>
                </a:lnTo>
                <a:lnTo>
                  <a:pt x="114175" y="179607"/>
                </a:lnTo>
                <a:lnTo>
                  <a:pt x="113700" y="179607"/>
                </a:lnTo>
                <a:lnTo>
                  <a:pt x="113594" y="179501"/>
                </a:lnTo>
                <a:lnTo>
                  <a:pt x="113488" y="179396"/>
                </a:lnTo>
                <a:lnTo>
                  <a:pt x="113277" y="178920"/>
                </a:lnTo>
                <a:lnTo>
                  <a:pt x="113277" y="178762"/>
                </a:lnTo>
                <a:lnTo>
                  <a:pt x="113277" y="178392"/>
                </a:lnTo>
                <a:lnTo>
                  <a:pt x="113224" y="178234"/>
                </a:lnTo>
                <a:lnTo>
                  <a:pt x="113172" y="178075"/>
                </a:lnTo>
                <a:lnTo>
                  <a:pt x="113066" y="177917"/>
                </a:lnTo>
                <a:lnTo>
                  <a:pt x="113013" y="177811"/>
                </a:lnTo>
                <a:lnTo>
                  <a:pt x="112855" y="177653"/>
                </a:lnTo>
                <a:lnTo>
                  <a:pt x="112749" y="177600"/>
                </a:lnTo>
                <a:lnTo>
                  <a:pt x="112696" y="177547"/>
                </a:lnTo>
                <a:lnTo>
                  <a:pt x="112696" y="177442"/>
                </a:lnTo>
                <a:lnTo>
                  <a:pt x="112696" y="177389"/>
                </a:lnTo>
                <a:lnTo>
                  <a:pt x="112696" y="177336"/>
                </a:lnTo>
                <a:lnTo>
                  <a:pt x="112749" y="177336"/>
                </a:lnTo>
                <a:lnTo>
                  <a:pt x="112538" y="177230"/>
                </a:lnTo>
                <a:lnTo>
                  <a:pt x="112010" y="177336"/>
                </a:lnTo>
                <a:lnTo>
                  <a:pt x="111693" y="177177"/>
                </a:lnTo>
                <a:close/>
                <a:moveTo>
                  <a:pt x="115918" y="182353"/>
                </a:moveTo>
                <a:lnTo>
                  <a:pt x="116076" y="182511"/>
                </a:lnTo>
                <a:lnTo>
                  <a:pt x="116129" y="182564"/>
                </a:lnTo>
                <a:lnTo>
                  <a:pt x="116182" y="182617"/>
                </a:lnTo>
                <a:lnTo>
                  <a:pt x="116182" y="182564"/>
                </a:lnTo>
                <a:lnTo>
                  <a:pt x="116129" y="182458"/>
                </a:lnTo>
                <a:lnTo>
                  <a:pt x="116023" y="182353"/>
                </a:lnTo>
                <a:close/>
                <a:moveTo>
                  <a:pt x="116023" y="181666"/>
                </a:moveTo>
                <a:lnTo>
                  <a:pt x="116023" y="181772"/>
                </a:lnTo>
                <a:lnTo>
                  <a:pt x="116076" y="181930"/>
                </a:lnTo>
                <a:lnTo>
                  <a:pt x="116076" y="181983"/>
                </a:lnTo>
                <a:lnTo>
                  <a:pt x="115970" y="181983"/>
                </a:lnTo>
                <a:lnTo>
                  <a:pt x="116182" y="182300"/>
                </a:lnTo>
                <a:lnTo>
                  <a:pt x="116235" y="182353"/>
                </a:lnTo>
                <a:lnTo>
                  <a:pt x="116393" y="182406"/>
                </a:lnTo>
                <a:lnTo>
                  <a:pt x="116499" y="182511"/>
                </a:lnTo>
                <a:lnTo>
                  <a:pt x="116763" y="182617"/>
                </a:lnTo>
                <a:lnTo>
                  <a:pt x="116921" y="182670"/>
                </a:lnTo>
                <a:lnTo>
                  <a:pt x="116921" y="182617"/>
                </a:lnTo>
                <a:lnTo>
                  <a:pt x="116868" y="182564"/>
                </a:lnTo>
                <a:lnTo>
                  <a:pt x="117344" y="182617"/>
                </a:lnTo>
                <a:lnTo>
                  <a:pt x="117344" y="182406"/>
                </a:lnTo>
                <a:lnTo>
                  <a:pt x="117291" y="182353"/>
                </a:lnTo>
                <a:lnTo>
                  <a:pt x="117132" y="182194"/>
                </a:lnTo>
                <a:lnTo>
                  <a:pt x="117132" y="182142"/>
                </a:lnTo>
                <a:lnTo>
                  <a:pt x="117132" y="182089"/>
                </a:lnTo>
                <a:lnTo>
                  <a:pt x="117027" y="182089"/>
                </a:lnTo>
                <a:lnTo>
                  <a:pt x="116868" y="181983"/>
                </a:lnTo>
                <a:lnTo>
                  <a:pt x="116710" y="181930"/>
                </a:lnTo>
                <a:lnTo>
                  <a:pt x="116499" y="181825"/>
                </a:lnTo>
                <a:lnTo>
                  <a:pt x="116340" y="181825"/>
                </a:lnTo>
                <a:lnTo>
                  <a:pt x="116182" y="181719"/>
                </a:lnTo>
                <a:lnTo>
                  <a:pt x="116076" y="181666"/>
                </a:lnTo>
                <a:close/>
                <a:moveTo>
                  <a:pt x="116182" y="182617"/>
                </a:moveTo>
                <a:lnTo>
                  <a:pt x="116287" y="182723"/>
                </a:lnTo>
                <a:lnTo>
                  <a:pt x="116393" y="182723"/>
                </a:lnTo>
                <a:lnTo>
                  <a:pt x="116340" y="182670"/>
                </a:lnTo>
                <a:lnTo>
                  <a:pt x="116235" y="182617"/>
                </a:lnTo>
                <a:close/>
                <a:moveTo>
                  <a:pt x="116921" y="182670"/>
                </a:moveTo>
                <a:lnTo>
                  <a:pt x="116974" y="182723"/>
                </a:lnTo>
                <a:lnTo>
                  <a:pt x="117027" y="182723"/>
                </a:lnTo>
                <a:lnTo>
                  <a:pt x="117027" y="182670"/>
                </a:lnTo>
                <a:close/>
                <a:moveTo>
                  <a:pt x="117660" y="182353"/>
                </a:moveTo>
                <a:lnTo>
                  <a:pt x="117660" y="182406"/>
                </a:lnTo>
                <a:lnTo>
                  <a:pt x="117660" y="182458"/>
                </a:lnTo>
                <a:lnTo>
                  <a:pt x="117660" y="182511"/>
                </a:lnTo>
                <a:lnTo>
                  <a:pt x="117766" y="182670"/>
                </a:lnTo>
                <a:lnTo>
                  <a:pt x="117872" y="182723"/>
                </a:lnTo>
                <a:lnTo>
                  <a:pt x="117977" y="182723"/>
                </a:lnTo>
                <a:lnTo>
                  <a:pt x="118188" y="182617"/>
                </a:lnTo>
                <a:lnTo>
                  <a:pt x="118188" y="182564"/>
                </a:lnTo>
                <a:lnTo>
                  <a:pt x="118083" y="182617"/>
                </a:lnTo>
                <a:lnTo>
                  <a:pt x="118030" y="182617"/>
                </a:lnTo>
                <a:lnTo>
                  <a:pt x="118030" y="182564"/>
                </a:lnTo>
                <a:lnTo>
                  <a:pt x="118030" y="182458"/>
                </a:lnTo>
                <a:lnTo>
                  <a:pt x="117766" y="182353"/>
                </a:lnTo>
                <a:close/>
                <a:moveTo>
                  <a:pt x="117449" y="182723"/>
                </a:moveTo>
                <a:lnTo>
                  <a:pt x="117449" y="182775"/>
                </a:lnTo>
                <a:lnTo>
                  <a:pt x="117608" y="182828"/>
                </a:lnTo>
                <a:lnTo>
                  <a:pt x="117660" y="182828"/>
                </a:lnTo>
                <a:lnTo>
                  <a:pt x="117660" y="182775"/>
                </a:lnTo>
                <a:lnTo>
                  <a:pt x="117608" y="182723"/>
                </a:lnTo>
                <a:close/>
                <a:moveTo>
                  <a:pt x="102768" y="183356"/>
                </a:moveTo>
                <a:lnTo>
                  <a:pt x="102768" y="183515"/>
                </a:lnTo>
                <a:lnTo>
                  <a:pt x="102662" y="183515"/>
                </a:lnTo>
                <a:lnTo>
                  <a:pt x="102610" y="183567"/>
                </a:lnTo>
                <a:lnTo>
                  <a:pt x="102557" y="183726"/>
                </a:lnTo>
                <a:lnTo>
                  <a:pt x="102557" y="183832"/>
                </a:lnTo>
                <a:lnTo>
                  <a:pt x="102979" y="183779"/>
                </a:lnTo>
                <a:lnTo>
                  <a:pt x="103085" y="183726"/>
                </a:lnTo>
                <a:lnTo>
                  <a:pt x="103138" y="183673"/>
                </a:lnTo>
                <a:lnTo>
                  <a:pt x="103190" y="183567"/>
                </a:lnTo>
                <a:lnTo>
                  <a:pt x="103190" y="183462"/>
                </a:lnTo>
                <a:lnTo>
                  <a:pt x="103296" y="183462"/>
                </a:lnTo>
                <a:lnTo>
                  <a:pt x="103349" y="183409"/>
                </a:lnTo>
                <a:lnTo>
                  <a:pt x="103349" y="183356"/>
                </a:lnTo>
                <a:lnTo>
                  <a:pt x="103190" y="183356"/>
                </a:lnTo>
                <a:lnTo>
                  <a:pt x="102979" y="183515"/>
                </a:lnTo>
                <a:lnTo>
                  <a:pt x="102926" y="183567"/>
                </a:lnTo>
                <a:lnTo>
                  <a:pt x="102926" y="183409"/>
                </a:lnTo>
                <a:lnTo>
                  <a:pt x="102821" y="183409"/>
                </a:lnTo>
                <a:lnTo>
                  <a:pt x="102768" y="183356"/>
                </a:lnTo>
                <a:close/>
                <a:moveTo>
                  <a:pt x="102979" y="183779"/>
                </a:moveTo>
                <a:lnTo>
                  <a:pt x="103032" y="183832"/>
                </a:lnTo>
                <a:lnTo>
                  <a:pt x="103085" y="183832"/>
                </a:lnTo>
                <a:lnTo>
                  <a:pt x="102979" y="183779"/>
                </a:lnTo>
                <a:close/>
                <a:moveTo>
                  <a:pt x="106623" y="183937"/>
                </a:moveTo>
                <a:lnTo>
                  <a:pt x="106253" y="184148"/>
                </a:lnTo>
                <a:lnTo>
                  <a:pt x="106253" y="184201"/>
                </a:lnTo>
                <a:lnTo>
                  <a:pt x="106306" y="184201"/>
                </a:lnTo>
                <a:lnTo>
                  <a:pt x="106676" y="184043"/>
                </a:lnTo>
                <a:lnTo>
                  <a:pt x="106782" y="184043"/>
                </a:lnTo>
                <a:lnTo>
                  <a:pt x="106782" y="183990"/>
                </a:lnTo>
                <a:lnTo>
                  <a:pt x="106676" y="183937"/>
                </a:lnTo>
                <a:close/>
                <a:moveTo>
                  <a:pt x="103085" y="183832"/>
                </a:moveTo>
                <a:lnTo>
                  <a:pt x="102979" y="183990"/>
                </a:lnTo>
                <a:lnTo>
                  <a:pt x="102874" y="184096"/>
                </a:lnTo>
                <a:lnTo>
                  <a:pt x="102821" y="184201"/>
                </a:lnTo>
                <a:lnTo>
                  <a:pt x="102979" y="184307"/>
                </a:lnTo>
                <a:lnTo>
                  <a:pt x="102926" y="184412"/>
                </a:lnTo>
                <a:lnTo>
                  <a:pt x="102874" y="184518"/>
                </a:lnTo>
                <a:lnTo>
                  <a:pt x="102874" y="184624"/>
                </a:lnTo>
                <a:lnTo>
                  <a:pt x="102926" y="184729"/>
                </a:lnTo>
                <a:lnTo>
                  <a:pt x="103032" y="184835"/>
                </a:lnTo>
                <a:lnTo>
                  <a:pt x="103138" y="184835"/>
                </a:lnTo>
                <a:lnTo>
                  <a:pt x="103085" y="184729"/>
                </a:lnTo>
                <a:lnTo>
                  <a:pt x="103138" y="184571"/>
                </a:lnTo>
                <a:lnTo>
                  <a:pt x="103085" y="184518"/>
                </a:lnTo>
                <a:lnTo>
                  <a:pt x="103190" y="184518"/>
                </a:lnTo>
                <a:lnTo>
                  <a:pt x="103296" y="184465"/>
                </a:lnTo>
                <a:lnTo>
                  <a:pt x="103402" y="184465"/>
                </a:lnTo>
                <a:lnTo>
                  <a:pt x="103349" y="184412"/>
                </a:lnTo>
                <a:lnTo>
                  <a:pt x="103349" y="184360"/>
                </a:lnTo>
                <a:lnTo>
                  <a:pt x="103666" y="184360"/>
                </a:lnTo>
                <a:lnTo>
                  <a:pt x="103771" y="184254"/>
                </a:lnTo>
                <a:lnTo>
                  <a:pt x="103666" y="184148"/>
                </a:lnTo>
                <a:lnTo>
                  <a:pt x="103560" y="184201"/>
                </a:lnTo>
                <a:lnTo>
                  <a:pt x="103085" y="184043"/>
                </a:lnTo>
                <a:lnTo>
                  <a:pt x="103085" y="183990"/>
                </a:lnTo>
                <a:lnTo>
                  <a:pt x="103085" y="183832"/>
                </a:lnTo>
                <a:close/>
                <a:moveTo>
                  <a:pt x="105197" y="184677"/>
                </a:moveTo>
                <a:lnTo>
                  <a:pt x="105092" y="184835"/>
                </a:lnTo>
                <a:lnTo>
                  <a:pt x="104986" y="184782"/>
                </a:lnTo>
                <a:lnTo>
                  <a:pt x="104933" y="184782"/>
                </a:lnTo>
                <a:lnTo>
                  <a:pt x="104880" y="184835"/>
                </a:lnTo>
                <a:lnTo>
                  <a:pt x="104828" y="184888"/>
                </a:lnTo>
                <a:lnTo>
                  <a:pt x="104828" y="184941"/>
                </a:lnTo>
                <a:lnTo>
                  <a:pt x="104880" y="184993"/>
                </a:lnTo>
                <a:lnTo>
                  <a:pt x="105197" y="185099"/>
                </a:lnTo>
                <a:lnTo>
                  <a:pt x="105250" y="185046"/>
                </a:lnTo>
                <a:lnTo>
                  <a:pt x="105303" y="185099"/>
                </a:lnTo>
                <a:lnTo>
                  <a:pt x="105356" y="185099"/>
                </a:lnTo>
                <a:lnTo>
                  <a:pt x="105514" y="185046"/>
                </a:lnTo>
                <a:lnTo>
                  <a:pt x="105937" y="185046"/>
                </a:lnTo>
                <a:lnTo>
                  <a:pt x="105989" y="184993"/>
                </a:lnTo>
                <a:lnTo>
                  <a:pt x="106095" y="184888"/>
                </a:lnTo>
                <a:lnTo>
                  <a:pt x="106095" y="184729"/>
                </a:lnTo>
                <a:lnTo>
                  <a:pt x="106095" y="184677"/>
                </a:lnTo>
                <a:lnTo>
                  <a:pt x="105884" y="184677"/>
                </a:lnTo>
                <a:lnTo>
                  <a:pt x="105831" y="184729"/>
                </a:lnTo>
                <a:lnTo>
                  <a:pt x="105778" y="184677"/>
                </a:lnTo>
                <a:lnTo>
                  <a:pt x="105778" y="184729"/>
                </a:lnTo>
                <a:lnTo>
                  <a:pt x="105620" y="184835"/>
                </a:lnTo>
                <a:lnTo>
                  <a:pt x="105567" y="184888"/>
                </a:lnTo>
                <a:lnTo>
                  <a:pt x="105514" y="184835"/>
                </a:lnTo>
                <a:lnTo>
                  <a:pt x="105461" y="184782"/>
                </a:lnTo>
                <a:lnTo>
                  <a:pt x="105356" y="184729"/>
                </a:lnTo>
                <a:lnTo>
                  <a:pt x="105303" y="184729"/>
                </a:lnTo>
                <a:lnTo>
                  <a:pt x="105250" y="184782"/>
                </a:lnTo>
                <a:lnTo>
                  <a:pt x="105197" y="184782"/>
                </a:lnTo>
                <a:lnTo>
                  <a:pt x="105197" y="184729"/>
                </a:lnTo>
                <a:lnTo>
                  <a:pt x="105197" y="184677"/>
                </a:lnTo>
                <a:close/>
                <a:moveTo>
                  <a:pt x="103930" y="185046"/>
                </a:moveTo>
                <a:lnTo>
                  <a:pt x="103455" y="185152"/>
                </a:lnTo>
                <a:lnTo>
                  <a:pt x="103719" y="185152"/>
                </a:lnTo>
                <a:lnTo>
                  <a:pt x="103877" y="185205"/>
                </a:lnTo>
                <a:lnTo>
                  <a:pt x="104194" y="185205"/>
                </a:lnTo>
                <a:lnTo>
                  <a:pt x="104247" y="185363"/>
                </a:lnTo>
                <a:lnTo>
                  <a:pt x="104352" y="185363"/>
                </a:lnTo>
                <a:lnTo>
                  <a:pt x="104352" y="185257"/>
                </a:lnTo>
                <a:lnTo>
                  <a:pt x="104458" y="185257"/>
                </a:lnTo>
                <a:lnTo>
                  <a:pt x="104564" y="185310"/>
                </a:lnTo>
                <a:lnTo>
                  <a:pt x="104564" y="185205"/>
                </a:lnTo>
                <a:lnTo>
                  <a:pt x="104511" y="185152"/>
                </a:lnTo>
                <a:lnTo>
                  <a:pt x="104458" y="185046"/>
                </a:lnTo>
                <a:close/>
                <a:moveTo>
                  <a:pt x="101078" y="183990"/>
                </a:moveTo>
                <a:lnTo>
                  <a:pt x="100761" y="184201"/>
                </a:lnTo>
                <a:lnTo>
                  <a:pt x="100603" y="184254"/>
                </a:lnTo>
                <a:lnTo>
                  <a:pt x="100550" y="184307"/>
                </a:lnTo>
                <a:lnTo>
                  <a:pt x="100497" y="184360"/>
                </a:lnTo>
                <a:lnTo>
                  <a:pt x="100444" y="184571"/>
                </a:lnTo>
                <a:lnTo>
                  <a:pt x="100392" y="184624"/>
                </a:lnTo>
                <a:lnTo>
                  <a:pt x="100392" y="184677"/>
                </a:lnTo>
                <a:lnTo>
                  <a:pt x="100339" y="184782"/>
                </a:lnTo>
                <a:lnTo>
                  <a:pt x="100497" y="184993"/>
                </a:lnTo>
                <a:lnTo>
                  <a:pt x="100603" y="185152"/>
                </a:lnTo>
                <a:lnTo>
                  <a:pt x="100550" y="185257"/>
                </a:lnTo>
                <a:lnTo>
                  <a:pt x="100708" y="185469"/>
                </a:lnTo>
                <a:lnTo>
                  <a:pt x="100814" y="185363"/>
                </a:lnTo>
                <a:lnTo>
                  <a:pt x="100972" y="185257"/>
                </a:lnTo>
                <a:lnTo>
                  <a:pt x="101025" y="185205"/>
                </a:lnTo>
                <a:lnTo>
                  <a:pt x="101025" y="185257"/>
                </a:lnTo>
                <a:lnTo>
                  <a:pt x="101237" y="185257"/>
                </a:lnTo>
                <a:lnTo>
                  <a:pt x="101237" y="185310"/>
                </a:lnTo>
                <a:lnTo>
                  <a:pt x="101237" y="185363"/>
                </a:lnTo>
                <a:lnTo>
                  <a:pt x="101289" y="185469"/>
                </a:lnTo>
                <a:lnTo>
                  <a:pt x="101342" y="185469"/>
                </a:lnTo>
                <a:lnTo>
                  <a:pt x="101501" y="185152"/>
                </a:lnTo>
                <a:lnTo>
                  <a:pt x="101606" y="185099"/>
                </a:lnTo>
                <a:lnTo>
                  <a:pt x="101817" y="185205"/>
                </a:lnTo>
                <a:lnTo>
                  <a:pt x="101923" y="185205"/>
                </a:lnTo>
                <a:lnTo>
                  <a:pt x="102240" y="185046"/>
                </a:lnTo>
                <a:lnTo>
                  <a:pt x="102346" y="184941"/>
                </a:lnTo>
                <a:lnTo>
                  <a:pt x="102398" y="184782"/>
                </a:lnTo>
                <a:lnTo>
                  <a:pt x="102451" y="184729"/>
                </a:lnTo>
                <a:lnTo>
                  <a:pt x="101976" y="184729"/>
                </a:lnTo>
                <a:lnTo>
                  <a:pt x="101870" y="184677"/>
                </a:lnTo>
                <a:lnTo>
                  <a:pt x="101817" y="184677"/>
                </a:lnTo>
                <a:lnTo>
                  <a:pt x="101817" y="184624"/>
                </a:lnTo>
                <a:lnTo>
                  <a:pt x="102081" y="184571"/>
                </a:lnTo>
                <a:lnTo>
                  <a:pt x="102187" y="184518"/>
                </a:lnTo>
                <a:lnTo>
                  <a:pt x="102081" y="184412"/>
                </a:lnTo>
                <a:lnTo>
                  <a:pt x="101923" y="184360"/>
                </a:lnTo>
                <a:lnTo>
                  <a:pt x="101817" y="184254"/>
                </a:lnTo>
                <a:lnTo>
                  <a:pt x="101765" y="184360"/>
                </a:lnTo>
                <a:lnTo>
                  <a:pt x="101659" y="184412"/>
                </a:lnTo>
                <a:lnTo>
                  <a:pt x="101553" y="184360"/>
                </a:lnTo>
                <a:lnTo>
                  <a:pt x="101501" y="184201"/>
                </a:lnTo>
                <a:lnTo>
                  <a:pt x="101501" y="184096"/>
                </a:lnTo>
                <a:lnTo>
                  <a:pt x="101501" y="184043"/>
                </a:lnTo>
                <a:lnTo>
                  <a:pt x="101342" y="184043"/>
                </a:lnTo>
                <a:lnTo>
                  <a:pt x="101237" y="183990"/>
                </a:lnTo>
                <a:close/>
                <a:moveTo>
                  <a:pt x="103243" y="185205"/>
                </a:moveTo>
                <a:lnTo>
                  <a:pt x="103032" y="185363"/>
                </a:lnTo>
                <a:lnTo>
                  <a:pt x="103032" y="185521"/>
                </a:lnTo>
                <a:lnTo>
                  <a:pt x="103085" y="185574"/>
                </a:lnTo>
                <a:lnTo>
                  <a:pt x="103138" y="185574"/>
                </a:lnTo>
                <a:lnTo>
                  <a:pt x="103402" y="185469"/>
                </a:lnTo>
                <a:lnTo>
                  <a:pt x="103349" y="185416"/>
                </a:lnTo>
                <a:lnTo>
                  <a:pt x="103243" y="185310"/>
                </a:lnTo>
                <a:lnTo>
                  <a:pt x="103243" y="185257"/>
                </a:lnTo>
                <a:lnTo>
                  <a:pt x="103243" y="185205"/>
                </a:lnTo>
                <a:close/>
                <a:moveTo>
                  <a:pt x="100075" y="185838"/>
                </a:moveTo>
                <a:lnTo>
                  <a:pt x="100075" y="185891"/>
                </a:lnTo>
                <a:lnTo>
                  <a:pt x="100075" y="186050"/>
                </a:lnTo>
                <a:lnTo>
                  <a:pt x="100180" y="186102"/>
                </a:lnTo>
                <a:lnTo>
                  <a:pt x="100444" y="186102"/>
                </a:lnTo>
                <a:lnTo>
                  <a:pt x="100550" y="186050"/>
                </a:lnTo>
                <a:lnTo>
                  <a:pt x="100603" y="185997"/>
                </a:lnTo>
                <a:lnTo>
                  <a:pt x="100550" y="185944"/>
                </a:lnTo>
                <a:lnTo>
                  <a:pt x="100444" y="185891"/>
                </a:lnTo>
                <a:lnTo>
                  <a:pt x="100233" y="185838"/>
                </a:lnTo>
                <a:close/>
                <a:moveTo>
                  <a:pt x="91255" y="186314"/>
                </a:moveTo>
                <a:lnTo>
                  <a:pt x="91361" y="186419"/>
                </a:lnTo>
                <a:lnTo>
                  <a:pt x="91361" y="186419"/>
                </a:lnTo>
                <a:lnTo>
                  <a:pt x="91308" y="186314"/>
                </a:lnTo>
                <a:close/>
                <a:moveTo>
                  <a:pt x="99547" y="187951"/>
                </a:moveTo>
                <a:lnTo>
                  <a:pt x="99652" y="188056"/>
                </a:lnTo>
                <a:lnTo>
                  <a:pt x="99652" y="187951"/>
                </a:lnTo>
                <a:close/>
                <a:moveTo>
                  <a:pt x="100180" y="187000"/>
                </a:moveTo>
                <a:lnTo>
                  <a:pt x="100128" y="187106"/>
                </a:lnTo>
                <a:lnTo>
                  <a:pt x="100022" y="187053"/>
                </a:lnTo>
                <a:lnTo>
                  <a:pt x="99969" y="187159"/>
                </a:lnTo>
                <a:lnTo>
                  <a:pt x="99863" y="187475"/>
                </a:lnTo>
                <a:lnTo>
                  <a:pt x="99811" y="187475"/>
                </a:lnTo>
                <a:lnTo>
                  <a:pt x="99811" y="187317"/>
                </a:lnTo>
                <a:lnTo>
                  <a:pt x="99811" y="187264"/>
                </a:lnTo>
                <a:lnTo>
                  <a:pt x="99758" y="187317"/>
                </a:lnTo>
                <a:lnTo>
                  <a:pt x="99758" y="187370"/>
                </a:lnTo>
                <a:lnTo>
                  <a:pt x="99758" y="187475"/>
                </a:lnTo>
                <a:lnTo>
                  <a:pt x="99652" y="187370"/>
                </a:lnTo>
                <a:lnTo>
                  <a:pt x="99599" y="187475"/>
                </a:lnTo>
                <a:lnTo>
                  <a:pt x="99599" y="187634"/>
                </a:lnTo>
                <a:lnTo>
                  <a:pt x="99652" y="187739"/>
                </a:lnTo>
                <a:lnTo>
                  <a:pt x="99705" y="187792"/>
                </a:lnTo>
                <a:lnTo>
                  <a:pt x="99916" y="188004"/>
                </a:lnTo>
                <a:lnTo>
                  <a:pt x="100022" y="188056"/>
                </a:lnTo>
                <a:lnTo>
                  <a:pt x="99969" y="187951"/>
                </a:lnTo>
                <a:lnTo>
                  <a:pt x="99969" y="187898"/>
                </a:lnTo>
                <a:lnTo>
                  <a:pt x="100128" y="187845"/>
                </a:lnTo>
                <a:lnTo>
                  <a:pt x="100180" y="187845"/>
                </a:lnTo>
                <a:lnTo>
                  <a:pt x="100180" y="187739"/>
                </a:lnTo>
                <a:lnTo>
                  <a:pt x="100180" y="187687"/>
                </a:lnTo>
                <a:lnTo>
                  <a:pt x="100128" y="187528"/>
                </a:lnTo>
                <a:lnTo>
                  <a:pt x="100392" y="187528"/>
                </a:lnTo>
                <a:lnTo>
                  <a:pt x="100444" y="187475"/>
                </a:lnTo>
                <a:lnTo>
                  <a:pt x="100444" y="187370"/>
                </a:lnTo>
                <a:lnTo>
                  <a:pt x="100444" y="187317"/>
                </a:lnTo>
                <a:lnTo>
                  <a:pt x="100392" y="187264"/>
                </a:lnTo>
                <a:lnTo>
                  <a:pt x="100392" y="187159"/>
                </a:lnTo>
                <a:lnTo>
                  <a:pt x="100392" y="187106"/>
                </a:lnTo>
                <a:lnTo>
                  <a:pt x="100497" y="187106"/>
                </a:lnTo>
                <a:lnTo>
                  <a:pt x="100550" y="187000"/>
                </a:lnTo>
                <a:lnTo>
                  <a:pt x="100444" y="187000"/>
                </a:lnTo>
                <a:lnTo>
                  <a:pt x="100392" y="187053"/>
                </a:lnTo>
                <a:lnTo>
                  <a:pt x="100286" y="187053"/>
                </a:lnTo>
                <a:lnTo>
                  <a:pt x="100233" y="187000"/>
                </a:lnTo>
                <a:close/>
                <a:moveTo>
                  <a:pt x="97381" y="185574"/>
                </a:moveTo>
                <a:lnTo>
                  <a:pt x="97276" y="185680"/>
                </a:lnTo>
                <a:lnTo>
                  <a:pt x="97012" y="185838"/>
                </a:lnTo>
                <a:lnTo>
                  <a:pt x="96906" y="185944"/>
                </a:lnTo>
                <a:lnTo>
                  <a:pt x="96800" y="185891"/>
                </a:lnTo>
                <a:lnTo>
                  <a:pt x="96536" y="185891"/>
                </a:lnTo>
                <a:lnTo>
                  <a:pt x="96378" y="186050"/>
                </a:lnTo>
                <a:lnTo>
                  <a:pt x="96325" y="186050"/>
                </a:lnTo>
                <a:lnTo>
                  <a:pt x="96114" y="185997"/>
                </a:lnTo>
                <a:lnTo>
                  <a:pt x="96061" y="185997"/>
                </a:lnTo>
                <a:lnTo>
                  <a:pt x="96008" y="186155"/>
                </a:lnTo>
                <a:lnTo>
                  <a:pt x="95797" y="186314"/>
                </a:lnTo>
                <a:lnTo>
                  <a:pt x="95744" y="186419"/>
                </a:lnTo>
                <a:lnTo>
                  <a:pt x="95639" y="186683"/>
                </a:lnTo>
                <a:lnTo>
                  <a:pt x="95639" y="186736"/>
                </a:lnTo>
                <a:lnTo>
                  <a:pt x="95480" y="186736"/>
                </a:lnTo>
                <a:lnTo>
                  <a:pt x="95480" y="186842"/>
                </a:lnTo>
                <a:lnTo>
                  <a:pt x="95480" y="186895"/>
                </a:lnTo>
                <a:lnTo>
                  <a:pt x="95480" y="187000"/>
                </a:lnTo>
                <a:lnTo>
                  <a:pt x="95691" y="187000"/>
                </a:lnTo>
                <a:lnTo>
                  <a:pt x="95691" y="187106"/>
                </a:lnTo>
                <a:lnTo>
                  <a:pt x="95691" y="187159"/>
                </a:lnTo>
                <a:lnTo>
                  <a:pt x="96008" y="187528"/>
                </a:lnTo>
                <a:lnTo>
                  <a:pt x="96167" y="187528"/>
                </a:lnTo>
                <a:lnTo>
                  <a:pt x="96272" y="187475"/>
                </a:lnTo>
                <a:lnTo>
                  <a:pt x="96325" y="187423"/>
                </a:lnTo>
                <a:lnTo>
                  <a:pt x="96484" y="187423"/>
                </a:lnTo>
                <a:lnTo>
                  <a:pt x="96695" y="187528"/>
                </a:lnTo>
                <a:lnTo>
                  <a:pt x="96748" y="187528"/>
                </a:lnTo>
                <a:lnTo>
                  <a:pt x="97117" y="187739"/>
                </a:lnTo>
                <a:lnTo>
                  <a:pt x="97487" y="187739"/>
                </a:lnTo>
                <a:lnTo>
                  <a:pt x="97593" y="187792"/>
                </a:lnTo>
                <a:lnTo>
                  <a:pt x="97487" y="187845"/>
                </a:lnTo>
                <a:lnTo>
                  <a:pt x="97276" y="187845"/>
                </a:lnTo>
                <a:lnTo>
                  <a:pt x="97223" y="187898"/>
                </a:lnTo>
                <a:lnTo>
                  <a:pt x="97276" y="187951"/>
                </a:lnTo>
                <a:lnTo>
                  <a:pt x="97381" y="187951"/>
                </a:lnTo>
                <a:lnTo>
                  <a:pt x="97329" y="188004"/>
                </a:lnTo>
                <a:lnTo>
                  <a:pt x="97223" y="188004"/>
                </a:lnTo>
                <a:lnTo>
                  <a:pt x="97012" y="187845"/>
                </a:lnTo>
                <a:lnTo>
                  <a:pt x="97012" y="188004"/>
                </a:lnTo>
                <a:lnTo>
                  <a:pt x="97117" y="188479"/>
                </a:lnTo>
                <a:lnTo>
                  <a:pt x="97117" y="188479"/>
                </a:lnTo>
                <a:lnTo>
                  <a:pt x="97012" y="188320"/>
                </a:lnTo>
                <a:lnTo>
                  <a:pt x="96906" y="188268"/>
                </a:lnTo>
                <a:lnTo>
                  <a:pt x="96906" y="188162"/>
                </a:lnTo>
                <a:lnTo>
                  <a:pt x="96800" y="187898"/>
                </a:lnTo>
                <a:lnTo>
                  <a:pt x="96695" y="187792"/>
                </a:lnTo>
                <a:lnTo>
                  <a:pt x="96589" y="187792"/>
                </a:lnTo>
                <a:lnTo>
                  <a:pt x="96167" y="187898"/>
                </a:lnTo>
                <a:lnTo>
                  <a:pt x="96061" y="187951"/>
                </a:lnTo>
                <a:lnTo>
                  <a:pt x="96008" y="188056"/>
                </a:lnTo>
                <a:lnTo>
                  <a:pt x="96008" y="188215"/>
                </a:lnTo>
                <a:lnTo>
                  <a:pt x="96114" y="188320"/>
                </a:lnTo>
                <a:lnTo>
                  <a:pt x="96272" y="188426"/>
                </a:lnTo>
                <a:lnTo>
                  <a:pt x="96325" y="188584"/>
                </a:lnTo>
                <a:lnTo>
                  <a:pt x="96114" y="188479"/>
                </a:lnTo>
                <a:lnTo>
                  <a:pt x="96061" y="188479"/>
                </a:lnTo>
                <a:lnTo>
                  <a:pt x="96061" y="188637"/>
                </a:lnTo>
                <a:lnTo>
                  <a:pt x="96061" y="188690"/>
                </a:lnTo>
                <a:lnTo>
                  <a:pt x="96008" y="188637"/>
                </a:lnTo>
                <a:lnTo>
                  <a:pt x="95903" y="188532"/>
                </a:lnTo>
                <a:lnTo>
                  <a:pt x="95903" y="188479"/>
                </a:lnTo>
                <a:lnTo>
                  <a:pt x="95639" y="188479"/>
                </a:lnTo>
                <a:lnTo>
                  <a:pt x="95533" y="188532"/>
                </a:lnTo>
                <a:lnTo>
                  <a:pt x="95533" y="188690"/>
                </a:lnTo>
                <a:lnTo>
                  <a:pt x="95586" y="188848"/>
                </a:lnTo>
                <a:lnTo>
                  <a:pt x="95691" y="188954"/>
                </a:lnTo>
                <a:lnTo>
                  <a:pt x="95691" y="189007"/>
                </a:lnTo>
                <a:lnTo>
                  <a:pt x="95797" y="189060"/>
                </a:lnTo>
                <a:lnTo>
                  <a:pt x="95903" y="189113"/>
                </a:lnTo>
                <a:lnTo>
                  <a:pt x="96114" y="189113"/>
                </a:lnTo>
                <a:lnTo>
                  <a:pt x="96325" y="189060"/>
                </a:lnTo>
                <a:lnTo>
                  <a:pt x="96431" y="189060"/>
                </a:lnTo>
                <a:lnTo>
                  <a:pt x="96536" y="189113"/>
                </a:lnTo>
                <a:lnTo>
                  <a:pt x="96484" y="189218"/>
                </a:lnTo>
                <a:lnTo>
                  <a:pt x="96167" y="189271"/>
                </a:lnTo>
                <a:lnTo>
                  <a:pt x="95850" y="189271"/>
                </a:lnTo>
                <a:lnTo>
                  <a:pt x="95586" y="189218"/>
                </a:lnTo>
                <a:lnTo>
                  <a:pt x="95480" y="189218"/>
                </a:lnTo>
                <a:lnTo>
                  <a:pt x="95480" y="189271"/>
                </a:lnTo>
                <a:lnTo>
                  <a:pt x="95480" y="189324"/>
                </a:lnTo>
                <a:lnTo>
                  <a:pt x="95533" y="189429"/>
                </a:lnTo>
                <a:lnTo>
                  <a:pt x="95533" y="189535"/>
                </a:lnTo>
                <a:lnTo>
                  <a:pt x="95533" y="189588"/>
                </a:lnTo>
                <a:lnTo>
                  <a:pt x="95480" y="189641"/>
                </a:lnTo>
                <a:lnTo>
                  <a:pt x="95269" y="189693"/>
                </a:lnTo>
                <a:lnTo>
                  <a:pt x="95216" y="189693"/>
                </a:lnTo>
                <a:lnTo>
                  <a:pt x="94899" y="189588"/>
                </a:lnTo>
                <a:lnTo>
                  <a:pt x="94847" y="189641"/>
                </a:lnTo>
                <a:lnTo>
                  <a:pt x="94847" y="189852"/>
                </a:lnTo>
                <a:lnTo>
                  <a:pt x="94794" y="189852"/>
                </a:lnTo>
                <a:lnTo>
                  <a:pt x="94688" y="189799"/>
                </a:lnTo>
                <a:lnTo>
                  <a:pt x="94688" y="189799"/>
                </a:lnTo>
                <a:lnTo>
                  <a:pt x="94741" y="190010"/>
                </a:lnTo>
                <a:lnTo>
                  <a:pt x="94688" y="190010"/>
                </a:lnTo>
                <a:lnTo>
                  <a:pt x="94477" y="189905"/>
                </a:lnTo>
                <a:lnTo>
                  <a:pt x="94371" y="189905"/>
                </a:lnTo>
                <a:lnTo>
                  <a:pt x="94371" y="189958"/>
                </a:lnTo>
                <a:lnTo>
                  <a:pt x="94371" y="190010"/>
                </a:lnTo>
                <a:lnTo>
                  <a:pt x="94266" y="190010"/>
                </a:lnTo>
                <a:lnTo>
                  <a:pt x="94160" y="189905"/>
                </a:lnTo>
                <a:lnTo>
                  <a:pt x="93949" y="189905"/>
                </a:lnTo>
                <a:lnTo>
                  <a:pt x="93896" y="190010"/>
                </a:lnTo>
                <a:lnTo>
                  <a:pt x="93896" y="190063"/>
                </a:lnTo>
                <a:lnTo>
                  <a:pt x="93843" y="190063"/>
                </a:lnTo>
                <a:lnTo>
                  <a:pt x="93843" y="190116"/>
                </a:lnTo>
                <a:lnTo>
                  <a:pt x="93949" y="190327"/>
                </a:lnTo>
                <a:lnTo>
                  <a:pt x="93949" y="190380"/>
                </a:lnTo>
                <a:lnTo>
                  <a:pt x="93843" y="190380"/>
                </a:lnTo>
                <a:lnTo>
                  <a:pt x="93579" y="190222"/>
                </a:lnTo>
                <a:lnTo>
                  <a:pt x="93421" y="190222"/>
                </a:lnTo>
                <a:lnTo>
                  <a:pt x="93421" y="190327"/>
                </a:lnTo>
                <a:lnTo>
                  <a:pt x="93262" y="190327"/>
                </a:lnTo>
                <a:lnTo>
                  <a:pt x="93157" y="190274"/>
                </a:lnTo>
                <a:lnTo>
                  <a:pt x="92893" y="190274"/>
                </a:lnTo>
                <a:lnTo>
                  <a:pt x="92206" y="190855"/>
                </a:lnTo>
                <a:lnTo>
                  <a:pt x="92312" y="190855"/>
                </a:lnTo>
                <a:lnTo>
                  <a:pt x="92312" y="190908"/>
                </a:lnTo>
                <a:lnTo>
                  <a:pt x="92364" y="190961"/>
                </a:lnTo>
                <a:lnTo>
                  <a:pt x="92470" y="191014"/>
                </a:lnTo>
                <a:lnTo>
                  <a:pt x="92576" y="191067"/>
                </a:lnTo>
                <a:lnTo>
                  <a:pt x="92893" y="191067"/>
                </a:lnTo>
                <a:lnTo>
                  <a:pt x="92998" y="191172"/>
                </a:lnTo>
                <a:lnTo>
                  <a:pt x="92998" y="191331"/>
                </a:lnTo>
                <a:lnTo>
                  <a:pt x="93209" y="191172"/>
                </a:lnTo>
                <a:lnTo>
                  <a:pt x="93209" y="191119"/>
                </a:lnTo>
                <a:lnTo>
                  <a:pt x="93262" y="191067"/>
                </a:lnTo>
                <a:lnTo>
                  <a:pt x="93315" y="191067"/>
                </a:lnTo>
                <a:lnTo>
                  <a:pt x="93473" y="191119"/>
                </a:lnTo>
                <a:lnTo>
                  <a:pt x="93632" y="191119"/>
                </a:lnTo>
                <a:lnTo>
                  <a:pt x="93738" y="191172"/>
                </a:lnTo>
                <a:lnTo>
                  <a:pt x="93738" y="191119"/>
                </a:lnTo>
                <a:lnTo>
                  <a:pt x="93790" y="190908"/>
                </a:lnTo>
                <a:lnTo>
                  <a:pt x="93843" y="190855"/>
                </a:lnTo>
                <a:lnTo>
                  <a:pt x="93949" y="190802"/>
                </a:lnTo>
                <a:lnTo>
                  <a:pt x="93949" y="190697"/>
                </a:lnTo>
                <a:lnTo>
                  <a:pt x="94054" y="190697"/>
                </a:lnTo>
                <a:lnTo>
                  <a:pt x="94160" y="190591"/>
                </a:lnTo>
                <a:lnTo>
                  <a:pt x="94266" y="190538"/>
                </a:lnTo>
                <a:lnTo>
                  <a:pt x="94582" y="190697"/>
                </a:lnTo>
                <a:lnTo>
                  <a:pt x="94635" y="190591"/>
                </a:lnTo>
                <a:lnTo>
                  <a:pt x="94688" y="190380"/>
                </a:lnTo>
                <a:lnTo>
                  <a:pt x="94741" y="190327"/>
                </a:lnTo>
                <a:lnTo>
                  <a:pt x="94794" y="190327"/>
                </a:lnTo>
                <a:lnTo>
                  <a:pt x="94952" y="190274"/>
                </a:lnTo>
                <a:lnTo>
                  <a:pt x="95111" y="190222"/>
                </a:lnTo>
                <a:lnTo>
                  <a:pt x="95480" y="190010"/>
                </a:lnTo>
                <a:lnTo>
                  <a:pt x="95744" y="190010"/>
                </a:lnTo>
                <a:lnTo>
                  <a:pt x="95850" y="189958"/>
                </a:lnTo>
                <a:lnTo>
                  <a:pt x="96167" y="189746"/>
                </a:lnTo>
                <a:lnTo>
                  <a:pt x="96272" y="189799"/>
                </a:lnTo>
                <a:lnTo>
                  <a:pt x="96272" y="189905"/>
                </a:lnTo>
                <a:lnTo>
                  <a:pt x="96272" y="189958"/>
                </a:lnTo>
                <a:lnTo>
                  <a:pt x="96378" y="189958"/>
                </a:lnTo>
                <a:lnTo>
                  <a:pt x="96378" y="189852"/>
                </a:lnTo>
                <a:lnTo>
                  <a:pt x="96378" y="189799"/>
                </a:lnTo>
                <a:lnTo>
                  <a:pt x="96431" y="189693"/>
                </a:lnTo>
                <a:lnTo>
                  <a:pt x="96484" y="189693"/>
                </a:lnTo>
                <a:lnTo>
                  <a:pt x="96484" y="189746"/>
                </a:lnTo>
                <a:lnTo>
                  <a:pt x="96484" y="189852"/>
                </a:lnTo>
                <a:lnTo>
                  <a:pt x="96536" y="189905"/>
                </a:lnTo>
                <a:lnTo>
                  <a:pt x="96589" y="189852"/>
                </a:lnTo>
                <a:lnTo>
                  <a:pt x="96642" y="189588"/>
                </a:lnTo>
                <a:lnTo>
                  <a:pt x="96748" y="189535"/>
                </a:lnTo>
                <a:lnTo>
                  <a:pt x="96800" y="189588"/>
                </a:lnTo>
                <a:lnTo>
                  <a:pt x="96959" y="189905"/>
                </a:lnTo>
                <a:lnTo>
                  <a:pt x="96959" y="189852"/>
                </a:lnTo>
                <a:lnTo>
                  <a:pt x="97012" y="189693"/>
                </a:lnTo>
                <a:lnTo>
                  <a:pt x="97065" y="189693"/>
                </a:lnTo>
                <a:lnTo>
                  <a:pt x="97065" y="189746"/>
                </a:lnTo>
                <a:lnTo>
                  <a:pt x="97223" y="189799"/>
                </a:lnTo>
                <a:lnTo>
                  <a:pt x="97276" y="189799"/>
                </a:lnTo>
                <a:lnTo>
                  <a:pt x="97276" y="189693"/>
                </a:lnTo>
                <a:lnTo>
                  <a:pt x="97276" y="189588"/>
                </a:lnTo>
                <a:lnTo>
                  <a:pt x="97117" y="189377"/>
                </a:lnTo>
                <a:lnTo>
                  <a:pt x="97065" y="189060"/>
                </a:lnTo>
                <a:lnTo>
                  <a:pt x="97012" y="189007"/>
                </a:lnTo>
                <a:lnTo>
                  <a:pt x="97065" y="188848"/>
                </a:lnTo>
                <a:lnTo>
                  <a:pt x="97170" y="189060"/>
                </a:lnTo>
                <a:lnTo>
                  <a:pt x="97329" y="189218"/>
                </a:lnTo>
                <a:lnTo>
                  <a:pt x="97329" y="189324"/>
                </a:lnTo>
                <a:lnTo>
                  <a:pt x="97487" y="189324"/>
                </a:lnTo>
                <a:lnTo>
                  <a:pt x="97593" y="189482"/>
                </a:lnTo>
                <a:lnTo>
                  <a:pt x="97698" y="189482"/>
                </a:lnTo>
                <a:lnTo>
                  <a:pt x="97698" y="189377"/>
                </a:lnTo>
                <a:lnTo>
                  <a:pt x="97645" y="189271"/>
                </a:lnTo>
                <a:lnTo>
                  <a:pt x="97540" y="189165"/>
                </a:lnTo>
                <a:lnTo>
                  <a:pt x="97434" y="189165"/>
                </a:lnTo>
                <a:lnTo>
                  <a:pt x="97434" y="189007"/>
                </a:lnTo>
                <a:lnTo>
                  <a:pt x="97751" y="189218"/>
                </a:lnTo>
                <a:lnTo>
                  <a:pt x="97804" y="189218"/>
                </a:lnTo>
                <a:lnTo>
                  <a:pt x="97804" y="189060"/>
                </a:lnTo>
                <a:lnTo>
                  <a:pt x="97698" y="188796"/>
                </a:lnTo>
                <a:lnTo>
                  <a:pt x="97698" y="188690"/>
                </a:lnTo>
                <a:lnTo>
                  <a:pt x="97962" y="189007"/>
                </a:lnTo>
                <a:lnTo>
                  <a:pt x="98015" y="189165"/>
                </a:lnTo>
                <a:lnTo>
                  <a:pt x="98015" y="188901"/>
                </a:lnTo>
                <a:lnTo>
                  <a:pt x="98068" y="188690"/>
                </a:lnTo>
                <a:lnTo>
                  <a:pt x="98226" y="188637"/>
                </a:lnTo>
                <a:lnTo>
                  <a:pt x="98332" y="188796"/>
                </a:lnTo>
                <a:lnTo>
                  <a:pt x="98332" y="188690"/>
                </a:lnTo>
                <a:lnTo>
                  <a:pt x="98332" y="188584"/>
                </a:lnTo>
                <a:lnTo>
                  <a:pt x="98279" y="188532"/>
                </a:lnTo>
                <a:lnTo>
                  <a:pt x="98174" y="188532"/>
                </a:lnTo>
                <a:lnTo>
                  <a:pt x="98226" y="188479"/>
                </a:lnTo>
                <a:lnTo>
                  <a:pt x="98490" y="188320"/>
                </a:lnTo>
                <a:lnTo>
                  <a:pt x="98596" y="188373"/>
                </a:lnTo>
                <a:lnTo>
                  <a:pt x="98702" y="188320"/>
                </a:lnTo>
                <a:lnTo>
                  <a:pt x="98807" y="188268"/>
                </a:lnTo>
                <a:lnTo>
                  <a:pt x="98913" y="188268"/>
                </a:lnTo>
                <a:lnTo>
                  <a:pt x="98860" y="188215"/>
                </a:lnTo>
                <a:lnTo>
                  <a:pt x="98913" y="188162"/>
                </a:lnTo>
                <a:lnTo>
                  <a:pt x="99283" y="188162"/>
                </a:lnTo>
                <a:lnTo>
                  <a:pt x="99494" y="188109"/>
                </a:lnTo>
                <a:lnTo>
                  <a:pt x="99547" y="188056"/>
                </a:lnTo>
                <a:lnTo>
                  <a:pt x="99547" y="187951"/>
                </a:lnTo>
                <a:lnTo>
                  <a:pt x="99441" y="187951"/>
                </a:lnTo>
                <a:lnTo>
                  <a:pt x="99441" y="187898"/>
                </a:lnTo>
                <a:lnTo>
                  <a:pt x="99441" y="187792"/>
                </a:lnTo>
                <a:lnTo>
                  <a:pt x="99441" y="187687"/>
                </a:lnTo>
                <a:lnTo>
                  <a:pt x="99388" y="187581"/>
                </a:lnTo>
                <a:lnTo>
                  <a:pt x="99335" y="187528"/>
                </a:lnTo>
                <a:lnTo>
                  <a:pt x="99283" y="187528"/>
                </a:lnTo>
                <a:lnTo>
                  <a:pt x="99230" y="187581"/>
                </a:lnTo>
                <a:lnTo>
                  <a:pt x="99177" y="187739"/>
                </a:lnTo>
                <a:lnTo>
                  <a:pt x="99177" y="187898"/>
                </a:lnTo>
                <a:lnTo>
                  <a:pt x="99124" y="188004"/>
                </a:lnTo>
                <a:lnTo>
                  <a:pt x="99124" y="187951"/>
                </a:lnTo>
                <a:lnTo>
                  <a:pt x="99124" y="187898"/>
                </a:lnTo>
                <a:lnTo>
                  <a:pt x="99124" y="187845"/>
                </a:lnTo>
                <a:lnTo>
                  <a:pt x="99019" y="187845"/>
                </a:lnTo>
                <a:lnTo>
                  <a:pt x="99019" y="187739"/>
                </a:lnTo>
                <a:lnTo>
                  <a:pt x="98966" y="187739"/>
                </a:lnTo>
                <a:lnTo>
                  <a:pt x="98860" y="187792"/>
                </a:lnTo>
                <a:lnTo>
                  <a:pt x="98754" y="187845"/>
                </a:lnTo>
                <a:lnTo>
                  <a:pt x="98754" y="187898"/>
                </a:lnTo>
                <a:lnTo>
                  <a:pt x="98754" y="187951"/>
                </a:lnTo>
                <a:lnTo>
                  <a:pt x="98754" y="188162"/>
                </a:lnTo>
                <a:lnTo>
                  <a:pt x="98702" y="188162"/>
                </a:lnTo>
                <a:lnTo>
                  <a:pt x="98702" y="187951"/>
                </a:lnTo>
                <a:lnTo>
                  <a:pt x="98596" y="187898"/>
                </a:lnTo>
                <a:lnTo>
                  <a:pt x="98543" y="187951"/>
                </a:lnTo>
                <a:lnTo>
                  <a:pt x="98490" y="188162"/>
                </a:lnTo>
                <a:lnTo>
                  <a:pt x="98385" y="188215"/>
                </a:lnTo>
                <a:lnTo>
                  <a:pt x="98385" y="188109"/>
                </a:lnTo>
                <a:lnTo>
                  <a:pt x="98385" y="188056"/>
                </a:lnTo>
                <a:lnTo>
                  <a:pt x="98385" y="188004"/>
                </a:lnTo>
                <a:lnTo>
                  <a:pt x="98279" y="188004"/>
                </a:lnTo>
                <a:lnTo>
                  <a:pt x="98438" y="187687"/>
                </a:lnTo>
                <a:lnTo>
                  <a:pt x="98543" y="187581"/>
                </a:lnTo>
                <a:lnTo>
                  <a:pt x="98702" y="187581"/>
                </a:lnTo>
                <a:lnTo>
                  <a:pt x="98702" y="187528"/>
                </a:lnTo>
                <a:lnTo>
                  <a:pt x="98543" y="187528"/>
                </a:lnTo>
                <a:lnTo>
                  <a:pt x="98385" y="187475"/>
                </a:lnTo>
                <a:lnTo>
                  <a:pt x="98438" y="187475"/>
                </a:lnTo>
                <a:lnTo>
                  <a:pt x="98913" y="187370"/>
                </a:lnTo>
                <a:lnTo>
                  <a:pt x="98966" y="187317"/>
                </a:lnTo>
                <a:lnTo>
                  <a:pt x="98966" y="187264"/>
                </a:lnTo>
                <a:lnTo>
                  <a:pt x="98913" y="187159"/>
                </a:lnTo>
                <a:lnTo>
                  <a:pt x="99019" y="187106"/>
                </a:lnTo>
                <a:lnTo>
                  <a:pt x="99177" y="187053"/>
                </a:lnTo>
                <a:lnTo>
                  <a:pt x="99283" y="187000"/>
                </a:lnTo>
                <a:lnTo>
                  <a:pt x="99283" y="186947"/>
                </a:lnTo>
                <a:lnTo>
                  <a:pt x="99283" y="186789"/>
                </a:lnTo>
                <a:lnTo>
                  <a:pt x="99283" y="186736"/>
                </a:lnTo>
                <a:lnTo>
                  <a:pt x="99335" y="186683"/>
                </a:lnTo>
                <a:lnTo>
                  <a:pt x="99335" y="186736"/>
                </a:lnTo>
                <a:lnTo>
                  <a:pt x="99335" y="186789"/>
                </a:lnTo>
                <a:lnTo>
                  <a:pt x="99335" y="186842"/>
                </a:lnTo>
                <a:lnTo>
                  <a:pt x="99494" y="186842"/>
                </a:lnTo>
                <a:lnTo>
                  <a:pt x="99547" y="186789"/>
                </a:lnTo>
                <a:lnTo>
                  <a:pt x="99652" y="186683"/>
                </a:lnTo>
                <a:lnTo>
                  <a:pt x="99705" y="186630"/>
                </a:lnTo>
                <a:lnTo>
                  <a:pt x="99758" y="186525"/>
                </a:lnTo>
                <a:lnTo>
                  <a:pt x="99758" y="186419"/>
                </a:lnTo>
                <a:lnTo>
                  <a:pt x="99758" y="186366"/>
                </a:lnTo>
                <a:lnTo>
                  <a:pt x="99758" y="186261"/>
                </a:lnTo>
                <a:lnTo>
                  <a:pt x="99758" y="186155"/>
                </a:lnTo>
                <a:lnTo>
                  <a:pt x="99705" y="185997"/>
                </a:lnTo>
                <a:lnTo>
                  <a:pt x="99652" y="185944"/>
                </a:lnTo>
                <a:lnTo>
                  <a:pt x="99547" y="186050"/>
                </a:lnTo>
                <a:lnTo>
                  <a:pt x="99388" y="186155"/>
                </a:lnTo>
                <a:lnTo>
                  <a:pt x="99283" y="186208"/>
                </a:lnTo>
                <a:lnTo>
                  <a:pt x="99177" y="186102"/>
                </a:lnTo>
                <a:lnTo>
                  <a:pt x="99177" y="185944"/>
                </a:lnTo>
                <a:lnTo>
                  <a:pt x="99230" y="185838"/>
                </a:lnTo>
                <a:lnTo>
                  <a:pt x="99177" y="185680"/>
                </a:lnTo>
                <a:lnTo>
                  <a:pt x="99019" y="185838"/>
                </a:lnTo>
                <a:lnTo>
                  <a:pt x="99019" y="185891"/>
                </a:lnTo>
                <a:lnTo>
                  <a:pt x="98966" y="186102"/>
                </a:lnTo>
                <a:lnTo>
                  <a:pt x="98913" y="186155"/>
                </a:lnTo>
                <a:lnTo>
                  <a:pt x="98913" y="186314"/>
                </a:lnTo>
                <a:lnTo>
                  <a:pt x="98807" y="186578"/>
                </a:lnTo>
                <a:lnTo>
                  <a:pt x="98807" y="186630"/>
                </a:lnTo>
                <a:lnTo>
                  <a:pt x="98754" y="186525"/>
                </a:lnTo>
                <a:lnTo>
                  <a:pt x="98649" y="186525"/>
                </a:lnTo>
                <a:lnTo>
                  <a:pt x="98226" y="187053"/>
                </a:lnTo>
                <a:lnTo>
                  <a:pt x="98121" y="187106"/>
                </a:lnTo>
                <a:lnTo>
                  <a:pt x="98121" y="187000"/>
                </a:lnTo>
                <a:lnTo>
                  <a:pt x="98226" y="186683"/>
                </a:lnTo>
                <a:lnTo>
                  <a:pt x="98068" y="186683"/>
                </a:lnTo>
                <a:lnTo>
                  <a:pt x="98015" y="186736"/>
                </a:lnTo>
                <a:lnTo>
                  <a:pt x="97962" y="186736"/>
                </a:lnTo>
                <a:lnTo>
                  <a:pt x="97962" y="186683"/>
                </a:lnTo>
                <a:lnTo>
                  <a:pt x="98015" y="186419"/>
                </a:lnTo>
                <a:lnTo>
                  <a:pt x="98015" y="186366"/>
                </a:lnTo>
                <a:lnTo>
                  <a:pt x="98015" y="186314"/>
                </a:lnTo>
                <a:lnTo>
                  <a:pt x="98015" y="186261"/>
                </a:lnTo>
                <a:lnTo>
                  <a:pt x="98015" y="186155"/>
                </a:lnTo>
                <a:lnTo>
                  <a:pt x="98015" y="186102"/>
                </a:lnTo>
                <a:lnTo>
                  <a:pt x="98068" y="186050"/>
                </a:lnTo>
                <a:lnTo>
                  <a:pt x="98174" y="185997"/>
                </a:lnTo>
                <a:lnTo>
                  <a:pt x="98121" y="185786"/>
                </a:lnTo>
                <a:lnTo>
                  <a:pt x="97962" y="185627"/>
                </a:lnTo>
                <a:lnTo>
                  <a:pt x="97804" y="185574"/>
                </a:lnTo>
                <a:lnTo>
                  <a:pt x="97645" y="185627"/>
                </a:lnTo>
                <a:lnTo>
                  <a:pt x="97593" y="185680"/>
                </a:lnTo>
                <a:lnTo>
                  <a:pt x="97593" y="185786"/>
                </a:lnTo>
                <a:lnTo>
                  <a:pt x="97487" y="185891"/>
                </a:lnTo>
                <a:lnTo>
                  <a:pt x="97434" y="185891"/>
                </a:lnTo>
                <a:lnTo>
                  <a:pt x="97434" y="185838"/>
                </a:lnTo>
                <a:lnTo>
                  <a:pt x="97434" y="185733"/>
                </a:lnTo>
                <a:lnTo>
                  <a:pt x="97434" y="185627"/>
                </a:lnTo>
                <a:lnTo>
                  <a:pt x="97381" y="185574"/>
                </a:lnTo>
                <a:close/>
                <a:moveTo>
                  <a:pt x="89249" y="193865"/>
                </a:moveTo>
                <a:lnTo>
                  <a:pt x="89249" y="193918"/>
                </a:lnTo>
                <a:lnTo>
                  <a:pt x="89301" y="193918"/>
                </a:lnTo>
                <a:lnTo>
                  <a:pt x="89249" y="193865"/>
                </a:lnTo>
                <a:close/>
                <a:moveTo>
                  <a:pt x="83334" y="193443"/>
                </a:moveTo>
                <a:lnTo>
                  <a:pt x="83228" y="193496"/>
                </a:lnTo>
                <a:lnTo>
                  <a:pt x="83228" y="193707"/>
                </a:lnTo>
                <a:lnTo>
                  <a:pt x="83176" y="193813"/>
                </a:lnTo>
                <a:lnTo>
                  <a:pt x="83176" y="193918"/>
                </a:lnTo>
                <a:lnTo>
                  <a:pt x="83281" y="194024"/>
                </a:lnTo>
                <a:lnTo>
                  <a:pt x="83281" y="194129"/>
                </a:lnTo>
                <a:lnTo>
                  <a:pt x="83387" y="194077"/>
                </a:lnTo>
                <a:lnTo>
                  <a:pt x="83492" y="193971"/>
                </a:lnTo>
                <a:lnTo>
                  <a:pt x="83545" y="193760"/>
                </a:lnTo>
                <a:lnTo>
                  <a:pt x="83651" y="193707"/>
                </a:lnTo>
                <a:lnTo>
                  <a:pt x="83651" y="193601"/>
                </a:lnTo>
                <a:lnTo>
                  <a:pt x="83545" y="193496"/>
                </a:lnTo>
                <a:lnTo>
                  <a:pt x="83545" y="193443"/>
                </a:lnTo>
                <a:close/>
                <a:moveTo>
                  <a:pt x="91467" y="189165"/>
                </a:moveTo>
                <a:lnTo>
                  <a:pt x="91361" y="189271"/>
                </a:lnTo>
                <a:lnTo>
                  <a:pt x="91044" y="189271"/>
                </a:lnTo>
                <a:lnTo>
                  <a:pt x="90991" y="189324"/>
                </a:lnTo>
                <a:lnTo>
                  <a:pt x="90886" y="189377"/>
                </a:lnTo>
                <a:lnTo>
                  <a:pt x="90516" y="189429"/>
                </a:lnTo>
                <a:lnTo>
                  <a:pt x="90358" y="189482"/>
                </a:lnTo>
                <a:lnTo>
                  <a:pt x="90199" y="189641"/>
                </a:lnTo>
                <a:lnTo>
                  <a:pt x="89988" y="189852"/>
                </a:lnTo>
                <a:lnTo>
                  <a:pt x="89830" y="189958"/>
                </a:lnTo>
                <a:lnTo>
                  <a:pt x="89777" y="190010"/>
                </a:lnTo>
                <a:lnTo>
                  <a:pt x="89724" y="190063"/>
                </a:lnTo>
                <a:lnTo>
                  <a:pt x="89618" y="190327"/>
                </a:lnTo>
                <a:lnTo>
                  <a:pt x="89566" y="190433"/>
                </a:lnTo>
                <a:lnTo>
                  <a:pt x="89566" y="190486"/>
                </a:lnTo>
                <a:lnTo>
                  <a:pt x="89566" y="190538"/>
                </a:lnTo>
                <a:lnTo>
                  <a:pt x="89566" y="190697"/>
                </a:lnTo>
                <a:lnTo>
                  <a:pt x="89566" y="190802"/>
                </a:lnTo>
                <a:lnTo>
                  <a:pt x="89566" y="190908"/>
                </a:lnTo>
                <a:lnTo>
                  <a:pt x="89460" y="190961"/>
                </a:lnTo>
                <a:lnTo>
                  <a:pt x="89407" y="191014"/>
                </a:lnTo>
                <a:lnTo>
                  <a:pt x="89407" y="191067"/>
                </a:lnTo>
                <a:lnTo>
                  <a:pt x="89513" y="191119"/>
                </a:lnTo>
                <a:lnTo>
                  <a:pt x="89618" y="191119"/>
                </a:lnTo>
                <a:lnTo>
                  <a:pt x="89724" y="191172"/>
                </a:lnTo>
                <a:lnTo>
                  <a:pt x="89724" y="191225"/>
                </a:lnTo>
                <a:lnTo>
                  <a:pt x="89724" y="191278"/>
                </a:lnTo>
                <a:lnTo>
                  <a:pt x="89830" y="191278"/>
                </a:lnTo>
                <a:lnTo>
                  <a:pt x="89777" y="191489"/>
                </a:lnTo>
                <a:lnTo>
                  <a:pt x="89724" y="191595"/>
                </a:lnTo>
                <a:lnTo>
                  <a:pt x="89566" y="191595"/>
                </a:lnTo>
                <a:lnTo>
                  <a:pt x="89460" y="191647"/>
                </a:lnTo>
                <a:lnTo>
                  <a:pt x="89460" y="191595"/>
                </a:lnTo>
                <a:lnTo>
                  <a:pt x="89407" y="191489"/>
                </a:lnTo>
                <a:lnTo>
                  <a:pt x="89407" y="191436"/>
                </a:lnTo>
                <a:lnTo>
                  <a:pt x="89249" y="191436"/>
                </a:lnTo>
                <a:lnTo>
                  <a:pt x="89143" y="191489"/>
                </a:lnTo>
                <a:lnTo>
                  <a:pt x="89090" y="191595"/>
                </a:lnTo>
                <a:lnTo>
                  <a:pt x="88985" y="191595"/>
                </a:lnTo>
                <a:lnTo>
                  <a:pt x="88879" y="191542"/>
                </a:lnTo>
                <a:lnTo>
                  <a:pt x="88721" y="191436"/>
                </a:lnTo>
                <a:lnTo>
                  <a:pt x="88615" y="191436"/>
                </a:lnTo>
                <a:lnTo>
                  <a:pt x="88562" y="191542"/>
                </a:lnTo>
                <a:lnTo>
                  <a:pt x="88562" y="191595"/>
                </a:lnTo>
                <a:lnTo>
                  <a:pt x="88351" y="191806"/>
                </a:lnTo>
                <a:lnTo>
                  <a:pt x="88298" y="191806"/>
                </a:lnTo>
                <a:lnTo>
                  <a:pt x="88140" y="192017"/>
                </a:lnTo>
                <a:lnTo>
                  <a:pt x="87981" y="192123"/>
                </a:lnTo>
                <a:lnTo>
                  <a:pt x="87928" y="192228"/>
                </a:lnTo>
                <a:lnTo>
                  <a:pt x="87876" y="192387"/>
                </a:lnTo>
                <a:lnTo>
                  <a:pt x="87823" y="192492"/>
                </a:lnTo>
                <a:lnTo>
                  <a:pt x="87823" y="192651"/>
                </a:lnTo>
                <a:lnTo>
                  <a:pt x="87981" y="192915"/>
                </a:lnTo>
                <a:lnTo>
                  <a:pt x="87981" y="193073"/>
                </a:lnTo>
                <a:lnTo>
                  <a:pt x="87770" y="193337"/>
                </a:lnTo>
                <a:lnTo>
                  <a:pt x="87664" y="193443"/>
                </a:lnTo>
                <a:lnTo>
                  <a:pt x="87612" y="193390"/>
                </a:lnTo>
                <a:lnTo>
                  <a:pt x="87559" y="193549"/>
                </a:lnTo>
                <a:lnTo>
                  <a:pt x="87559" y="193813"/>
                </a:lnTo>
                <a:lnTo>
                  <a:pt x="87559" y="193918"/>
                </a:lnTo>
                <a:lnTo>
                  <a:pt x="87453" y="194024"/>
                </a:lnTo>
                <a:lnTo>
                  <a:pt x="87242" y="194024"/>
                </a:lnTo>
                <a:lnTo>
                  <a:pt x="87136" y="194077"/>
                </a:lnTo>
                <a:lnTo>
                  <a:pt x="87083" y="194182"/>
                </a:lnTo>
                <a:lnTo>
                  <a:pt x="87083" y="194446"/>
                </a:lnTo>
                <a:lnTo>
                  <a:pt x="87057" y="194499"/>
                </a:lnTo>
                <a:lnTo>
                  <a:pt x="87189" y="194499"/>
                </a:lnTo>
                <a:lnTo>
                  <a:pt x="87295" y="194394"/>
                </a:lnTo>
                <a:lnTo>
                  <a:pt x="87400" y="194235"/>
                </a:lnTo>
                <a:lnTo>
                  <a:pt x="87612" y="194235"/>
                </a:lnTo>
                <a:lnTo>
                  <a:pt x="87664" y="194129"/>
                </a:lnTo>
                <a:lnTo>
                  <a:pt x="87717" y="194182"/>
                </a:lnTo>
                <a:lnTo>
                  <a:pt x="87770" y="194288"/>
                </a:lnTo>
                <a:lnTo>
                  <a:pt x="87823" y="194288"/>
                </a:lnTo>
                <a:lnTo>
                  <a:pt x="87876" y="194182"/>
                </a:lnTo>
                <a:lnTo>
                  <a:pt x="87823" y="194077"/>
                </a:lnTo>
                <a:lnTo>
                  <a:pt x="87770" y="194024"/>
                </a:lnTo>
                <a:lnTo>
                  <a:pt x="87770" y="193918"/>
                </a:lnTo>
                <a:lnTo>
                  <a:pt x="88245" y="193918"/>
                </a:lnTo>
                <a:lnTo>
                  <a:pt x="88245" y="193865"/>
                </a:lnTo>
                <a:lnTo>
                  <a:pt x="88298" y="193760"/>
                </a:lnTo>
                <a:lnTo>
                  <a:pt x="88509" y="193549"/>
                </a:lnTo>
                <a:lnTo>
                  <a:pt x="88615" y="193443"/>
                </a:lnTo>
                <a:lnTo>
                  <a:pt x="88721" y="193390"/>
                </a:lnTo>
                <a:lnTo>
                  <a:pt x="88932" y="193337"/>
                </a:lnTo>
                <a:lnTo>
                  <a:pt x="89037" y="193232"/>
                </a:lnTo>
                <a:lnTo>
                  <a:pt x="89143" y="193285"/>
                </a:lnTo>
                <a:lnTo>
                  <a:pt x="89249" y="193179"/>
                </a:lnTo>
                <a:lnTo>
                  <a:pt x="89407" y="192862"/>
                </a:lnTo>
                <a:lnTo>
                  <a:pt x="89513" y="192704"/>
                </a:lnTo>
                <a:lnTo>
                  <a:pt x="89618" y="192651"/>
                </a:lnTo>
                <a:lnTo>
                  <a:pt x="89671" y="192492"/>
                </a:lnTo>
                <a:lnTo>
                  <a:pt x="89671" y="192281"/>
                </a:lnTo>
                <a:lnTo>
                  <a:pt x="89777" y="192334"/>
                </a:lnTo>
                <a:lnTo>
                  <a:pt x="89830" y="192281"/>
                </a:lnTo>
                <a:lnTo>
                  <a:pt x="89882" y="192123"/>
                </a:lnTo>
                <a:lnTo>
                  <a:pt x="89935" y="192017"/>
                </a:lnTo>
                <a:lnTo>
                  <a:pt x="89935" y="191911"/>
                </a:lnTo>
                <a:lnTo>
                  <a:pt x="90041" y="191859"/>
                </a:lnTo>
                <a:lnTo>
                  <a:pt x="90146" y="191700"/>
                </a:lnTo>
                <a:lnTo>
                  <a:pt x="90199" y="191647"/>
                </a:lnTo>
                <a:lnTo>
                  <a:pt x="90305" y="191647"/>
                </a:lnTo>
                <a:lnTo>
                  <a:pt x="90410" y="191595"/>
                </a:lnTo>
                <a:lnTo>
                  <a:pt x="90675" y="191542"/>
                </a:lnTo>
                <a:lnTo>
                  <a:pt x="90833" y="191489"/>
                </a:lnTo>
                <a:lnTo>
                  <a:pt x="91572" y="190961"/>
                </a:lnTo>
                <a:lnTo>
                  <a:pt x="91678" y="190908"/>
                </a:lnTo>
                <a:lnTo>
                  <a:pt x="91784" y="190855"/>
                </a:lnTo>
                <a:lnTo>
                  <a:pt x="92100" y="190697"/>
                </a:lnTo>
                <a:lnTo>
                  <a:pt x="92206" y="190591"/>
                </a:lnTo>
                <a:lnTo>
                  <a:pt x="92153" y="190591"/>
                </a:lnTo>
                <a:lnTo>
                  <a:pt x="92153" y="190538"/>
                </a:lnTo>
                <a:lnTo>
                  <a:pt x="92153" y="190433"/>
                </a:lnTo>
                <a:lnTo>
                  <a:pt x="92153" y="190380"/>
                </a:lnTo>
                <a:lnTo>
                  <a:pt x="92100" y="190327"/>
                </a:lnTo>
                <a:lnTo>
                  <a:pt x="92206" y="190169"/>
                </a:lnTo>
                <a:lnTo>
                  <a:pt x="92417" y="189958"/>
                </a:lnTo>
                <a:lnTo>
                  <a:pt x="92470" y="189746"/>
                </a:lnTo>
                <a:lnTo>
                  <a:pt x="92417" y="189588"/>
                </a:lnTo>
                <a:lnTo>
                  <a:pt x="92259" y="189535"/>
                </a:lnTo>
                <a:lnTo>
                  <a:pt x="91784" y="189535"/>
                </a:lnTo>
                <a:lnTo>
                  <a:pt x="91678" y="189429"/>
                </a:lnTo>
                <a:lnTo>
                  <a:pt x="91467" y="189165"/>
                </a:lnTo>
                <a:close/>
                <a:moveTo>
                  <a:pt x="87031" y="194499"/>
                </a:moveTo>
                <a:lnTo>
                  <a:pt x="86767" y="194658"/>
                </a:lnTo>
                <a:lnTo>
                  <a:pt x="86608" y="194710"/>
                </a:lnTo>
                <a:lnTo>
                  <a:pt x="86582" y="194737"/>
                </a:lnTo>
                <a:lnTo>
                  <a:pt x="86582" y="194737"/>
                </a:lnTo>
                <a:lnTo>
                  <a:pt x="86978" y="194605"/>
                </a:lnTo>
                <a:lnTo>
                  <a:pt x="87031" y="194552"/>
                </a:lnTo>
                <a:lnTo>
                  <a:pt x="87057" y="194499"/>
                </a:lnTo>
                <a:close/>
                <a:moveTo>
                  <a:pt x="81538" y="194341"/>
                </a:moveTo>
                <a:lnTo>
                  <a:pt x="81486" y="194394"/>
                </a:lnTo>
                <a:lnTo>
                  <a:pt x="81433" y="194446"/>
                </a:lnTo>
                <a:lnTo>
                  <a:pt x="81433" y="194552"/>
                </a:lnTo>
                <a:lnTo>
                  <a:pt x="81486" y="194605"/>
                </a:lnTo>
                <a:lnTo>
                  <a:pt x="81538" y="194710"/>
                </a:lnTo>
                <a:lnTo>
                  <a:pt x="81591" y="194763"/>
                </a:lnTo>
                <a:lnTo>
                  <a:pt x="81750" y="194816"/>
                </a:lnTo>
                <a:lnTo>
                  <a:pt x="81855" y="194763"/>
                </a:lnTo>
                <a:lnTo>
                  <a:pt x="81961" y="194605"/>
                </a:lnTo>
                <a:lnTo>
                  <a:pt x="82067" y="194446"/>
                </a:lnTo>
                <a:lnTo>
                  <a:pt x="81961" y="194446"/>
                </a:lnTo>
                <a:lnTo>
                  <a:pt x="81697" y="194341"/>
                </a:lnTo>
                <a:close/>
                <a:moveTo>
                  <a:pt x="86582" y="194737"/>
                </a:moveTo>
                <a:lnTo>
                  <a:pt x="86503" y="194763"/>
                </a:lnTo>
                <a:lnTo>
                  <a:pt x="86397" y="194869"/>
                </a:lnTo>
                <a:lnTo>
                  <a:pt x="86344" y="194922"/>
                </a:lnTo>
                <a:lnTo>
                  <a:pt x="86239" y="194922"/>
                </a:lnTo>
                <a:lnTo>
                  <a:pt x="86186" y="194974"/>
                </a:lnTo>
                <a:lnTo>
                  <a:pt x="86555" y="194869"/>
                </a:lnTo>
                <a:lnTo>
                  <a:pt x="86555" y="194816"/>
                </a:lnTo>
                <a:lnTo>
                  <a:pt x="86555" y="194763"/>
                </a:lnTo>
                <a:lnTo>
                  <a:pt x="86582" y="194737"/>
                </a:lnTo>
                <a:close/>
                <a:moveTo>
                  <a:pt x="83070" y="194552"/>
                </a:moveTo>
                <a:lnTo>
                  <a:pt x="82964" y="194658"/>
                </a:lnTo>
                <a:lnTo>
                  <a:pt x="82753" y="194658"/>
                </a:lnTo>
                <a:lnTo>
                  <a:pt x="82700" y="194710"/>
                </a:lnTo>
                <a:lnTo>
                  <a:pt x="82595" y="194869"/>
                </a:lnTo>
                <a:lnTo>
                  <a:pt x="82436" y="194869"/>
                </a:lnTo>
                <a:lnTo>
                  <a:pt x="82225" y="194816"/>
                </a:lnTo>
                <a:lnTo>
                  <a:pt x="82172" y="194816"/>
                </a:lnTo>
                <a:lnTo>
                  <a:pt x="82014" y="194974"/>
                </a:lnTo>
                <a:lnTo>
                  <a:pt x="82014" y="195080"/>
                </a:lnTo>
                <a:lnTo>
                  <a:pt x="82067" y="195186"/>
                </a:lnTo>
                <a:lnTo>
                  <a:pt x="82119" y="195239"/>
                </a:lnTo>
                <a:lnTo>
                  <a:pt x="82172" y="195344"/>
                </a:lnTo>
                <a:lnTo>
                  <a:pt x="82278" y="195291"/>
                </a:lnTo>
                <a:lnTo>
                  <a:pt x="82383" y="195291"/>
                </a:lnTo>
                <a:lnTo>
                  <a:pt x="82542" y="195133"/>
                </a:lnTo>
                <a:lnTo>
                  <a:pt x="82647" y="195133"/>
                </a:lnTo>
                <a:lnTo>
                  <a:pt x="83017" y="195239"/>
                </a:lnTo>
                <a:lnTo>
                  <a:pt x="83123" y="195344"/>
                </a:lnTo>
                <a:lnTo>
                  <a:pt x="83228" y="195450"/>
                </a:lnTo>
                <a:lnTo>
                  <a:pt x="83281" y="195450"/>
                </a:lnTo>
                <a:lnTo>
                  <a:pt x="83387" y="195397"/>
                </a:lnTo>
                <a:lnTo>
                  <a:pt x="83334" y="195291"/>
                </a:lnTo>
                <a:lnTo>
                  <a:pt x="83387" y="195239"/>
                </a:lnTo>
                <a:lnTo>
                  <a:pt x="83440" y="195133"/>
                </a:lnTo>
                <a:lnTo>
                  <a:pt x="83492" y="195080"/>
                </a:lnTo>
                <a:lnTo>
                  <a:pt x="83440" y="195027"/>
                </a:lnTo>
                <a:lnTo>
                  <a:pt x="83492" y="194869"/>
                </a:lnTo>
                <a:lnTo>
                  <a:pt x="83545" y="194816"/>
                </a:lnTo>
                <a:lnTo>
                  <a:pt x="83545" y="194763"/>
                </a:lnTo>
                <a:lnTo>
                  <a:pt x="83440" y="194763"/>
                </a:lnTo>
                <a:lnTo>
                  <a:pt x="83387" y="194710"/>
                </a:lnTo>
                <a:lnTo>
                  <a:pt x="83334" y="194658"/>
                </a:lnTo>
                <a:lnTo>
                  <a:pt x="83176" y="194658"/>
                </a:lnTo>
                <a:lnTo>
                  <a:pt x="83070" y="194552"/>
                </a:lnTo>
                <a:close/>
                <a:moveTo>
                  <a:pt x="85869" y="195291"/>
                </a:moveTo>
                <a:lnTo>
                  <a:pt x="85816" y="195344"/>
                </a:lnTo>
                <a:lnTo>
                  <a:pt x="85710" y="195450"/>
                </a:lnTo>
                <a:lnTo>
                  <a:pt x="85658" y="195503"/>
                </a:lnTo>
                <a:lnTo>
                  <a:pt x="85658" y="195503"/>
                </a:lnTo>
                <a:lnTo>
                  <a:pt x="85763" y="195450"/>
                </a:lnTo>
                <a:lnTo>
                  <a:pt x="85869" y="195344"/>
                </a:lnTo>
                <a:lnTo>
                  <a:pt x="85922" y="195291"/>
                </a:lnTo>
                <a:close/>
                <a:moveTo>
                  <a:pt x="1373" y="193601"/>
                </a:moveTo>
                <a:lnTo>
                  <a:pt x="1267" y="193707"/>
                </a:lnTo>
                <a:lnTo>
                  <a:pt x="1215" y="193707"/>
                </a:lnTo>
                <a:lnTo>
                  <a:pt x="898" y="193654"/>
                </a:lnTo>
                <a:lnTo>
                  <a:pt x="475" y="193918"/>
                </a:lnTo>
                <a:lnTo>
                  <a:pt x="370" y="194024"/>
                </a:lnTo>
                <a:lnTo>
                  <a:pt x="370" y="193971"/>
                </a:lnTo>
                <a:lnTo>
                  <a:pt x="0" y="194288"/>
                </a:lnTo>
                <a:lnTo>
                  <a:pt x="53" y="194341"/>
                </a:lnTo>
                <a:lnTo>
                  <a:pt x="211" y="194341"/>
                </a:lnTo>
                <a:lnTo>
                  <a:pt x="264" y="194394"/>
                </a:lnTo>
                <a:lnTo>
                  <a:pt x="317" y="194394"/>
                </a:lnTo>
                <a:lnTo>
                  <a:pt x="634" y="194288"/>
                </a:lnTo>
                <a:lnTo>
                  <a:pt x="845" y="194288"/>
                </a:lnTo>
                <a:lnTo>
                  <a:pt x="898" y="194341"/>
                </a:lnTo>
                <a:lnTo>
                  <a:pt x="739" y="194605"/>
                </a:lnTo>
                <a:lnTo>
                  <a:pt x="739" y="194658"/>
                </a:lnTo>
                <a:lnTo>
                  <a:pt x="792" y="194658"/>
                </a:lnTo>
                <a:lnTo>
                  <a:pt x="1109" y="194605"/>
                </a:lnTo>
                <a:lnTo>
                  <a:pt x="1320" y="194605"/>
                </a:lnTo>
                <a:lnTo>
                  <a:pt x="1479" y="194499"/>
                </a:lnTo>
                <a:lnTo>
                  <a:pt x="1531" y="194499"/>
                </a:lnTo>
                <a:lnTo>
                  <a:pt x="1584" y="194552"/>
                </a:lnTo>
                <a:lnTo>
                  <a:pt x="1584" y="194605"/>
                </a:lnTo>
                <a:lnTo>
                  <a:pt x="1479" y="194816"/>
                </a:lnTo>
                <a:lnTo>
                  <a:pt x="1479" y="195080"/>
                </a:lnTo>
                <a:lnTo>
                  <a:pt x="1479" y="195133"/>
                </a:lnTo>
                <a:lnTo>
                  <a:pt x="1426" y="195186"/>
                </a:lnTo>
                <a:lnTo>
                  <a:pt x="1426" y="195291"/>
                </a:lnTo>
                <a:lnTo>
                  <a:pt x="1479" y="195291"/>
                </a:lnTo>
                <a:lnTo>
                  <a:pt x="1637" y="195344"/>
                </a:lnTo>
                <a:lnTo>
                  <a:pt x="1690" y="195344"/>
                </a:lnTo>
                <a:lnTo>
                  <a:pt x="1690" y="195239"/>
                </a:lnTo>
                <a:lnTo>
                  <a:pt x="1690" y="195186"/>
                </a:lnTo>
                <a:lnTo>
                  <a:pt x="1743" y="195291"/>
                </a:lnTo>
                <a:lnTo>
                  <a:pt x="1848" y="195239"/>
                </a:lnTo>
                <a:lnTo>
                  <a:pt x="2007" y="195239"/>
                </a:lnTo>
                <a:lnTo>
                  <a:pt x="2060" y="195291"/>
                </a:lnTo>
                <a:lnTo>
                  <a:pt x="2060" y="195344"/>
                </a:lnTo>
                <a:lnTo>
                  <a:pt x="2060" y="195450"/>
                </a:lnTo>
                <a:lnTo>
                  <a:pt x="2060" y="195503"/>
                </a:lnTo>
                <a:lnTo>
                  <a:pt x="2060" y="195555"/>
                </a:lnTo>
                <a:lnTo>
                  <a:pt x="2218" y="195608"/>
                </a:lnTo>
                <a:lnTo>
                  <a:pt x="2376" y="195397"/>
                </a:lnTo>
                <a:lnTo>
                  <a:pt x="2535" y="195186"/>
                </a:lnTo>
                <a:lnTo>
                  <a:pt x="2693" y="195080"/>
                </a:lnTo>
                <a:lnTo>
                  <a:pt x="2746" y="195080"/>
                </a:lnTo>
                <a:lnTo>
                  <a:pt x="2852" y="194974"/>
                </a:lnTo>
                <a:lnTo>
                  <a:pt x="2905" y="194974"/>
                </a:lnTo>
                <a:lnTo>
                  <a:pt x="2905" y="195027"/>
                </a:lnTo>
                <a:lnTo>
                  <a:pt x="3010" y="195186"/>
                </a:lnTo>
                <a:lnTo>
                  <a:pt x="3063" y="195344"/>
                </a:lnTo>
                <a:lnTo>
                  <a:pt x="3169" y="195344"/>
                </a:lnTo>
                <a:lnTo>
                  <a:pt x="3221" y="195291"/>
                </a:lnTo>
                <a:lnTo>
                  <a:pt x="3327" y="195291"/>
                </a:lnTo>
                <a:lnTo>
                  <a:pt x="3327" y="195239"/>
                </a:lnTo>
                <a:lnTo>
                  <a:pt x="3327" y="195186"/>
                </a:lnTo>
                <a:lnTo>
                  <a:pt x="3327" y="195133"/>
                </a:lnTo>
                <a:lnTo>
                  <a:pt x="3380" y="194974"/>
                </a:lnTo>
                <a:lnTo>
                  <a:pt x="3485" y="194922"/>
                </a:lnTo>
                <a:lnTo>
                  <a:pt x="3644" y="194922"/>
                </a:lnTo>
                <a:lnTo>
                  <a:pt x="3750" y="194974"/>
                </a:lnTo>
                <a:lnTo>
                  <a:pt x="3802" y="195027"/>
                </a:lnTo>
                <a:lnTo>
                  <a:pt x="3908" y="195186"/>
                </a:lnTo>
                <a:lnTo>
                  <a:pt x="3908" y="195133"/>
                </a:lnTo>
                <a:lnTo>
                  <a:pt x="4014" y="195080"/>
                </a:lnTo>
                <a:lnTo>
                  <a:pt x="4225" y="195027"/>
                </a:lnTo>
                <a:lnTo>
                  <a:pt x="4383" y="195027"/>
                </a:lnTo>
                <a:lnTo>
                  <a:pt x="4542" y="194974"/>
                </a:lnTo>
                <a:lnTo>
                  <a:pt x="4542" y="194816"/>
                </a:lnTo>
                <a:lnTo>
                  <a:pt x="4330" y="194869"/>
                </a:lnTo>
                <a:lnTo>
                  <a:pt x="4119" y="194869"/>
                </a:lnTo>
                <a:lnTo>
                  <a:pt x="3908" y="194816"/>
                </a:lnTo>
                <a:lnTo>
                  <a:pt x="3750" y="194763"/>
                </a:lnTo>
                <a:lnTo>
                  <a:pt x="3908" y="194605"/>
                </a:lnTo>
                <a:lnTo>
                  <a:pt x="3961" y="194552"/>
                </a:lnTo>
                <a:lnTo>
                  <a:pt x="4014" y="194446"/>
                </a:lnTo>
                <a:lnTo>
                  <a:pt x="4014" y="194341"/>
                </a:lnTo>
                <a:lnTo>
                  <a:pt x="3908" y="194288"/>
                </a:lnTo>
                <a:lnTo>
                  <a:pt x="3697" y="194235"/>
                </a:lnTo>
                <a:lnTo>
                  <a:pt x="3697" y="194129"/>
                </a:lnTo>
                <a:lnTo>
                  <a:pt x="3591" y="194182"/>
                </a:lnTo>
                <a:lnTo>
                  <a:pt x="3327" y="194394"/>
                </a:lnTo>
                <a:lnTo>
                  <a:pt x="3327" y="194288"/>
                </a:lnTo>
                <a:lnTo>
                  <a:pt x="3169" y="194288"/>
                </a:lnTo>
                <a:lnTo>
                  <a:pt x="3327" y="194077"/>
                </a:lnTo>
                <a:lnTo>
                  <a:pt x="3380" y="193971"/>
                </a:lnTo>
                <a:lnTo>
                  <a:pt x="3380" y="193918"/>
                </a:lnTo>
                <a:lnTo>
                  <a:pt x="3327" y="193918"/>
                </a:lnTo>
                <a:lnTo>
                  <a:pt x="3169" y="193760"/>
                </a:lnTo>
                <a:lnTo>
                  <a:pt x="2535" y="193760"/>
                </a:lnTo>
                <a:lnTo>
                  <a:pt x="2376" y="193865"/>
                </a:lnTo>
                <a:lnTo>
                  <a:pt x="2112" y="193865"/>
                </a:lnTo>
                <a:lnTo>
                  <a:pt x="2112" y="193813"/>
                </a:lnTo>
                <a:lnTo>
                  <a:pt x="2112" y="193760"/>
                </a:lnTo>
                <a:lnTo>
                  <a:pt x="2112" y="193707"/>
                </a:lnTo>
                <a:lnTo>
                  <a:pt x="2060" y="193707"/>
                </a:lnTo>
                <a:lnTo>
                  <a:pt x="1479" y="193601"/>
                </a:lnTo>
                <a:close/>
                <a:moveTo>
                  <a:pt x="81222" y="195397"/>
                </a:moveTo>
                <a:lnTo>
                  <a:pt x="81116" y="195450"/>
                </a:lnTo>
                <a:lnTo>
                  <a:pt x="81116" y="195503"/>
                </a:lnTo>
                <a:lnTo>
                  <a:pt x="81063" y="195819"/>
                </a:lnTo>
                <a:lnTo>
                  <a:pt x="81380" y="195819"/>
                </a:lnTo>
                <a:lnTo>
                  <a:pt x="81644" y="195767"/>
                </a:lnTo>
                <a:lnTo>
                  <a:pt x="81644" y="195714"/>
                </a:lnTo>
                <a:lnTo>
                  <a:pt x="81750" y="195608"/>
                </a:lnTo>
                <a:lnTo>
                  <a:pt x="81697" y="195503"/>
                </a:lnTo>
                <a:lnTo>
                  <a:pt x="81644" y="195450"/>
                </a:lnTo>
                <a:lnTo>
                  <a:pt x="81538" y="195450"/>
                </a:lnTo>
                <a:lnTo>
                  <a:pt x="81433" y="195397"/>
                </a:lnTo>
                <a:close/>
                <a:moveTo>
                  <a:pt x="7763" y="195714"/>
                </a:moveTo>
                <a:lnTo>
                  <a:pt x="7657" y="195767"/>
                </a:lnTo>
                <a:lnTo>
                  <a:pt x="7605" y="195819"/>
                </a:lnTo>
                <a:lnTo>
                  <a:pt x="7605" y="195925"/>
                </a:lnTo>
                <a:lnTo>
                  <a:pt x="7710" y="195925"/>
                </a:lnTo>
                <a:lnTo>
                  <a:pt x="8080" y="195978"/>
                </a:lnTo>
                <a:lnTo>
                  <a:pt x="8027" y="195872"/>
                </a:lnTo>
                <a:lnTo>
                  <a:pt x="7763" y="195714"/>
                </a:lnTo>
                <a:close/>
                <a:moveTo>
                  <a:pt x="76574" y="196928"/>
                </a:moveTo>
                <a:lnTo>
                  <a:pt x="76574" y="196981"/>
                </a:lnTo>
                <a:lnTo>
                  <a:pt x="76574" y="197034"/>
                </a:lnTo>
                <a:lnTo>
                  <a:pt x="76574" y="197087"/>
                </a:lnTo>
                <a:lnTo>
                  <a:pt x="76574" y="197140"/>
                </a:lnTo>
                <a:lnTo>
                  <a:pt x="76838" y="197140"/>
                </a:lnTo>
                <a:lnTo>
                  <a:pt x="76733" y="197034"/>
                </a:lnTo>
                <a:lnTo>
                  <a:pt x="76733" y="196981"/>
                </a:lnTo>
                <a:lnTo>
                  <a:pt x="76574" y="196928"/>
                </a:lnTo>
                <a:close/>
                <a:moveTo>
                  <a:pt x="78792" y="196083"/>
                </a:moveTo>
                <a:lnTo>
                  <a:pt x="78740" y="196136"/>
                </a:lnTo>
                <a:lnTo>
                  <a:pt x="78687" y="196189"/>
                </a:lnTo>
                <a:lnTo>
                  <a:pt x="78475" y="196189"/>
                </a:lnTo>
                <a:lnTo>
                  <a:pt x="78475" y="196242"/>
                </a:lnTo>
                <a:lnTo>
                  <a:pt x="78475" y="196348"/>
                </a:lnTo>
                <a:lnTo>
                  <a:pt x="78211" y="196664"/>
                </a:lnTo>
                <a:lnTo>
                  <a:pt x="78053" y="196928"/>
                </a:lnTo>
                <a:lnTo>
                  <a:pt x="78106" y="197192"/>
                </a:lnTo>
                <a:lnTo>
                  <a:pt x="78159" y="197140"/>
                </a:lnTo>
                <a:lnTo>
                  <a:pt x="78211" y="197245"/>
                </a:lnTo>
                <a:lnTo>
                  <a:pt x="78317" y="197245"/>
                </a:lnTo>
                <a:lnTo>
                  <a:pt x="78370" y="197192"/>
                </a:lnTo>
                <a:lnTo>
                  <a:pt x="78423" y="197087"/>
                </a:lnTo>
                <a:lnTo>
                  <a:pt x="78528" y="196981"/>
                </a:lnTo>
                <a:lnTo>
                  <a:pt x="78740" y="196770"/>
                </a:lnTo>
                <a:lnTo>
                  <a:pt x="78898" y="196876"/>
                </a:lnTo>
                <a:lnTo>
                  <a:pt x="79004" y="196876"/>
                </a:lnTo>
                <a:lnTo>
                  <a:pt x="79109" y="196823"/>
                </a:lnTo>
                <a:lnTo>
                  <a:pt x="79268" y="196664"/>
                </a:lnTo>
                <a:lnTo>
                  <a:pt x="79373" y="196348"/>
                </a:lnTo>
                <a:lnTo>
                  <a:pt x="79373" y="196295"/>
                </a:lnTo>
                <a:lnTo>
                  <a:pt x="79373" y="196189"/>
                </a:lnTo>
                <a:lnTo>
                  <a:pt x="79320" y="196189"/>
                </a:lnTo>
                <a:lnTo>
                  <a:pt x="79268" y="196136"/>
                </a:lnTo>
                <a:lnTo>
                  <a:pt x="79162" y="196136"/>
                </a:lnTo>
                <a:lnTo>
                  <a:pt x="79056" y="196083"/>
                </a:lnTo>
                <a:close/>
                <a:moveTo>
                  <a:pt x="76099" y="197404"/>
                </a:moveTo>
                <a:lnTo>
                  <a:pt x="75888" y="197509"/>
                </a:lnTo>
                <a:lnTo>
                  <a:pt x="75782" y="197721"/>
                </a:lnTo>
                <a:lnTo>
                  <a:pt x="75782" y="197879"/>
                </a:lnTo>
                <a:lnTo>
                  <a:pt x="75941" y="197985"/>
                </a:lnTo>
                <a:lnTo>
                  <a:pt x="76205" y="197879"/>
                </a:lnTo>
                <a:lnTo>
                  <a:pt x="76205" y="197826"/>
                </a:lnTo>
                <a:lnTo>
                  <a:pt x="76205" y="197773"/>
                </a:lnTo>
                <a:lnTo>
                  <a:pt x="76205" y="197721"/>
                </a:lnTo>
                <a:lnTo>
                  <a:pt x="76205" y="197615"/>
                </a:lnTo>
                <a:lnTo>
                  <a:pt x="76152" y="197509"/>
                </a:lnTo>
                <a:lnTo>
                  <a:pt x="76099" y="197404"/>
                </a:lnTo>
                <a:close/>
                <a:moveTo>
                  <a:pt x="5968" y="197509"/>
                </a:moveTo>
                <a:lnTo>
                  <a:pt x="5492" y="197615"/>
                </a:lnTo>
                <a:lnTo>
                  <a:pt x="5439" y="197615"/>
                </a:lnTo>
                <a:lnTo>
                  <a:pt x="5439" y="197668"/>
                </a:lnTo>
                <a:lnTo>
                  <a:pt x="5387" y="197721"/>
                </a:lnTo>
                <a:lnTo>
                  <a:pt x="5387" y="197773"/>
                </a:lnTo>
                <a:lnTo>
                  <a:pt x="5175" y="197773"/>
                </a:lnTo>
                <a:lnTo>
                  <a:pt x="5070" y="197932"/>
                </a:lnTo>
                <a:lnTo>
                  <a:pt x="5017" y="197985"/>
                </a:lnTo>
                <a:lnTo>
                  <a:pt x="4806" y="197985"/>
                </a:lnTo>
                <a:lnTo>
                  <a:pt x="4700" y="198037"/>
                </a:lnTo>
                <a:lnTo>
                  <a:pt x="4647" y="198037"/>
                </a:lnTo>
                <a:lnTo>
                  <a:pt x="4489" y="198090"/>
                </a:lnTo>
                <a:lnTo>
                  <a:pt x="4383" y="198196"/>
                </a:lnTo>
                <a:lnTo>
                  <a:pt x="4330" y="198249"/>
                </a:lnTo>
                <a:lnTo>
                  <a:pt x="4330" y="198354"/>
                </a:lnTo>
                <a:lnTo>
                  <a:pt x="4383" y="198407"/>
                </a:lnTo>
                <a:lnTo>
                  <a:pt x="4859" y="198513"/>
                </a:lnTo>
                <a:lnTo>
                  <a:pt x="5387" y="198407"/>
                </a:lnTo>
                <a:lnTo>
                  <a:pt x="5492" y="198407"/>
                </a:lnTo>
                <a:lnTo>
                  <a:pt x="5492" y="198566"/>
                </a:lnTo>
                <a:lnTo>
                  <a:pt x="5651" y="198566"/>
                </a:lnTo>
                <a:lnTo>
                  <a:pt x="5651" y="198618"/>
                </a:lnTo>
                <a:lnTo>
                  <a:pt x="5651" y="198724"/>
                </a:lnTo>
                <a:lnTo>
                  <a:pt x="6020" y="198618"/>
                </a:lnTo>
                <a:lnTo>
                  <a:pt x="6020" y="198513"/>
                </a:lnTo>
                <a:lnTo>
                  <a:pt x="6020" y="198407"/>
                </a:lnTo>
                <a:lnTo>
                  <a:pt x="6020" y="198249"/>
                </a:lnTo>
                <a:lnTo>
                  <a:pt x="5968" y="198196"/>
                </a:lnTo>
                <a:lnTo>
                  <a:pt x="5862" y="197985"/>
                </a:lnTo>
                <a:lnTo>
                  <a:pt x="5968" y="197826"/>
                </a:lnTo>
                <a:lnTo>
                  <a:pt x="6232" y="197562"/>
                </a:lnTo>
                <a:lnTo>
                  <a:pt x="6126" y="197509"/>
                </a:lnTo>
                <a:close/>
                <a:moveTo>
                  <a:pt x="16107" y="198566"/>
                </a:moveTo>
                <a:lnTo>
                  <a:pt x="16213" y="198777"/>
                </a:lnTo>
                <a:lnTo>
                  <a:pt x="16371" y="198830"/>
                </a:lnTo>
                <a:lnTo>
                  <a:pt x="16529" y="198830"/>
                </a:lnTo>
                <a:lnTo>
                  <a:pt x="16635" y="198724"/>
                </a:lnTo>
                <a:lnTo>
                  <a:pt x="16529" y="198671"/>
                </a:lnTo>
                <a:lnTo>
                  <a:pt x="16371" y="198618"/>
                </a:lnTo>
                <a:lnTo>
                  <a:pt x="16265" y="198566"/>
                </a:lnTo>
                <a:close/>
                <a:moveTo>
                  <a:pt x="70501" y="198407"/>
                </a:moveTo>
                <a:lnTo>
                  <a:pt x="70237" y="198618"/>
                </a:lnTo>
                <a:lnTo>
                  <a:pt x="69920" y="198777"/>
                </a:lnTo>
                <a:lnTo>
                  <a:pt x="69815" y="198882"/>
                </a:lnTo>
                <a:lnTo>
                  <a:pt x="69762" y="199041"/>
                </a:lnTo>
                <a:lnTo>
                  <a:pt x="69603" y="199463"/>
                </a:lnTo>
                <a:lnTo>
                  <a:pt x="69815" y="199569"/>
                </a:lnTo>
                <a:lnTo>
                  <a:pt x="70079" y="199569"/>
                </a:lnTo>
                <a:lnTo>
                  <a:pt x="70290" y="199410"/>
                </a:lnTo>
                <a:lnTo>
                  <a:pt x="70501" y="199252"/>
                </a:lnTo>
                <a:lnTo>
                  <a:pt x="70554" y="199358"/>
                </a:lnTo>
                <a:lnTo>
                  <a:pt x="70607" y="199358"/>
                </a:lnTo>
                <a:lnTo>
                  <a:pt x="70765" y="199199"/>
                </a:lnTo>
                <a:lnTo>
                  <a:pt x="71029" y="199094"/>
                </a:lnTo>
                <a:lnTo>
                  <a:pt x="71082" y="199041"/>
                </a:lnTo>
                <a:lnTo>
                  <a:pt x="71135" y="198830"/>
                </a:lnTo>
                <a:lnTo>
                  <a:pt x="70976" y="198724"/>
                </a:lnTo>
                <a:lnTo>
                  <a:pt x="70712" y="198618"/>
                </a:lnTo>
                <a:lnTo>
                  <a:pt x="70607" y="198460"/>
                </a:lnTo>
                <a:lnTo>
                  <a:pt x="70554" y="198407"/>
                </a:lnTo>
                <a:close/>
                <a:moveTo>
                  <a:pt x="55926" y="199939"/>
                </a:moveTo>
                <a:lnTo>
                  <a:pt x="55926" y="200044"/>
                </a:lnTo>
                <a:lnTo>
                  <a:pt x="55926" y="200097"/>
                </a:lnTo>
                <a:lnTo>
                  <a:pt x="56031" y="200044"/>
                </a:lnTo>
                <a:lnTo>
                  <a:pt x="55926" y="199939"/>
                </a:lnTo>
                <a:close/>
                <a:moveTo>
                  <a:pt x="65062" y="200414"/>
                </a:moveTo>
                <a:lnTo>
                  <a:pt x="64956" y="200467"/>
                </a:lnTo>
                <a:lnTo>
                  <a:pt x="64692" y="200467"/>
                </a:lnTo>
                <a:lnTo>
                  <a:pt x="64586" y="200572"/>
                </a:lnTo>
                <a:lnTo>
                  <a:pt x="64217" y="200572"/>
                </a:lnTo>
                <a:lnTo>
                  <a:pt x="64058" y="200678"/>
                </a:lnTo>
                <a:lnTo>
                  <a:pt x="64006" y="200836"/>
                </a:lnTo>
                <a:lnTo>
                  <a:pt x="63847" y="200625"/>
                </a:lnTo>
                <a:lnTo>
                  <a:pt x="63794" y="200572"/>
                </a:lnTo>
                <a:lnTo>
                  <a:pt x="63742" y="200572"/>
                </a:lnTo>
                <a:lnTo>
                  <a:pt x="63636" y="200678"/>
                </a:lnTo>
                <a:lnTo>
                  <a:pt x="63530" y="200678"/>
                </a:lnTo>
                <a:lnTo>
                  <a:pt x="63530" y="200625"/>
                </a:lnTo>
                <a:lnTo>
                  <a:pt x="63530" y="200572"/>
                </a:lnTo>
                <a:lnTo>
                  <a:pt x="63530" y="200467"/>
                </a:lnTo>
                <a:lnTo>
                  <a:pt x="63477" y="200467"/>
                </a:lnTo>
                <a:lnTo>
                  <a:pt x="63319" y="200572"/>
                </a:lnTo>
                <a:lnTo>
                  <a:pt x="62949" y="200572"/>
                </a:lnTo>
                <a:lnTo>
                  <a:pt x="62897" y="200520"/>
                </a:lnTo>
                <a:lnTo>
                  <a:pt x="62844" y="200520"/>
                </a:lnTo>
                <a:lnTo>
                  <a:pt x="62949" y="200625"/>
                </a:lnTo>
                <a:lnTo>
                  <a:pt x="62949" y="200678"/>
                </a:lnTo>
                <a:lnTo>
                  <a:pt x="63161" y="200678"/>
                </a:lnTo>
                <a:lnTo>
                  <a:pt x="63213" y="200731"/>
                </a:lnTo>
                <a:lnTo>
                  <a:pt x="63425" y="200731"/>
                </a:lnTo>
                <a:lnTo>
                  <a:pt x="63372" y="200836"/>
                </a:lnTo>
                <a:lnTo>
                  <a:pt x="63425" y="200889"/>
                </a:lnTo>
                <a:lnTo>
                  <a:pt x="63583" y="200889"/>
                </a:lnTo>
                <a:lnTo>
                  <a:pt x="63847" y="201048"/>
                </a:lnTo>
                <a:lnTo>
                  <a:pt x="64217" y="200995"/>
                </a:lnTo>
                <a:lnTo>
                  <a:pt x="64375" y="200942"/>
                </a:lnTo>
                <a:lnTo>
                  <a:pt x="64534" y="200836"/>
                </a:lnTo>
                <a:lnTo>
                  <a:pt x="64586" y="200889"/>
                </a:lnTo>
                <a:lnTo>
                  <a:pt x="64586" y="200942"/>
                </a:lnTo>
                <a:lnTo>
                  <a:pt x="64586" y="200995"/>
                </a:lnTo>
                <a:lnTo>
                  <a:pt x="65167" y="200995"/>
                </a:lnTo>
                <a:lnTo>
                  <a:pt x="65115" y="201048"/>
                </a:lnTo>
                <a:lnTo>
                  <a:pt x="65167" y="201100"/>
                </a:lnTo>
                <a:lnTo>
                  <a:pt x="65379" y="201100"/>
                </a:lnTo>
                <a:lnTo>
                  <a:pt x="65484" y="201153"/>
                </a:lnTo>
                <a:lnTo>
                  <a:pt x="65537" y="201153"/>
                </a:lnTo>
                <a:lnTo>
                  <a:pt x="65590" y="201048"/>
                </a:lnTo>
                <a:lnTo>
                  <a:pt x="65695" y="201048"/>
                </a:lnTo>
                <a:lnTo>
                  <a:pt x="65854" y="201100"/>
                </a:lnTo>
                <a:lnTo>
                  <a:pt x="66012" y="201100"/>
                </a:lnTo>
                <a:lnTo>
                  <a:pt x="66329" y="200889"/>
                </a:lnTo>
                <a:lnTo>
                  <a:pt x="66488" y="200836"/>
                </a:lnTo>
                <a:lnTo>
                  <a:pt x="66593" y="200889"/>
                </a:lnTo>
                <a:lnTo>
                  <a:pt x="66699" y="200889"/>
                </a:lnTo>
                <a:lnTo>
                  <a:pt x="66699" y="200836"/>
                </a:lnTo>
                <a:lnTo>
                  <a:pt x="66804" y="200836"/>
                </a:lnTo>
                <a:lnTo>
                  <a:pt x="66910" y="200942"/>
                </a:lnTo>
                <a:lnTo>
                  <a:pt x="67121" y="200942"/>
                </a:lnTo>
                <a:lnTo>
                  <a:pt x="67333" y="200784"/>
                </a:lnTo>
                <a:lnTo>
                  <a:pt x="67544" y="200836"/>
                </a:lnTo>
                <a:lnTo>
                  <a:pt x="67649" y="200784"/>
                </a:lnTo>
                <a:lnTo>
                  <a:pt x="67702" y="200731"/>
                </a:lnTo>
                <a:lnTo>
                  <a:pt x="67913" y="200731"/>
                </a:lnTo>
                <a:lnTo>
                  <a:pt x="68019" y="200678"/>
                </a:lnTo>
                <a:lnTo>
                  <a:pt x="67333" y="200625"/>
                </a:lnTo>
                <a:lnTo>
                  <a:pt x="67280" y="200678"/>
                </a:lnTo>
                <a:lnTo>
                  <a:pt x="67227" y="200625"/>
                </a:lnTo>
                <a:lnTo>
                  <a:pt x="67174" y="200625"/>
                </a:lnTo>
                <a:lnTo>
                  <a:pt x="67069" y="200678"/>
                </a:lnTo>
                <a:lnTo>
                  <a:pt x="66857" y="200678"/>
                </a:lnTo>
                <a:lnTo>
                  <a:pt x="66752" y="200731"/>
                </a:lnTo>
                <a:lnTo>
                  <a:pt x="66699" y="200731"/>
                </a:lnTo>
                <a:lnTo>
                  <a:pt x="66699" y="200678"/>
                </a:lnTo>
                <a:lnTo>
                  <a:pt x="66699" y="200625"/>
                </a:lnTo>
                <a:lnTo>
                  <a:pt x="66540" y="200625"/>
                </a:lnTo>
                <a:lnTo>
                  <a:pt x="66435" y="200678"/>
                </a:lnTo>
                <a:lnTo>
                  <a:pt x="66276" y="200731"/>
                </a:lnTo>
                <a:lnTo>
                  <a:pt x="66171" y="200784"/>
                </a:lnTo>
                <a:lnTo>
                  <a:pt x="66171" y="200678"/>
                </a:lnTo>
                <a:lnTo>
                  <a:pt x="66118" y="200678"/>
                </a:lnTo>
                <a:lnTo>
                  <a:pt x="66012" y="200731"/>
                </a:lnTo>
                <a:lnTo>
                  <a:pt x="66012" y="200678"/>
                </a:lnTo>
                <a:lnTo>
                  <a:pt x="66012" y="200625"/>
                </a:lnTo>
                <a:lnTo>
                  <a:pt x="65801" y="200625"/>
                </a:lnTo>
                <a:lnTo>
                  <a:pt x="65801" y="200678"/>
                </a:lnTo>
                <a:lnTo>
                  <a:pt x="65379" y="200678"/>
                </a:lnTo>
                <a:lnTo>
                  <a:pt x="65326" y="200625"/>
                </a:lnTo>
                <a:lnTo>
                  <a:pt x="65273" y="200678"/>
                </a:lnTo>
                <a:lnTo>
                  <a:pt x="65326" y="200467"/>
                </a:lnTo>
                <a:lnTo>
                  <a:pt x="65115" y="200467"/>
                </a:lnTo>
                <a:lnTo>
                  <a:pt x="65062" y="200414"/>
                </a:lnTo>
                <a:close/>
                <a:moveTo>
                  <a:pt x="58390" y="201241"/>
                </a:moveTo>
                <a:lnTo>
                  <a:pt x="58355" y="201259"/>
                </a:lnTo>
                <a:lnTo>
                  <a:pt x="58302" y="201312"/>
                </a:lnTo>
                <a:lnTo>
                  <a:pt x="58355" y="201312"/>
                </a:lnTo>
                <a:lnTo>
                  <a:pt x="58390" y="201241"/>
                </a:lnTo>
                <a:close/>
                <a:moveTo>
                  <a:pt x="62104" y="198249"/>
                </a:moveTo>
                <a:lnTo>
                  <a:pt x="61893" y="198407"/>
                </a:lnTo>
                <a:lnTo>
                  <a:pt x="61682" y="198460"/>
                </a:lnTo>
                <a:lnTo>
                  <a:pt x="61682" y="198618"/>
                </a:lnTo>
                <a:lnTo>
                  <a:pt x="61629" y="198671"/>
                </a:lnTo>
                <a:lnTo>
                  <a:pt x="61576" y="198671"/>
                </a:lnTo>
                <a:lnTo>
                  <a:pt x="61523" y="198618"/>
                </a:lnTo>
                <a:lnTo>
                  <a:pt x="61471" y="198618"/>
                </a:lnTo>
                <a:lnTo>
                  <a:pt x="61418" y="198671"/>
                </a:lnTo>
                <a:lnTo>
                  <a:pt x="61471" y="198882"/>
                </a:lnTo>
                <a:lnTo>
                  <a:pt x="61312" y="198988"/>
                </a:lnTo>
                <a:lnTo>
                  <a:pt x="60995" y="198988"/>
                </a:lnTo>
                <a:lnTo>
                  <a:pt x="60995" y="199094"/>
                </a:lnTo>
                <a:lnTo>
                  <a:pt x="61101" y="199199"/>
                </a:lnTo>
                <a:lnTo>
                  <a:pt x="61312" y="199252"/>
                </a:lnTo>
                <a:lnTo>
                  <a:pt x="61418" y="199252"/>
                </a:lnTo>
                <a:lnTo>
                  <a:pt x="61418" y="199146"/>
                </a:lnTo>
                <a:lnTo>
                  <a:pt x="61418" y="199041"/>
                </a:lnTo>
                <a:lnTo>
                  <a:pt x="61471" y="198988"/>
                </a:lnTo>
                <a:lnTo>
                  <a:pt x="61523" y="199041"/>
                </a:lnTo>
                <a:lnTo>
                  <a:pt x="61576" y="199094"/>
                </a:lnTo>
                <a:lnTo>
                  <a:pt x="61629" y="199199"/>
                </a:lnTo>
                <a:lnTo>
                  <a:pt x="61682" y="199252"/>
                </a:lnTo>
                <a:lnTo>
                  <a:pt x="61735" y="199305"/>
                </a:lnTo>
                <a:lnTo>
                  <a:pt x="61946" y="199305"/>
                </a:lnTo>
                <a:lnTo>
                  <a:pt x="61999" y="199358"/>
                </a:lnTo>
                <a:lnTo>
                  <a:pt x="61999" y="199516"/>
                </a:lnTo>
                <a:lnTo>
                  <a:pt x="61840" y="199516"/>
                </a:lnTo>
                <a:lnTo>
                  <a:pt x="61840" y="199569"/>
                </a:lnTo>
                <a:lnTo>
                  <a:pt x="61840" y="199675"/>
                </a:lnTo>
                <a:lnTo>
                  <a:pt x="61840" y="199727"/>
                </a:lnTo>
                <a:lnTo>
                  <a:pt x="61788" y="199675"/>
                </a:lnTo>
                <a:lnTo>
                  <a:pt x="61682" y="199675"/>
                </a:lnTo>
                <a:lnTo>
                  <a:pt x="61629" y="199780"/>
                </a:lnTo>
                <a:lnTo>
                  <a:pt x="61576" y="199886"/>
                </a:lnTo>
                <a:lnTo>
                  <a:pt x="61471" y="199780"/>
                </a:lnTo>
                <a:lnTo>
                  <a:pt x="61365" y="199727"/>
                </a:lnTo>
                <a:lnTo>
                  <a:pt x="61048" y="199727"/>
                </a:lnTo>
                <a:lnTo>
                  <a:pt x="61048" y="199780"/>
                </a:lnTo>
                <a:lnTo>
                  <a:pt x="61207" y="199833"/>
                </a:lnTo>
                <a:lnTo>
                  <a:pt x="61259" y="199886"/>
                </a:lnTo>
                <a:lnTo>
                  <a:pt x="61259" y="199939"/>
                </a:lnTo>
                <a:lnTo>
                  <a:pt x="61259" y="200044"/>
                </a:lnTo>
                <a:lnTo>
                  <a:pt x="61207" y="200044"/>
                </a:lnTo>
                <a:lnTo>
                  <a:pt x="61048" y="199939"/>
                </a:lnTo>
                <a:lnTo>
                  <a:pt x="60573" y="199939"/>
                </a:lnTo>
                <a:lnTo>
                  <a:pt x="60573" y="200044"/>
                </a:lnTo>
                <a:lnTo>
                  <a:pt x="60520" y="200097"/>
                </a:lnTo>
                <a:lnTo>
                  <a:pt x="60573" y="200150"/>
                </a:lnTo>
                <a:lnTo>
                  <a:pt x="60731" y="200150"/>
                </a:lnTo>
                <a:lnTo>
                  <a:pt x="60679" y="200203"/>
                </a:lnTo>
                <a:lnTo>
                  <a:pt x="60362" y="200203"/>
                </a:lnTo>
                <a:lnTo>
                  <a:pt x="60309" y="200308"/>
                </a:lnTo>
                <a:lnTo>
                  <a:pt x="60309" y="200361"/>
                </a:lnTo>
                <a:lnTo>
                  <a:pt x="60309" y="200414"/>
                </a:lnTo>
                <a:lnTo>
                  <a:pt x="60414" y="200414"/>
                </a:lnTo>
                <a:lnTo>
                  <a:pt x="60256" y="200467"/>
                </a:lnTo>
                <a:lnTo>
                  <a:pt x="59992" y="200467"/>
                </a:lnTo>
                <a:lnTo>
                  <a:pt x="59781" y="200414"/>
                </a:lnTo>
                <a:lnTo>
                  <a:pt x="59675" y="200308"/>
                </a:lnTo>
                <a:lnTo>
                  <a:pt x="59570" y="200361"/>
                </a:lnTo>
                <a:lnTo>
                  <a:pt x="59570" y="200678"/>
                </a:lnTo>
                <a:lnTo>
                  <a:pt x="59517" y="200731"/>
                </a:lnTo>
                <a:lnTo>
                  <a:pt x="59358" y="200889"/>
                </a:lnTo>
                <a:lnTo>
                  <a:pt x="59305" y="200784"/>
                </a:lnTo>
                <a:lnTo>
                  <a:pt x="59253" y="200731"/>
                </a:lnTo>
                <a:lnTo>
                  <a:pt x="59200" y="200731"/>
                </a:lnTo>
                <a:lnTo>
                  <a:pt x="59094" y="200784"/>
                </a:lnTo>
                <a:lnTo>
                  <a:pt x="59041" y="200678"/>
                </a:lnTo>
                <a:lnTo>
                  <a:pt x="58830" y="200784"/>
                </a:lnTo>
                <a:lnTo>
                  <a:pt x="58830" y="200678"/>
                </a:lnTo>
                <a:lnTo>
                  <a:pt x="58830" y="200572"/>
                </a:lnTo>
                <a:lnTo>
                  <a:pt x="58777" y="200678"/>
                </a:lnTo>
                <a:lnTo>
                  <a:pt x="58672" y="200836"/>
                </a:lnTo>
                <a:lnTo>
                  <a:pt x="58672" y="200889"/>
                </a:lnTo>
                <a:lnTo>
                  <a:pt x="58566" y="200836"/>
                </a:lnTo>
                <a:lnTo>
                  <a:pt x="58513" y="200836"/>
                </a:lnTo>
                <a:lnTo>
                  <a:pt x="58513" y="200942"/>
                </a:lnTo>
                <a:lnTo>
                  <a:pt x="58513" y="201048"/>
                </a:lnTo>
                <a:lnTo>
                  <a:pt x="58461" y="201048"/>
                </a:lnTo>
                <a:lnTo>
                  <a:pt x="58461" y="200995"/>
                </a:lnTo>
                <a:lnTo>
                  <a:pt x="58355" y="200995"/>
                </a:lnTo>
                <a:lnTo>
                  <a:pt x="58355" y="201048"/>
                </a:lnTo>
                <a:lnTo>
                  <a:pt x="58355" y="201100"/>
                </a:lnTo>
                <a:lnTo>
                  <a:pt x="58355" y="201153"/>
                </a:lnTo>
                <a:lnTo>
                  <a:pt x="58408" y="201206"/>
                </a:lnTo>
                <a:lnTo>
                  <a:pt x="58390" y="201241"/>
                </a:lnTo>
                <a:lnTo>
                  <a:pt x="58390" y="201241"/>
                </a:lnTo>
                <a:lnTo>
                  <a:pt x="58461" y="201206"/>
                </a:lnTo>
                <a:lnTo>
                  <a:pt x="58777" y="201206"/>
                </a:lnTo>
                <a:lnTo>
                  <a:pt x="58883" y="201153"/>
                </a:lnTo>
                <a:lnTo>
                  <a:pt x="58936" y="201153"/>
                </a:lnTo>
                <a:lnTo>
                  <a:pt x="59411" y="201259"/>
                </a:lnTo>
                <a:lnTo>
                  <a:pt x="59517" y="201312"/>
                </a:lnTo>
                <a:lnTo>
                  <a:pt x="59781" y="201312"/>
                </a:lnTo>
                <a:lnTo>
                  <a:pt x="59728" y="201259"/>
                </a:lnTo>
                <a:lnTo>
                  <a:pt x="59781" y="201259"/>
                </a:lnTo>
                <a:lnTo>
                  <a:pt x="59781" y="201206"/>
                </a:lnTo>
                <a:lnTo>
                  <a:pt x="59781" y="201153"/>
                </a:lnTo>
                <a:lnTo>
                  <a:pt x="59728" y="201100"/>
                </a:lnTo>
                <a:lnTo>
                  <a:pt x="59834" y="201100"/>
                </a:lnTo>
                <a:lnTo>
                  <a:pt x="60045" y="201259"/>
                </a:lnTo>
                <a:lnTo>
                  <a:pt x="60203" y="201259"/>
                </a:lnTo>
                <a:lnTo>
                  <a:pt x="60309" y="201206"/>
                </a:lnTo>
                <a:lnTo>
                  <a:pt x="60414" y="201206"/>
                </a:lnTo>
                <a:lnTo>
                  <a:pt x="60467" y="201259"/>
                </a:lnTo>
                <a:lnTo>
                  <a:pt x="60573" y="201259"/>
                </a:lnTo>
                <a:lnTo>
                  <a:pt x="60573" y="201153"/>
                </a:lnTo>
                <a:lnTo>
                  <a:pt x="60520" y="201100"/>
                </a:lnTo>
                <a:lnTo>
                  <a:pt x="60679" y="201100"/>
                </a:lnTo>
                <a:lnTo>
                  <a:pt x="60784" y="201206"/>
                </a:lnTo>
                <a:lnTo>
                  <a:pt x="60837" y="201259"/>
                </a:lnTo>
                <a:lnTo>
                  <a:pt x="60784" y="201153"/>
                </a:lnTo>
                <a:lnTo>
                  <a:pt x="60679" y="200942"/>
                </a:lnTo>
                <a:lnTo>
                  <a:pt x="60679" y="200784"/>
                </a:lnTo>
                <a:lnTo>
                  <a:pt x="60731" y="200889"/>
                </a:lnTo>
                <a:lnTo>
                  <a:pt x="60784" y="200995"/>
                </a:lnTo>
                <a:lnTo>
                  <a:pt x="60890" y="200995"/>
                </a:lnTo>
                <a:lnTo>
                  <a:pt x="60943" y="200889"/>
                </a:lnTo>
                <a:lnTo>
                  <a:pt x="60995" y="201048"/>
                </a:lnTo>
                <a:lnTo>
                  <a:pt x="60995" y="201153"/>
                </a:lnTo>
                <a:lnTo>
                  <a:pt x="61048" y="201206"/>
                </a:lnTo>
                <a:lnTo>
                  <a:pt x="61154" y="201206"/>
                </a:lnTo>
                <a:lnTo>
                  <a:pt x="61259" y="201100"/>
                </a:lnTo>
                <a:lnTo>
                  <a:pt x="61259" y="200784"/>
                </a:lnTo>
                <a:lnTo>
                  <a:pt x="61312" y="200784"/>
                </a:lnTo>
                <a:lnTo>
                  <a:pt x="61312" y="200678"/>
                </a:lnTo>
                <a:lnTo>
                  <a:pt x="61101" y="200678"/>
                </a:lnTo>
                <a:lnTo>
                  <a:pt x="61048" y="200731"/>
                </a:lnTo>
                <a:lnTo>
                  <a:pt x="61048" y="200625"/>
                </a:lnTo>
                <a:lnTo>
                  <a:pt x="61365" y="200625"/>
                </a:lnTo>
                <a:lnTo>
                  <a:pt x="61471" y="200572"/>
                </a:lnTo>
                <a:lnTo>
                  <a:pt x="61576" y="200572"/>
                </a:lnTo>
                <a:lnTo>
                  <a:pt x="61629" y="200625"/>
                </a:lnTo>
                <a:lnTo>
                  <a:pt x="61735" y="200731"/>
                </a:lnTo>
                <a:lnTo>
                  <a:pt x="61946" y="200731"/>
                </a:lnTo>
                <a:lnTo>
                  <a:pt x="61999" y="200784"/>
                </a:lnTo>
                <a:lnTo>
                  <a:pt x="61999" y="200731"/>
                </a:lnTo>
                <a:lnTo>
                  <a:pt x="61999" y="200625"/>
                </a:lnTo>
                <a:lnTo>
                  <a:pt x="61999" y="200572"/>
                </a:lnTo>
                <a:lnTo>
                  <a:pt x="61999" y="200520"/>
                </a:lnTo>
                <a:lnTo>
                  <a:pt x="62052" y="200520"/>
                </a:lnTo>
                <a:lnTo>
                  <a:pt x="62157" y="200572"/>
                </a:lnTo>
                <a:lnTo>
                  <a:pt x="62210" y="200572"/>
                </a:lnTo>
                <a:lnTo>
                  <a:pt x="62210" y="200520"/>
                </a:lnTo>
                <a:lnTo>
                  <a:pt x="62263" y="200520"/>
                </a:lnTo>
                <a:lnTo>
                  <a:pt x="62421" y="200625"/>
                </a:lnTo>
                <a:lnTo>
                  <a:pt x="62474" y="200625"/>
                </a:lnTo>
                <a:lnTo>
                  <a:pt x="62527" y="200520"/>
                </a:lnTo>
                <a:lnTo>
                  <a:pt x="62474" y="200414"/>
                </a:lnTo>
                <a:lnTo>
                  <a:pt x="62368" y="200308"/>
                </a:lnTo>
                <a:lnTo>
                  <a:pt x="62210" y="200203"/>
                </a:lnTo>
                <a:lnTo>
                  <a:pt x="62104" y="200044"/>
                </a:lnTo>
                <a:lnTo>
                  <a:pt x="62052" y="199939"/>
                </a:lnTo>
                <a:lnTo>
                  <a:pt x="61999" y="199886"/>
                </a:lnTo>
                <a:lnTo>
                  <a:pt x="62104" y="199727"/>
                </a:lnTo>
                <a:lnTo>
                  <a:pt x="62685" y="199727"/>
                </a:lnTo>
                <a:lnTo>
                  <a:pt x="62844" y="199622"/>
                </a:lnTo>
                <a:lnTo>
                  <a:pt x="62844" y="199516"/>
                </a:lnTo>
                <a:lnTo>
                  <a:pt x="62844" y="199463"/>
                </a:lnTo>
                <a:lnTo>
                  <a:pt x="62844" y="199358"/>
                </a:lnTo>
                <a:lnTo>
                  <a:pt x="63002" y="199358"/>
                </a:lnTo>
                <a:lnTo>
                  <a:pt x="63002" y="199305"/>
                </a:lnTo>
                <a:lnTo>
                  <a:pt x="63002" y="199252"/>
                </a:lnTo>
                <a:lnTo>
                  <a:pt x="63055" y="199094"/>
                </a:lnTo>
                <a:lnTo>
                  <a:pt x="63002" y="198988"/>
                </a:lnTo>
                <a:lnTo>
                  <a:pt x="63002" y="198882"/>
                </a:lnTo>
                <a:lnTo>
                  <a:pt x="63002" y="198724"/>
                </a:lnTo>
                <a:lnTo>
                  <a:pt x="62897" y="198724"/>
                </a:lnTo>
                <a:lnTo>
                  <a:pt x="62791" y="198618"/>
                </a:lnTo>
                <a:lnTo>
                  <a:pt x="62685" y="198513"/>
                </a:lnTo>
                <a:lnTo>
                  <a:pt x="62633" y="198407"/>
                </a:lnTo>
                <a:lnTo>
                  <a:pt x="62421" y="198407"/>
                </a:lnTo>
                <a:lnTo>
                  <a:pt x="62316" y="198301"/>
                </a:lnTo>
                <a:lnTo>
                  <a:pt x="62263" y="198249"/>
                </a:lnTo>
                <a:close/>
                <a:moveTo>
                  <a:pt x="57721" y="201153"/>
                </a:moveTo>
                <a:lnTo>
                  <a:pt x="57510" y="201259"/>
                </a:lnTo>
                <a:lnTo>
                  <a:pt x="56982" y="201364"/>
                </a:lnTo>
                <a:lnTo>
                  <a:pt x="56771" y="201364"/>
                </a:lnTo>
                <a:lnTo>
                  <a:pt x="56876" y="201417"/>
                </a:lnTo>
                <a:lnTo>
                  <a:pt x="58196" y="201417"/>
                </a:lnTo>
                <a:lnTo>
                  <a:pt x="58302" y="201312"/>
                </a:lnTo>
                <a:lnTo>
                  <a:pt x="58302" y="201312"/>
                </a:lnTo>
                <a:lnTo>
                  <a:pt x="58249" y="201259"/>
                </a:lnTo>
                <a:lnTo>
                  <a:pt x="58196" y="201206"/>
                </a:lnTo>
                <a:lnTo>
                  <a:pt x="58091" y="201206"/>
                </a:lnTo>
                <a:lnTo>
                  <a:pt x="57985" y="201312"/>
                </a:lnTo>
                <a:lnTo>
                  <a:pt x="57880" y="201312"/>
                </a:lnTo>
                <a:lnTo>
                  <a:pt x="57932" y="201206"/>
                </a:lnTo>
                <a:lnTo>
                  <a:pt x="57932" y="201153"/>
                </a:lnTo>
                <a:close/>
                <a:moveTo>
                  <a:pt x="54583" y="201481"/>
                </a:moveTo>
                <a:lnTo>
                  <a:pt x="54500" y="201523"/>
                </a:lnTo>
                <a:lnTo>
                  <a:pt x="54500" y="201523"/>
                </a:lnTo>
                <a:lnTo>
                  <a:pt x="54583" y="201481"/>
                </a:lnTo>
                <a:close/>
                <a:moveTo>
                  <a:pt x="56190" y="201523"/>
                </a:moveTo>
                <a:lnTo>
                  <a:pt x="56243" y="201576"/>
                </a:lnTo>
                <a:lnTo>
                  <a:pt x="56295" y="201576"/>
                </a:lnTo>
                <a:lnTo>
                  <a:pt x="56243" y="201523"/>
                </a:lnTo>
                <a:close/>
                <a:moveTo>
                  <a:pt x="53972" y="201470"/>
                </a:moveTo>
                <a:lnTo>
                  <a:pt x="53919" y="201576"/>
                </a:lnTo>
                <a:lnTo>
                  <a:pt x="54130" y="201629"/>
                </a:lnTo>
                <a:lnTo>
                  <a:pt x="54289" y="201629"/>
                </a:lnTo>
                <a:lnTo>
                  <a:pt x="54500" y="201523"/>
                </a:lnTo>
                <a:lnTo>
                  <a:pt x="54236" y="201523"/>
                </a:lnTo>
                <a:lnTo>
                  <a:pt x="54183" y="201470"/>
                </a:lnTo>
                <a:close/>
                <a:moveTo>
                  <a:pt x="52968" y="200625"/>
                </a:moveTo>
                <a:lnTo>
                  <a:pt x="52863" y="200678"/>
                </a:lnTo>
                <a:lnTo>
                  <a:pt x="52810" y="200731"/>
                </a:lnTo>
                <a:lnTo>
                  <a:pt x="52757" y="200889"/>
                </a:lnTo>
                <a:lnTo>
                  <a:pt x="52757" y="200995"/>
                </a:lnTo>
                <a:lnTo>
                  <a:pt x="52757" y="201048"/>
                </a:lnTo>
                <a:lnTo>
                  <a:pt x="52757" y="201153"/>
                </a:lnTo>
                <a:lnTo>
                  <a:pt x="52810" y="201417"/>
                </a:lnTo>
                <a:lnTo>
                  <a:pt x="53021" y="201417"/>
                </a:lnTo>
                <a:lnTo>
                  <a:pt x="53232" y="201523"/>
                </a:lnTo>
                <a:lnTo>
                  <a:pt x="53338" y="201629"/>
                </a:lnTo>
                <a:lnTo>
                  <a:pt x="53391" y="201681"/>
                </a:lnTo>
                <a:lnTo>
                  <a:pt x="53444" y="201629"/>
                </a:lnTo>
                <a:lnTo>
                  <a:pt x="53444" y="201523"/>
                </a:lnTo>
                <a:lnTo>
                  <a:pt x="53444" y="201470"/>
                </a:lnTo>
                <a:lnTo>
                  <a:pt x="53444" y="201417"/>
                </a:lnTo>
                <a:lnTo>
                  <a:pt x="53391" y="201417"/>
                </a:lnTo>
                <a:lnTo>
                  <a:pt x="53496" y="201364"/>
                </a:lnTo>
                <a:lnTo>
                  <a:pt x="53708" y="201259"/>
                </a:lnTo>
                <a:lnTo>
                  <a:pt x="53760" y="201153"/>
                </a:lnTo>
                <a:lnTo>
                  <a:pt x="53655" y="201206"/>
                </a:lnTo>
                <a:lnTo>
                  <a:pt x="53602" y="201206"/>
                </a:lnTo>
                <a:lnTo>
                  <a:pt x="53602" y="201100"/>
                </a:lnTo>
                <a:lnTo>
                  <a:pt x="53602" y="200995"/>
                </a:lnTo>
                <a:lnTo>
                  <a:pt x="53602" y="200889"/>
                </a:lnTo>
                <a:lnTo>
                  <a:pt x="53444" y="200678"/>
                </a:lnTo>
                <a:lnTo>
                  <a:pt x="53338" y="200625"/>
                </a:lnTo>
                <a:close/>
                <a:moveTo>
                  <a:pt x="52915" y="201734"/>
                </a:moveTo>
                <a:lnTo>
                  <a:pt x="52968" y="201787"/>
                </a:lnTo>
                <a:lnTo>
                  <a:pt x="52968" y="201840"/>
                </a:lnTo>
                <a:lnTo>
                  <a:pt x="53127" y="201840"/>
                </a:lnTo>
                <a:lnTo>
                  <a:pt x="53127" y="201734"/>
                </a:lnTo>
                <a:close/>
                <a:moveTo>
                  <a:pt x="54922" y="201629"/>
                </a:moveTo>
                <a:lnTo>
                  <a:pt x="54817" y="201840"/>
                </a:lnTo>
                <a:lnTo>
                  <a:pt x="54817" y="201893"/>
                </a:lnTo>
                <a:lnTo>
                  <a:pt x="54869" y="201945"/>
                </a:lnTo>
                <a:lnTo>
                  <a:pt x="54975" y="201945"/>
                </a:lnTo>
                <a:lnTo>
                  <a:pt x="54975" y="201840"/>
                </a:lnTo>
                <a:lnTo>
                  <a:pt x="55186" y="201787"/>
                </a:lnTo>
                <a:lnTo>
                  <a:pt x="55186" y="201734"/>
                </a:lnTo>
                <a:lnTo>
                  <a:pt x="55134" y="201734"/>
                </a:lnTo>
                <a:lnTo>
                  <a:pt x="55028" y="201629"/>
                </a:lnTo>
                <a:close/>
                <a:moveTo>
                  <a:pt x="54500" y="201734"/>
                </a:moveTo>
                <a:lnTo>
                  <a:pt x="54394" y="201787"/>
                </a:lnTo>
                <a:lnTo>
                  <a:pt x="54289" y="201787"/>
                </a:lnTo>
                <a:lnTo>
                  <a:pt x="54236" y="201840"/>
                </a:lnTo>
                <a:lnTo>
                  <a:pt x="54341" y="201840"/>
                </a:lnTo>
                <a:lnTo>
                  <a:pt x="54394" y="201893"/>
                </a:lnTo>
                <a:lnTo>
                  <a:pt x="54394" y="201945"/>
                </a:lnTo>
                <a:lnTo>
                  <a:pt x="54500" y="201945"/>
                </a:lnTo>
                <a:lnTo>
                  <a:pt x="54553" y="201998"/>
                </a:lnTo>
                <a:lnTo>
                  <a:pt x="54658" y="201998"/>
                </a:lnTo>
                <a:lnTo>
                  <a:pt x="54658" y="201945"/>
                </a:lnTo>
                <a:lnTo>
                  <a:pt x="54605" y="201840"/>
                </a:lnTo>
                <a:lnTo>
                  <a:pt x="54553" y="201787"/>
                </a:lnTo>
                <a:lnTo>
                  <a:pt x="54500" y="201734"/>
                </a:lnTo>
                <a:close/>
                <a:moveTo>
                  <a:pt x="28676" y="201523"/>
                </a:moveTo>
                <a:lnTo>
                  <a:pt x="28623" y="201576"/>
                </a:lnTo>
                <a:lnTo>
                  <a:pt x="28465" y="201576"/>
                </a:lnTo>
                <a:lnTo>
                  <a:pt x="28465" y="201629"/>
                </a:lnTo>
                <a:lnTo>
                  <a:pt x="28465" y="201787"/>
                </a:lnTo>
                <a:lnTo>
                  <a:pt x="28465" y="201840"/>
                </a:lnTo>
                <a:lnTo>
                  <a:pt x="28465" y="201893"/>
                </a:lnTo>
                <a:lnTo>
                  <a:pt x="28465" y="201998"/>
                </a:lnTo>
                <a:lnTo>
                  <a:pt x="28465" y="202051"/>
                </a:lnTo>
                <a:lnTo>
                  <a:pt x="28623" y="202209"/>
                </a:lnTo>
                <a:lnTo>
                  <a:pt x="28676" y="202262"/>
                </a:lnTo>
                <a:lnTo>
                  <a:pt x="28781" y="202262"/>
                </a:lnTo>
                <a:lnTo>
                  <a:pt x="28887" y="202209"/>
                </a:lnTo>
                <a:lnTo>
                  <a:pt x="28940" y="202209"/>
                </a:lnTo>
                <a:lnTo>
                  <a:pt x="28940" y="202157"/>
                </a:lnTo>
                <a:lnTo>
                  <a:pt x="28993" y="202051"/>
                </a:lnTo>
                <a:lnTo>
                  <a:pt x="29098" y="201998"/>
                </a:lnTo>
                <a:lnTo>
                  <a:pt x="29151" y="201945"/>
                </a:lnTo>
                <a:lnTo>
                  <a:pt x="29151" y="201840"/>
                </a:lnTo>
                <a:lnTo>
                  <a:pt x="29045" y="201734"/>
                </a:lnTo>
                <a:lnTo>
                  <a:pt x="28887" y="201629"/>
                </a:lnTo>
                <a:lnTo>
                  <a:pt x="28676" y="201523"/>
                </a:lnTo>
                <a:close/>
                <a:moveTo>
                  <a:pt x="46790" y="201998"/>
                </a:moveTo>
                <a:lnTo>
                  <a:pt x="46737" y="202157"/>
                </a:lnTo>
                <a:lnTo>
                  <a:pt x="46737" y="202209"/>
                </a:lnTo>
                <a:lnTo>
                  <a:pt x="46737" y="202262"/>
                </a:lnTo>
                <a:lnTo>
                  <a:pt x="46790" y="202262"/>
                </a:lnTo>
                <a:lnTo>
                  <a:pt x="46895" y="202209"/>
                </a:lnTo>
                <a:lnTo>
                  <a:pt x="46895" y="202157"/>
                </a:lnTo>
                <a:lnTo>
                  <a:pt x="46895" y="202104"/>
                </a:lnTo>
                <a:lnTo>
                  <a:pt x="46895" y="202051"/>
                </a:lnTo>
                <a:lnTo>
                  <a:pt x="46790" y="201998"/>
                </a:lnTo>
                <a:close/>
                <a:moveTo>
                  <a:pt x="33957" y="201206"/>
                </a:moveTo>
                <a:lnTo>
                  <a:pt x="33904" y="201312"/>
                </a:lnTo>
                <a:lnTo>
                  <a:pt x="33798" y="201417"/>
                </a:lnTo>
                <a:lnTo>
                  <a:pt x="33693" y="201470"/>
                </a:lnTo>
                <a:lnTo>
                  <a:pt x="33640" y="201470"/>
                </a:lnTo>
                <a:lnTo>
                  <a:pt x="33481" y="201629"/>
                </a:lnTo>
                <a:lnTo>
                  <a:pt x="33270" y="201629"/>
                </a:lnTo>
                <a:lnTo>
                  <a:pt x="33323" y="201681"/>
                </a:lnTo>
                <a:lnTo>
                  <a:pt x="33323" y="201734"/>
                </a:lnTo>
                <a:lnTo>
                  <a:pt x="33323" y="201787"/>
                </a:lnTo>
                <a:lnTo>
                  <a:pt x="33323" y="201893"/>
                </a:lnTo>
                <a:lnTo>
                  <a:pt x="33323" y="201998"/>
                </a:lnTo>
                <a:lnTo>
                  <a:pt x="33323" y="202051"/>
                </a:lnTo>
                <a:lnTo>
                  <a:pt x="33429" y="202104"/>
                </a:lnTo>
                <a:lnTo>
                  <a:pt x="33534" y="202209"/>
                </a:lnTo>
                <a:lnTo>
                  <a:pt x="33587" y="202262"/>
                </a:lnTo>
                <a:lnTo>
                  <a:pt x="33640" y="202262"/>
                </a:lnTo>
                <a:lnTo>
                  <a:pt x="34010" y="202368"/>
                </a:lnTo>
                <a:lnTo>
                  <a:pt x="34115" y="202368"/>
                </a:lnTo>
                <a:lnTo>
                  <a:pt x="34274" y="202315"/>
                </a:lnTo>
                <a:lnTo>
                  <a:pt x="34379" y="202157"/>
                </a:lnTo>
                <a:lnTo>
                  <a:pt x="34485" y="202104"/>
                </a:lnTo>
                <a:lnTo>
                  <a:pt x="34538" y="201998"/>
                </a:lnTo>
                <a:lnTo>
                  <a:pt x="34538" y="201893"/>
                </a:lnTo>
                <a:lnTo>
                  <a:pt x="34590" y="201840"/>
                </a:lnTo>
                <a:lnTo>
                  <a:pt x="34643" y="201787"/>
                </a:lnTo>
                <a:lnTo>
                  <a:pt x="34643" y="201681"/>
                </a:lnTo>
                <a:lnTo>
                  <a:pt x="34485" y="201629"/>
                </a:lnTo>
                <a:lnTo>
                  <a:pt x="34379" y="201629"/>
                </a:lnTo>
                <a:lnTo>
                  <a:pt x="34274" y="201576"/>
                </a:lnTo>
                <a:lnTo>
                  <a:pt x="34168" y="201417"/>
                </a:lnTo>
                <a:lnTo>
                  <a:pt x="34115" y="201364"/>
                </a:lnTo>
                <a:lnTo>
                  <a:pt x="34062" y="201312"/>
                </a:lnTo>
                <a:lnTo>
                  <a:pt x="34062" y="201259"/>
                </a:lnTo>
                <a:lnTo>
                  <a:pt x="33957" y="201259"/>
                </a:lnTo>
                <a:lnTo>
                  <a:pt x="33957" y="201206"/>
                </a:lnTo>
                <a:close/>
                <a:moveTo>
                  <a:pt x="53444" y="202104"/>
                </a:moveTo>
                <a:lnTo>
                  <a:pt x="53391" y="202157"/>
                </a:lnTo>
                <a:lnTo>
                  <a:pt x="53285" y="202262"/>
                </a:lnTo>
                <a:lnTo>
                  <a:pt x="53180" y="202315"/>
                </a:lnTo>
                <a:lnTo>
                  <a:pt x="53813" y="202579"/>
                </a:lnTo>
                <a:lnTo>
                  <a:pt x="53919" y="202579"/>
                </a:lnTo>
                <a:lnTo>
                  <a:pt x="53919" y="202368"/>
                </a:lnTo>
                <a:lnTo>
                  <a:pt x="53813" y="202315"/>
                </a:lnTo>
                <a:lnTo>
                  <a:pt x="53813" y="202209"/>
                </a:lnTo>
                <a:lnTo>
                  <a:pt x="53760" y="202315"/>
                </a:lnTo>
                <a:lnTo>
                  <a:pt x="53602" y="202262"/>
                </a:lnTo>
                <a:lnTo>
                  <a:pt x="53602" y="202209"/>
                </a:lnTo>
                <a:lnTo>
                  <a:pt x="53708" y="202157"/>
                </a:lnTo>
                <a:lnTo>
                  <a:pt x="53760" y="202157"/>
                </a:lnTo>
                <a:lnTo>
                  <a:pt x="53708" y="202104"/>
                </a:lnTo>
                <a:close/>
                <a:moveTo>
                  <a:pt x="24345" y="200467"/>
                </a:moveTo>
                <a:lnTo>
                  <a:pt x="24240" y="200520"/>
                </a:lnTo>
                <a:lnTo>
                  <a:pt x="24028" y="200678"/>
                </a:lnTo>
                <a:lnTo>
                  <a:pt x="24028" y="200784"/>
                </a:lnTo>
                <a:lnTo>
                  <a:pt x="23870" y="201206"/>
                </a:lnTo>
                <a:lnTo>
                  <a:pt x="23817" y="201470"/>
                </a:lnTo>
                <a:lnTo>
                  <a:pt x="23817" y="201523"/>
                </a:lnTo>
                <a:lnTo>
                  <a:pt x="23712" y="201576"/>
                </a:lnTo>
                <a:lnTo>
                  <a:pt x="23184" y="201576"/>
                </a:lnTo>
                <a:lnTo>
                  <a:pt x="23131" y="201681"/>
                </a:lnTo>
                <a:lnTo>
                  <a:pt x="23025" y="201840"/>
                </a:lnTo>
                <a:lnTo>
                  <a:pt x="22972" y="201945"/>
                </a:lnTo>
                <a:lnTo>
                  <a:pt x="22919" y="201998"/>
                </a:lnTo>
                <a:lnTo>
                  <a:pt x="22814" y="201998"/>
                </a:lnTo>
                <a:lnTo>
                  <a:pt x="22497" y="202209"/>
                </a:lnTo>
                <a:lnTo>
                  <a:pt x="22550" y="202262"/>
                </a:lnTo>
                <a:lnTo>
                  <a:pt x="22761" y="202421"/>
                </a:lnTo>
                <a:lnTo>
                  <a:pt x="22814" y="202526"/>
                </a:lnTo>
                <a:lnTo>
                  <a:pt x="22814" y="202579"/>
                </a:lnTo>
                <a:lnTo>
                  <a:pt x="22867" y="202632"/>
                </a:lnTo>
                <a:lnTo>
                  <a:pt x="22919" y="202685"/>
                </a:lnTo>
                <a:lnTo>
                  <a:pt x="22972" y="202632"/>
                </a:lnTo>
                <a:lnTo>
                  <a:pt x="22972" y="202579"/>
                </a:lnTo>
                <a:lnTo>
                  <a:pt x="23078" y="202157"/>
                </a:lnTo>
                <a:lnTo>
                  <a:pt x="23131" y="202051"/>
                </a:lnTo>
                <a:lnTo>
                  <a:pt x="23236" y="201998"/>
                </a:lnTo>
                <a:lnTo>
                  <a:pt x="23342" y="201893"/>
                </a:lnTo>
                <a:lnTo>
                  <a:pt x="23606" y="201840"/>
                </a:lnTo>
                <a:lnTo>
                  <a:pt x="23606" y="201945"/>
                </a:lnTo>
                <a:lnTo>
                  <a:pt x="23659" y="202051"/>
                </a:lnTo>
                <a:lnTo>
                  <a:pt x="23712" y="202051"/>
                </a:lnTo>
                <a:lnTo>
                  <a:pt x="23764" y="201998"/>
                </a:lnTo>
                <a:lnTo>
                  <a:pt x="23817" y="201945"/>
                </a:lnTo>
                <a:lnTo>
                  <a:pt x="23923" y="201945"/>
                </a:lnTo>
                <a:lnTo>
                  <a:pt x="23976" y="201998"/>
                </a:lnTo>
                <a:lnTo>
                  <a:pt x="24081" y="202051"/>
                </a:lnTo>
                <a:lnTo>
                  <a:pt x="24134" y="202104"/>
                </a:lnTo>
                <a:lnTo>
                  <a:pt x="24134" y="202051"/>
                </a:lnTo>
                <a:lnTo>
                  <a:pt x="24187" y="201998"/>
                </a:lnTo>
                <a:lnTo>
                  <a:pt x="24240" y="201945"/>
                </a:lnTo>
                <a:lnTo>
                  <a:pt x="24293" y="201998"/>
                </a:lnTo>
                <a:lnTo>
                  <a:pt x="24293" y="201945"/>
                </a:lnTo>
                <a:lnTo>
                  <a:pt x="24293" y="201840"/>
                </a:lnTo>
                <a:lnTo>
                  <a:pt x="24081" y="201840"/>
                </a:lnTo>
                <a:lnTo>
                  <a:pt x="24028" y="201734"/>
                </a:lnTo>
                <a:lnTo>
                  <a:pt x="24081" y="201629"/>
                </a:lnTo>
                <a:lnTo>
                  <a:pt x="24134" y="201576"/>
                </a:lnTo>
                <a:lnTo>
                  <a:pt x="24134" y="201470"/>
                </a:lnTo>
                <a:lnTo>
                  <a:pt x="24398" y="201259"/>
                </a:lnTo>
                <a:lnTo>
                  <a:pt x="24451" y="201206"/>
                </a:lnTo>
                <a:lnTo>
                  <a:pt x="24451" y="201153"/>
                </a:lnTo>
                <a:lnTo>
                  <a:pt x="24451" y="200995"/>
                </a:lnTo>
                <a:lnTo>
                  <a:pt x="24451" y="200942"/>
                </a:lnTo>
                <a:lnTo>
                  <a:pt x="24504" y="200889"/>
                </a:lnTo>
                <a:lnTo>
                  <a:pt x="24609" y="200836"/>
                </a:lnTo>
                <a:lnTo>
                  <a:pt x="24609" y="200784"/>
                </a:lnTo>
                <a:lnTo>
                  <a:pt x="24609" y="200678"/>
                </a:lnTo>
                <a:lnTo>
                  <a:pt x="24609" y="200572"/>
                </a:lnTo>
                <a:lnTo>
                  <a:pt x="24451" y="200520"/>
                </a:lnTo>
                <a:lnTo>
                  <a:pt x="24345" y="200467"/>
                </a:lnTo>
                <a:close/>
                <a:moveTo>
                  <a:pt x="27197" y="202738"/>
                </a:moveTo>
                <a:lnTo>
                  <a:pt x="27250" y="202790"/>
                </a:lnTo>
                <a:lnTo>
                  <a:pt x="27250" y="202790"/>
                </a:lnTo>
                <a:lnTo>
                  <a:pt x="27197" y="202738"/>
                </a:lnTo>
                <a:close/>
                <a:moveTo>
                  <a:pt x="52757" y="202368"/>
                </a:moveTo>
                <a:lnTo>
                  <a:pt x="52651" y="202421"/>
                </a:lnTo>
                <a:lnTo>
                  <a:pt x="52651" y="202526"/>
                </a:lnTo>
                <a:lnTo>
                  <a:pt x="52704" y="202632"/>
                </a:lnTo>
                <a:lnTo>
                  <a:pt x="52704" y="202738"/>
                </a:lnTo>
                <a:lnTo>
                  <a:pt x="52599" y="202738"/>
                </a:lnTo>
                <a:lnTo>
                  <a:pt x="52599" y="202896"/>
                </a:lnTo>
                <a:lnTo>
                  <a:pt x="52704" y="202896"/>
                </a:lnTo>
                <a:lnTo>
                  <a:pt x="52810" y="202949"/>
                </a:lnTo>
                <a:lnTo>
                  <a:pt x="52863" y="202949"/>
                </a:lnTo>
                <a:lnTo>
                  <a:pt x="52863" y="202896"/>
                </a:lnTo>
                <a:lnTo>
                  <a:pt x="52915" y="202790"/>
                </a:lnTo>
                <a:lnTo>
                  <a:pt x="52915" y="202896"/>
                </a:lnTo>
                <a:lnTo>
                  <a:pt x="52968" y="202949"/>
                </a:lnTo>
                <a:lnTo>
                  <a:pt x="53021" y="203002"/>
                </a:lnTo>
                <a:lnTo>
                  <a:pt x="53127" y="203002"/>
                </a:lnTo>
                <a:lnTo>
                  <a:pt x="53074" y="202843"/>
                </a:lnTo>
                <a:lnTo>
                  <a:pt x="53074" y="202790"/>
                </a:lnTo>
                <a:lnTo>
                  <a:pt x="53232" y="202843"/>
                </a:lnTo>
                <a:lnTo>
                  <a:pt x="53338" y="202843"/>
                </a:lnTo>
                <a:lnTo>
                  <a:pt x="53391" y="202790"/>
                </a:lnTo>
                <a:lnTo>
                  <a:pt x="53391" y="202843"/>
                </a:lnTo>
                <a:lnTo>
                  <a:pt x="53549" y="203002"/>
                </a:lnTo>
                <a:lnTo>
                  <a:pt x="53602" y="202949"/>
                </a:lnTo>
                <a:lnTo>
                  <a:pt x="53549" y="202949"/>
                </a:lnTo>
                <a:lnTo>
                  <a:pt x="53549" y="202790"/>
                </a:lnTo>
                <a:lnTo>
                  <a:pt x="53549" y="202738"/>
                </a:lnTo>
                <a:lnTo>
                  <a:pt x="53496" y="202685"/>
                </a:lnTo>
                <a:lnTo>
                  <a:pt x="53338" y="202579"/>
                </a:lnTo>
                <a:lnTo>
                  <a:pt x="53180" y="202579"/>
                </a:lnTo>
                <a:lnTo>
                  <a:pt x="53127" y="202632"/>
                </a:lnTo>
                <a:lnTo>
                  <a:pt x="53127" y="202738"/>
                </a:lnTo>
                <a:lnTo>
                  <a:pt x="53074" y="202685"/>
                </a:lnTo>
                <a:lnTo>
                  <a:pt x="53021" y="202579"/>
                </a:lnTo>
                <a:lnTo>
                  <a:pt x="53021" y="202526"/>
                </a:lnTo>
                <a:lnTo>
                  <a:pt x="52968" y="202473"/>
                </a:lnTo>
                <a:lnTo>
                  <a:pt x="52863" y="202421"/>
                </a:lnTo>
                <a:lnTo>
                  <a:pt x="52810" y="202368"/>
                </a:lnTo>
                <a:close/>
                <a:moveTo>
                  <a:pt x="27250" y="202790"/>
                </a:moveTo>
                <a:lnTo>
                  <a:pt x="27303" y="202843"/>
                </a:lnTo>
                <a:lnTo>
                  <a:pt x="27408" y="202949"/>
                </a:lnTo>
                <a:lnTo>
                  <a:pt x="27514" y="203054"/>
                </a:lnTo>
                <a:lnTo>
                  <a:pt x="27672" y="203054"/>
                </a:lnTo>
                <a:lnTo>
                  <a:pt x="27725" y="203213"/>
                </a:lnTo>
                <a:lnTo>
                  <a:pt x="27778" y="203266"/>
                </a:lnTo>
                <a:lnTo>
                  <a:pt x="27831" y="203266"/>
                </a:lnTo>
                <a:lnTo>
                  <a:pt x="27989" y="203213"/>
                </a:lnTo>
                <a:lnTo>
                  <a:pt x="28042" y="203213"/>
                </a:lnTo>
                <a:lnTo>
                  <a:pt x="27831" y="202896"/>
                </a:lnTo>
                <a:lnTo>
                  <a:pt x="27725" y="202843"/>
                </a:lnTo>
                <a:lnTo>
                  <a:pt x="27461" y="202843"/>
                </a:lnTo>
                <a:lnTo>
                  <a:pt x="27356" y="202790"/>
                </a:lnTo>
                <a:close/>
                <a:moveTo>
                  <a:pt x="40294" y="202685"/>
                </a:moveTo>
                <a:lnTo>
                  <a:pt x="40188" y="202790"/>
                </a:lnTo>
                <a:lnTo>
                  <a:pt x="40136" y="202949"/>
                </a:lnTo>
                <a:lnTo>
                  <a:pt x="40083" y="203002"/>
                </a:lnTo>
                <a:lnTo>
                  <a:pt x="40083" y="203054"/>
                </a:lnTo>
                <a:lnTo>
                  <a:pt x="40136" y="203213"/>
                </a:lnTo>
                <a:lnTo>
                  <a:pt x="40294" y="203318"/>
                </a:lnTo>
                <a:lnTo>
                  <a:pt x="40347" y="203371"/>
                </a:lnTo>
                <a:lnTo>
                  <a:pt x="40558" y="203371"/>
                </a:lnTo>
                <a:lnTo>
                  <a:pt x="40664" y="203107"/>
                </a:lnTo>
                <a:lnTo>
                  <a:pt x="40611" y="202843"/>
                </a:lnTo>
                <a:lnTo>
                  <a:pt x="40452" y="202738"/>
                </a:lnTo>
                <a:lnTo>
                  <a:pt x="40294" y="202685"/>
                </a:lnTo>
                <a:close/>
                <a:moveTo>
                  <a:pt x="51965" y="202473"/>
                </a:moveTo>
                <a:lnTo>
                  <a:pt x="51754" y="202526"/>
                </a:lnTo>
                <a:lnTo>
                  <a:pt x="51648" y="202632"/>
                </a:lnTo>
                <a:lnTo>
                  <a:pt x="51754" y="202790"/>
                </a:lnTo>
                <a:lnTo>
                  <a:pt x="51806" y="202896"/>
                </a:lnTo>
                <a:lnTo>
                  <a:pt x="51754" y="202896"/>
                </a:lnTo>
                <a:lnTo>
                  <a:pt x="51754" y="203371"/>
                </a:lnTo>
                <a:lnTo>
                  <a:pt x="51754" y="203477"/>
                </a:lnTo>
                <a:lnTo>
                  <a:pt x="51806" y="203530"/>
                </a:lnTo>
                <a:lnTo>
                  <a:pt x="51912" y="203530"/>
                </a:lnTo>
                <a:lnTo>
                  <a:pt x="51965" y="203477"/>
                </a:lnTo>
                <a:lnTo>
                  <a:pt x="52018" y="203582"/>
                </a:lnTo>
                <a:lnTo>
                  <a:pt x="52071" y="203582"/>
                </a:lnTo>
                <a:lnTo>
                  <a:pt x="52123" y="203424"/>
                </a:lnTo>
                <a:lnTo>
                  <a:pt x="52176" y="203424"/>
                </a:lnTo>
                <a:lnTo>
                  <a:pt x="52176" y="203477"/>
                </a:lnTo>
                <a:lnTo>
                  <a:pt x="52229" y="203477"/>
                </a:lnTo>
                <a:lnTo>
                  <a:pt x="52229" y="203318"/>
                </a:lnTo>
                <a:lnTo>
                  <a:pt x="52229" y="203213"/>
                </a:lnTo>
                <a:lnTo>
                  <a:pt x="52282" y="203160"/>
                </a:lnTo>
                <a:lnTo>
                  <a:pt x="52335" y="203160"/>
                </a:lnTo>
                <a:lnTo>
                  <a:pt x="52335" y="203107"/>
                </a:lnTo>
                <a:lnTo>
                  <a:pt x="52282" y="203054"/>
                </a:lnTo>
                <a:lnTo>
                  <a:pt x="52282" y="203002"/>
                </a:lnTo>
                <a:lnTo>
                  <a:pt x="52282" y="202949"/>
                </a:lnTo>
                <a:lnTo>
                  <a:pt x="52282" y="202896"/>
                </a:lnTo>
                <a:lnTo>
                  <a:pt x="52282" y="202843"/>
                </a:lnTo>
                <a:lnTo>
                  <a:pt x="52229" y="202790"/>
                </a:lnTo>
                <a:lnTo>
                  <a:pt x="52123" y="202790"/>
                </a:lnTo>
                <a:lnTo>
                  <a:pt x="52018" y="202896"/>
                </a:lnTo>
                <a:lnTo>
                  <a:pt x="52018" y="202843"/>
                </a:lnTo>
                <a:lnTo>
                  <a:pt x="52018" y="202738"/>
                </a:lnTo>
                <a:lnTo>
                  <a:pt x="51859" y="202738"/>
                </a:lnTo>
                <a:lnTo>
                  <a:pt x="51859" y="202685"/>
                </a:lnTo>
                <a:lnTo>
                  <a:pt x="52229" y="202685"/>
                </a:lnTo>
                <a:lnTo>
                  <a:pt x="52282" y="202579"/>
                </a:lnTo>
                <a:lnTo>
                  <a:pt x="52176" y="202473"/>
                </a:lnTo>
                <a:close/>
                <a:moveTo>
                  <a:pt x="48057" y="201998"/>
                </a:moveTo>
                <a:lnTo>
                  <a:pt x="47951" y="202051"/>
                </a:lnTo>
                <a:lnTo>
                  <a:pt x="47951" y="202157"/>
                </a:lnTo>
                <a:lnTo>
                  <a:pt x="47951" y="202262"/>
                </a:lnTo>
                <a:lnTo>
                  <a:pt x="47951" y="202421"/>
                </a:lnTo>
                <a:lnTo>
                  <a:pt x="47951" y="202473"/>
                </a:lnTo>
                <a:lnTo>
                  <a:pt x="47899" y="202896"/>
                </a:lnTo>
                <a:lnTo>
                  <a:pt x="47529" y="203160"/>
                </a:lnTo>
                <a:lnTo>
                  <a:pt x="47106" y="203318"/>
                </a:lnTo>
                <a:lnTo>
                  <a:pt x="46790" y="203371"/>
                </a:lnTo>
                <a:lnTo>
                  <a:pt x="46737" y="203371"/>
                </a:lnTo>
                <a:lnTo>
                  <a:pt x="46737" y="203424"/>
                </a:lnTo>
                <a:lnTo>
                  <a:pt x="46420" y="203424"/>
                </a:lnTo>
                <a:lnTo>
                  <a:pt x="46420" y="203530"/>
                </a:lnTo>
                <a:lnTo>
                  <a:pt x="46103" y="203530"/>
                </a:lnTo>
                <a:lnTo>
                  <a:pt x="45945" y="203424"/>
                </a:lnTo>
                <a:lnTo>
                  <a:pt x="45786" y="203424"/>
                </a:lnTo>
                <a:lnTo>
                  <a:pt x="45681" y="203582"/>
                </a:lnTo>
                <a:lnTo>
                  <a:pt x="45575" y="203635"/>
                </a:lnTo>
                <a:lnTo>
                  <a:pt x="45575" y="203688"/>
                </a:lnTo>
                <a:lnTo>
                  <a:pt x="45628" y="203741"/>
                </a:lnTo>
                <a:lnTo>
                  <a:pt x="45681" y="203794"/>
                </a:lnTo>
                <a:lnTo>
                  <a:pt x="45681" y="203847"/>
                </a:lnTo>
                <a:lnTo>
                  <a:pt x="45681" y="203899"/>
                </a:lnTo>
                <a:lnTo>
                  <a:pt x="45681" y="204005"/>
                </a:lnTo>
                <a:lnTo>
                  <a:pt x="45786" y="204005"/>
                </a:lnTo>
                <a:lnTo>
                  <a:pt x="45786" y="203899"/>
                </a:lnTo>
                <a:lnTo>
                  <a:pt x="45839" y="203741"/>
                </a:lnTo>
                <a:lnTo>
                  <a:pt x="45997" y="203635"/>
                </a:lnTo>
                <a:lnTo>
                  <a:pt x="46525" y="203635"/>
                </a:lnTo>
                <a:lnTo>
                  <a:pt x="46631" y="203582"/>
                </a:lnTo>
                <a:lnTo>
                  <a:pt x="46684" y="203530"/>
                </a:lnTo>
                <a:lnTo>
                  <a:pt x="47054" y="203530"/>
                </a:lnTo>
                <a:lnTo>
                  <a:pt x="47159" y="203582"/>
                </a:lnTo>
                <a:lnTo>
                  <a:pt x="47212" y="203635"/>
                </a:lnTo>
                <a:lnTo>
                  <a:pt x="47265" y="203741"/>
                </a:lnTo>
                <a:lnTo>
                  <a:pt x="47318" y="203794"/>
                </a:lnTo>
                <a:lnTo>
                  <a:pt x="47370" y="203741"/>
                </a:lnTo>
                <a:lnTo>
                  <a:pt x="47476" y="203847"/>
                </a:lnTo>
                <a:lnTo>
                  <a:pt x="47635" y="203794"/>
                </a:lnTo>
                <a:lnTo>
                  <a:pt x="47740" y="203741"/>
                </a:lnTo>
                <a:lnTo>
                  <a:pt x="47846" y="203741"/>
                </a:lnTo>
                <a:lnTo>
                  <a:pt x="47846" y="203582"/>
                </a:lnTo>
                <a:lnTo>
                  <a:pt x="47899" y="203635"/>
                </a:lnTo>
                <a:lnTo>
                  <a:pt x="48057" y="203688"/>
                </a:lnTo>
                <a:lnTo>
                  <a:pt x="48163" y="203477"/>
                </a:lnTo>
                <a:lnTo>
                  <a:pt x="48163" y="203318"/>
                </a:lnTo>
                <a:lnTo>
                  <a:pt x="48215" y="203318"/>
                </a:lnTo>
                <a:lnTo>
                  <a:pt x="48268" y="203160"/>
                </a:lnTo>
                <a:lnTo>
                  <a:pt x="48215" y="202843"/>
                </a:lnTo>
                <a:lnTo>
                  <a:pt x="48268" y="202685"/>
                </a:lnTo>
                <a:lnTo>
                  <a:pt x="48532" y="202579"/>
                </a:lnTo>
                <a:lnTo>
                  <a:pt x="48532" y="202526"/>
                </a:lnTo>
                <a:lnTo>
                  <a:pt x="48532" y="202368"/>
                </a:lnTo>
                <a:lnTo>
                  <a:pt x="48585" y="202368"/>
                </a:lnTo>
                <a:lnTo>
                  <a:pt x="48585" y="202209"/>
                </a:lnTo>
                <a:lnTo>
                  <a:pt x="48532" y="202051"/>
                </a:lnTo>
                <a:lnTo>
                  <a:pt x="48427" y="201998"/>
                </a:lnTo>
                <a:close/>
                <a:moveTo>
                  <a:pt x="41245" y="204375"/>
                </a:moveTo>
                <a:lnTo>
                  <a:pt x="41192" y="204427"/>
                </a:lnTo>
                <a:lnTo>
                  <a:pt x="41033" y="204427"/>
                </a:lnTo>
                <a:lnTo>
                  <a:pt x="41033" y="204480"/>
                </a:lnTo>
                <a:lnTo>
                  <a:pt x="41245" y="204480"/>
                </a:lnTo>
                <a:lnTo>
                  <a:pt x="41245" y="204427"/>
                </a:lnTo>
                <a:lnTo>
                  <a:pt x="41245" y="204375"/>
                </a:lnTo>
                <a:close/>
                <a:moveTo>
                  <a:pt x="44360" y="202051"/>
                </a:moveTo>
                <a:lnTo>
                  <a:pt x="43463" y="202104"/>
                </a:lnTo>
                <a:lnTo>
                  <a:pt x="43304" y="202209"/>
                </a:lnTo>
                <a:lnTo>
                  <a:pt x="43146" y="202421"/>
                </a:lnTo>
                <a:lnTo>
                  <a:pt x="43251" y="202579"/>
                </a:lnTo>
                <a:lnTo>
                  <a:pt x="43727" y="202790"/>
                </a:lnTo>
                <a:lnTo>
                  <a:pt x="43832" y="203002"/>
                </a:lnTo>
                <a:lnTo>
                  <a:pt x="43938" y="203054"/>
                </a:lnTo>
                <a:lnTo>
                  <a:pt x="44149" y="203107"/>
                </a:lnTo>
                <a:lnTo>
                  <a:pt x="44307" y="203160"/>
                </a:lnTo>
                <a:lnTo>
                  <a:pt x="44360" y="203266"/>
                </a:lnTo>
                <a:lnTo>
                  <a:pt x="44360" y="203424"/>
                </a:lnTo>
                <a:lnTo>
                  <a:pt x="44360" y="203530"/>
                </a:lnTo>
                <a:lnTo>
                  <a:pt x="44307" y="203582"/>
                </a:lnTo>
                <a:lnTo>
                  <a:pt x="44255" y="203635"/>
                </a:lnTo>
                <a:lnTo>
                  <a:pt x="44149" y="203635"/>
                </a:lnTo>
                <a:lnTo>
                  <a:pt x="44043" y="203688"/>
                </a:lnTo>
                <a:lnTo>
                  <a:pt x="43779" y="203688"/>
                </a:lnTo>
                <a:lnTo>
                  <a:pt x="43727" y="203794"/>
                </a:lnTo>
                <a:lnTo>
                  <a:pt x="43674" y="203952"/>
                </a:lnTo>
                <a:lnTo>
                  <a:pt x="43938" y="203952"/>
                </a:lnTo>
                <a:lnTo>
                  <a:pt x="43991" y="204005"/>
                </a:lnTo>
                <a:lnTo>
                  <a:pt x="44096" y="204111"/>
                </a:lnTo>
                <a:lnTo>
                  <a:pt x="44307" y="204111"/>
                </a:lnTo>
                <a:lnTo>
                  <a:pt x="44360" y="204163"/>
                </a:lnTo>
                <a:lnTo>
                  <a:pt x="44360" y="204216"/>
                </a:lnTo>
                <a:lnTo>
                  <a:pt x="44360" y="204375"/>
                </a:lnTo>
                <a:lnTo>
                  <a:pt x="44360" y="204427"/>
                </a:lnTo>
                <a:lnTo>
                  <a:pt x="44413" y="204480"/>
                </a:lnTo>
                <a:lnTo>
                  <a:pt x="44519" y="204480"/>
                </a:lnTo>
                <a:lnTo>
                  <a:pt x="44572" y="204427"/>
                </a:lnTo>
                <a:lnTo>
                  <a:pt x="44519" y="204216"/>
                </a:lnTo>
                <a:lnTo>
                  <a:pt x="44519" y="204111"/>
                </a:lnTo>
                <a:lnTo>
                  <a:pt x="44519" y="204005"/>
                </a:lnTo>
                <a:lnTo>
                  <a:pt x="44466" y="203952"/>
                </a:lnTo>
                <a:lnTo>
                  <a:pt x="44572" y="203952"/>
                </a:lnTo>
                <a:lnTo>
                  <a:pt x="44572" y="203899"/>
                </a:lnTo>
                <a:lnTo>
                  <a:pt x="44572" y="203794"/>
                </a:lnTo>
                <a:lnTo>
                  <a:pt x="44677" y="203899"/>
                </a:lnTo>
                <a:lnTo>
                  <a:pt x="44783" y="203899"/>
                </a:lnTo>
                <a:lnTo>
                  <a:pt x="44941" y="203741"/>
                </a:lnTo>
                <a:lnTo>
                  <a:pt x="44941" y="203688"/>
                </a:lnTo>
                <a:lnTo>
                  <a:pt x="44941" y="203371"/>
                </a:lnTo>
                <a:lnTo>
                  <a:pt x="44994" y="203266"/>
                </a:lnTo>
                <a:lnTo>
                  <a:pt x="45100" y="203107"/>
                </a:lnTo>
                <a:lnTo>
                  <a:pt x="44994" y="203107"/>
                </a:lnTo>
                <a:lnTo>
                  <a:pt x="44994" y="203054"/>
                </a:lnTo>
                <a:lnTo>
                  <a:pt x="44994" y="203002"/>
                </a:lnTo>
                <a:lnTo>
                  <a:pt x="45100" y="203002"/>
                </a:lnTo>
                <a:lnTo>
                  <a:pt x="45469" y="202896"/>
                </a:lnTo>
                <a:lnTo>
                  <a:pt x="45575" y="202843"/>
                </a:lnTo>
                <a:lnTo>
                  <a:pt x="45839" y="202843"/>
                </a:lnTo>
                <a:lnTo>
                  <a:pt x="45945" y="202738"/>
                </a:lnTo>
                <a:lnTo>
                  <a:pt x="45945" y="202579"/>
                </a:lnTo>
                <a:lnTo>
                  <a:pt x="45786" y="202632"/>
                </a:lnTo>
                <a:lnTo>
                  <a:pt x="45522" y="202685"/>
                </a:lnTo>
                <a:lnTo>
                  <a:pt x="44888" y="202685"/>
                </a:lnTo>
                <a:lnTo>
                  <a:pt x="44888" y="202579"/>
                </a:lnTo>
                <a:lnTo>
                  <a:pt x="44677" y="202473"/>
                </a:lnTo>
                <a:lnTo>
                  <a:pt x="44730" y="202421"/>
                </a:lnTo>
                <a:lnTo>
                  <a:pt x="44730" y="202368"/>
                </a:lnTo>
                <a:lnTo>
                  <a:pt x="44624" y="202315"/>
                </a:lnTo>
                <a:lnTo>
                  <a:pt x="44466" y="202157"/>
                </a:lnTo>
                <a:lnTo>
                  <a:pt x="44466" y="202104"/>
                </a:lnTo>
                <a:lnTo>
                  <a:pt x="44360" y="202051"/>
                </a:lnTo>
                <a:close/>
                <a:moveTo>
                  <a:pt x="50750" y="201629"/>
                </a:moveTo>
                <a:lnTo>
                  <a:pt x="50645" y="201681"/>
                </a:lnTo>
                <a:lnTo>
                  <a:pt x="50645" y="201734"/>
                </a:lnTo>
                <a:lnTo>
                  <a:pt x="50592" y="201840"/>
                </a:lnTo>
                <a:lnTo>
                  <a:pt x="50539" y="201893"/>
                </a:lnTo>
                <a:lnTo>
                  <a:pt x="50486" y="201893"/>
                </a:lnTo>
                <a:lnTo>
                  <a:pt x="50381" y="201840"/>
                </a:lnTo>
                <a:lnTo>
                  <a:pt x="50064" y="201840"/>
                </a:lnTo>
                <a:lnTo>
                  <a:pt x="50011" y="201893"/>
                </a:lnTo>
                <a:lnTo>
                  <a:pt x="49905" y="201945"/>
                </a:lnTo>
                <a:lnTo>
                  <a:pt x="49905" y="201998"/>
                </a:lnTo>
                <a:lnTo>
                  <a:pt x="49905" y="202209"/>
                </a:lnTo>
                <a:lnTo>
                  <a:pt x="50011" y="202421"/>
                </a:lnTo>
                <a:lnTo>
                  <a:pt x="50275" y="202579"/>
                </a:lnTo>
                <a:lnTo>
                  <a:pt x="49958" y="202579"/>
                </a:lnTo>
                <a:lnTo>
                  <a:pt x="49905" y="202685"/>
                </a:lnTo>
                <a:lnTo>
                  <a:pt x="49905" y="202790"/>
                </a:lnTo>
                <a:lnTo>
                  <a:pt x="49958" y="202896"/>
                </a:lnTo>
                <a:lnTo>
                  <a:pt x="50064" y="202949"/>
                </a:lnTo>
                <a:lnTo>
                  <a:pt x="50222" y="203054"/>
                </a:lnTo>
                <a:lnTo>
                  <a:pt x="50275" y="203107"/>
                </a:lnTo>
                <a:lnTo>
                  <a:pt x="50169" y="203160"/>
                </a:lnTo>
                <a:lnTo>
                  <a:pt x="49800" y="203107"/>
                </a:lnTo>
                <a:lnTo>
                  <a:pt x="49694" y="203054"/>
                </a:lnTo>
                <a:lnTo>
                  <a:pt x="49588" y="202949"/>
                </a:lnTo>
                <a:lnTo>
                  <a:pt x="49588" y="202896"/>
                </a:lnTo>
                <a:lnTo>
                  <a:pt x="49536" y="202843"/>
                </a:lnTo>
                <a:lnTo>
                  <a:pt x="49430" y="202843"/>
                </a:lnTo>
                <a:lnTo>
                  <a:pt x="49324" y="202949"/>
                </a:lnTo>
                <a:lnTo>
                  <a:pt x="49272" y="203054"/>
                </a:lnTo>
                <a:lnTo>
                  <a:pt x="49272" y="203213"/>
                </a:lnTo>
                <a:lnTo>
                  <a:pt x="49377" y="203266"/>
                </a:lnTo>
                <a:lnTo>
                  <a:pt x="49483" y="203266"/>
                </a:lnTo>
                <a:lnTo>
                  <a:pt x="49588" y="203213"/>
                </a:lnTo>
                <a:lnTo>
                  <a:pt x="49694" y="203213"/>
                </a:lnTo>
                <a:lnTo>
                  <a:pt x="49694" y="203266"/>
                </a:lnTo>
                <a:lnTo>
                  <a:pt x="49536" y="203318"/>
                </a:lnTo>
                <a:lnTo>
                  <a:pt x="49536" y="203371"/>
                </a:lnTo>
                <a:lnTo>
                  <a:pt x="49377" y="203371"/>
                </a:lnTo>
                <a:lnTo>
                  <a:pt x="49377" y="203477"/>
                </a:lnTo>
                <a:lnTo>
                  <a:pt x="49377" y="203582"/>
                </a:lnTo>
                <a:lnTo>
                  <a:pt x="49377" y="203635"/>
                </a:lnTo>
                <a:lnTo>
                  <a:pt x="49324" y="203741"/>
                </a:lnTo>
                <a:lnTo>
                  <a:pt x="49008" y="203952"/>
                </a:lnTo>
                <a:lnTo>
                  <a:pt x="48955" y="204111"/>
                </a:lnTo>
                <a:lnTo>
                  <a:pt x="48955" y="204480"/>
                </a:lnTo>
                <a:lnTo>
                  <a:pt x="49008" y="204533"/>
                </a:lnTo>
                <a:lnTo>
                  <a:pt x="49219" y="204533"/>
                </a:lnTo>
                <a:lnTo>
                  <a:pt x="49272" y="204480"/>
                </a:lnTo>
                <a:lnTo>
                  <a:pt x="49272" y="204427"/>
                </a:lnTo>
                <a:lnTo>
                  <a:pt x="49272" y="204322"/>
                </a:lnTo>
                <a:lnTo>
                  <a:pt x="49272" y="204216"/>
                </a:lnTo>
                <a:lnTo>
                  <a:pt x="49588" y="203582"/>
                </a:lnTo>
                <a:lnTo>
                  <a:pt x="49588" y="203635"/>
                </a:lnTo>
                <a:lnTo>
                  <a:pt x="49536" y="203794"/>
                </a:lnTo>
                <a:lnTo>
                  <a:pt x="49536" y="203899"/>
                </a:lnTo>
                <a:lnTo>
                  <a:pt x="49588" y="204005"/>
                </a:lnTo>
                <a:lnTo>
                  <a:pt x="49641" y="204163"/>
                </a:lnTo>
                <a:lnTo>
                  <a:pt x="49641" y="204216"/>
                </a:lnTo>
                <a:lnTo>
                  <a:pt x="49588" y="204216"/>
                </a:lnTo>
                <a:lnTo>
                  <a:pt x="49588" y="204269"/>
                </a:lnTo>
                <a:lnTo>
                  <a:pt x="49641" y="204322"/>
                </a:lnTo>
                <a:lnTo>
                  <a:pt x="49694" y="204375"/>
                </a:lnTo>
                <a:lnTo>
                  <a:pt x="49747" y="204375"/>
                </a:lnTo>
                <a:lnTo>
                  <a:pt x="49800" y="204322"/>
                </a:lnTo>
                <a:lnTo>
                  <a:pt x="49905" y="204163"/>
                </a:lnTo>
                <a:lnTo>
                  <a:pt x="50117" y="204322"/>
                </a:lnTo>
                <a:lnTo>
                  <a:pt x="50117" y="204269"/>
                </a:lnTo>
                <a:lnTo>
                  <a:pt x="50117" y="204163"/>
                </a:lnTo>
                <a:lnTo>
                  <a:pt x="50117" y="204111"/>
                </a:lnTo>
                <a:lnTo>
                  <a:pt x="50064" y="204058"/>
                </a:lnTo>
                <a:lnTo>
                  <a:pt x="50064" y="203952"/>
                </a:lnTo>
                <a:lnTo>
                  <a:pt x="50117" y="203794"/>
                </a:lnTo>
                <a:lnTo>
                  <a:pt x="50222" y="203794"/>
                </a:lnTo>
                <a:lnTo>
                  <a:pt x="50275" y="203847"/>
                </a:lnTo>
                <a:lnTo>
                  <a:pt x="50381" y="203847"/>
                </a:lnTo>
                <a:lnTo>
                  <a:pt x="50433" y="203794"/>
                </a:lnTo>
                <a:lnTo>
                  <a:pt x="50486" y="203741"/>
                </a:lnTo>
                <a:lnTo>
                  <a:pt x="50539" y="203741"/>
                </a:lnTo>
                <a:lnTo>
                  <a:pt x="50539" y="203688"/>
                </a:lnTo>
                <a:lnTo>
                  <a:pt x="50645" y="203688"/>
                </a:lnTo>
                <a:lnTo>
                  <a:pt x="50697" y="203741"/>
                </a:lnTo>
                <a:lnTo>
                  <a:pt x="50697" y="203847"/>
                </a:lnTo>
                <a:lnTo>
                  <a:pt x="51014" y="203424"/>
                </a:lnTo>
                <a:lnTo>
                  <a:pt x="51120" y="203318"/>
                </a:lnTo>
                <a:lnTo>
                  <a:pt x="51226" y="203582"/>
                </a:lnTo>
                <a:lnTo>
                  <a:pt x="51331" y="203477"/>
                </a:lnTo>
                <a:lnTo>
                  <a:pt x="51437" y="203424"/>
                </a:lnTo>
                <a:lnTo>
                  <a:pt x="51490" y="203318"/>
                </a:lnTo>
                <a:lnTo>
                  <a:pt x="51437" y="203266"/>
                </a:lnTo>
                <a:lnTo>
                  <a:pt x="51595" y="203213"/>
                </a:lnTo>
                <a:lnTo>
                  <a:pt x="51595" y="203160"/>
                </a:lnTo>
                <a:lnTo>
                  <a:pt x="51595" y="203054"/>
                </a:lnTo>
                <a:lnTo>
                  <a:pt x="51648" y="203054"/>
                </a:lnTo>
                <a:lnTo>
                  <a:pt x="51648" y="202949"/>
                </a:lnTo>
                <a:lnTo>
                  <a:pt x="51648" y="202896"/>
                </a:lnTo>
                <a:lnTo>
                  <a:pt x="51648" y="202790"/>
                </a:lnTo>
                <a:lnTo>
                  <a:pt x="51648" y="202738"/>
                </a:lnTo>
                <a:lnTo>
                  <a:pt x="51542" y="202685"/>
                </a:lnTo>
                <a:lnTo>
                  <a:pt x="51437" y="202579"/>
                </a:lnTo>
                <a:lnTo>
                  <a:pt x="51331" y="202632"/>
                </a:lnTo>
                <a:lnTo>
                  <a:pt x="51278" y="202685"/>
                </a:lnTo>
                <a:lnTo>
                  <a:pt x="51226" y="202738"/>
                </a:lnTo>
                <a:lnTo>
                  <a:pt x="51226" y="202790"/>
                </a:lnTo>
                <a:lnTo>
                  <a:pt x="51120" y="202790"/>
                </a:lnTo>
                <a:lnTo>
                  <a:pt x="51014" y="202738"/>
                </a:lnTo>
                <a:lnTo>
                  <a:pt x="50909" y="202738"/>
                </a:lnTo>
                <a:lnTo>
                  <a:pt x="50803" y="202790"/>
                </a:lnTo>
                <a:lnTo>
                  <a:pt x="50803" y="202738"/>
                </a:lnTo>
                <a:lnTo>
                  <a:pt x="50803" y="202685"/>
                </a:lnTo>
                <a:lnTo>
                  <a:pt x="50803" y="202632"/>
                </a:lnTo>
                <a:lnTo>
                  <a:pt x="50856" y="202579"/>
                </a:lnTo>
                <a:lnTo>
                  <a:pt x="50592" y="202579"/>
                </a:lnTo>
                <a:lnTo>
                  <a:pt x="50592" y="202526"/>
                </a:lnTo>
                <a:lnTo>
                  <a:pt x="50645" y="202473"/>
                </a:lnTo>
                <a:lnTo>
                  <a:pt x="50697" y="202368"/>
                </a:lnTo>
                <a:lnTo>
                  <a:pt x="50697" y="202262"/>
                </a:lnTo>
                <a:lnTo>
                  <a:pt x="50750" y="202209"/>
                </a:lnTo>
                <a:lnTo>
                  <a:pt x="50909" y="202209"/>
                </a:lnTo>
                <a:lnTo>
                  <a:pt x="51014" y="202157"/>
                </a:lnTo>
                <a:lnTo>
                  <a:pt x="51014" y="201998"/>
                </a:lnTo>
                <a:lnTo>
                  <a:pt x="50962" y="201998"/>
                </a:lnTo>
                <a:lnTo>
                  <a:pt x="50962" y="201945"/>
                </a:lnTo>
                <a:lnTo>
                  <a:pt x="50962" y="201840"/>
                </a:lnTo>
                <a:lnTo>
                  <a:pt x="50962" y="201734"/>
                </a:lnTo>
                <a:lnTo>
                  <a:pt x="51014" y="201681"/>
                </a:lnTo>
                <a:lnTo>
                  <a:pt x="50909" y="201629"/>
                </a:lnTo>
                <a:close/>
                <a:moveTo>
                  <a:pt x="41350" y="204427"/>
                </a:moveTo>
                <a:lnTo>
                  <a:pt x="41350" y="204480"/>
                </a:lnTo>
                <a:lnTo>
                  <a:pt x="41403" y="204586"/>
                </a:lnTo>
                <a:lnTo>
                  <a:pt x="41456" y="204586"/>
                </a:lnTo>
                <a:lnTo>
                  <a:pt x="41456" y="204480"/>
                </a:lnTo>
                <a:lnTo>
                  <a:pt x="41456" y="204427"/>
                </a:lnTo>
                <a:close/>
                <a:moveTo>
                  <a:pt x="39185" y="204586"/>
                </a:moveTo>
                <a:lnTo>
                  <a:pt x="39185" y="204691"/>
                </a:lnTo>
                <a:lnTo>
                  <a:pt x="39291" y="204691"/>
                </a:lnTo>
                <a:lnTo>
                  <a:pt x="39238" y="204639"/>
                </a:lnTo>
                <a:lnTo>
                  <a:pt x="39185" y="204586"/>
                </a:lnTo>
                <a:close/>
                <a:moveTo>
                  <a:pt x="40136" y="204639"/>
                </a:moveTo>
                <a:lnTo>
                  <a:pt x="40188" y="204744"/>
                </a:lnTo>
                <a:lnTo>
                  <a:pt x="40188" y="204797"/>
                </a:lnTo>
                <a:lnTo>
                  <a:pt x="40188" y="204850"/>
                </a:lnTo>
                <a:lnTo>
                  <a:pt x="40294" y="204903"/>
                </a:lnTo>
                <a:lnTo>
                  <a:pt x="40505" y="204850"/>
                </a:lnTo>
                <a:lnTo>
                  <a:pt x="40558" y="204850"/>
                </a:lnTo>
                <a:lnTo>
                  <a:pt x="40558" y="204797"/>
                </a:lnTo>
                <a:lnTo>
                  <a:pt x="40400" y="204797"/>
                </a:lnTo>
                <a:lnTo>
                  <a:pt x="40294" y="204744"/>
                </a:lnTo>
                <a:lnTo>
                  <a:pt x="40241" y="204639"/>
                </a:lnTo>
                <a:close/>
                <a:moveTo>
                  <a:pt x="42670" y="205431"/>
                </a:moveTo>
                <a:lnTo>
                  <a:pt x="42723" y="205484"/>
                </a:lnTo>
                <a:lnTo>
                  <a:pt x="42776" y="205484"/>
                </a:lnTo>
                <a:lnTo>
                  <a:pt x="42723" y="205431"/>
                </a:lnTo>
                <a:close/>
                <a:moveTo>
                  <a:pt x="29362" y="204269"/>
                </a:moveTo>
                <a:lnTo>
                  <a:pt x="29204" y="204427"/>
                </a:lnTo>
                <a:lnTo>
                  <a:pt x="29468" y="204586"/>
                </a:lnTo>
                <a:lnTo>
                  <a:pt x="29521" y="204639"/>
                </a:lnTo>
                <a:lnTo>
                  <a:pt x="29626" y="204744"/>
                </a:lnTo>
                <a:lnTo>
                  <a:pt x="29679" y="204797"/>
                </a:lnTo>
                <a:lnTo>
                  <a:pt x="29890" y="204797"/>
                </a:lnTo>
                <a:lnTo>
                  <a:pt x="29890" y="204903"/>
                </a:lnTo>
                <a:lnTo>
                  <a:pt x="29996" y="204903"/>
                </a:lnTo>
                <a:lnTo>
                  <a:pt x="30154" y="204850"/>
                </a:lnTo>
                <a:lnTo>
                  <a:pt x="30313" y="204903"/>
                </a:lnTo>
                <a:lnTo>
                  <a:pt x="30630" y="205061"/>
                </a:lnTo>
                <a:lnTo>
                  <a:pt x="30735" y="205114"/>
                </a:lnTo>
                <a:lnTo>
                  <a:pt x="30841" y="205272"/>
                </a:lnTo>
                <a:lnTo>
                  <a:pt x="30999" y="205378"/>
                </a:lnTo>
                <a:lnTo>
                  <a:pt x="31052" y="205431"/>
                </a:lnTo>
                <a:lnTo>
                  <a:pt x="31105" y="205536"/>
                </a:lnTo>
                <a:lnTo>
                  <a:pt x="31105" y="205589"/>
                </a:lnTo>
                <a:lnTo>
                  <a:pt x="31158" y="205695"/>
                </a:lnTo>
                <a:lnTo>
                  <a:pt x="31263" y="205800"/>
                </a:lnTo>
                <a:lnTo>
                  <a:pt x="32056" y="206276"/>
                </a:lnTo>
                <a:lnTo>
                  <a:pt x="32003" y="206329"/>
                </a:lnTo>
                <a:lnTo>
                  <a:pt x="32003" y="206487"/>
                </a:lnTo>
                <a:lnTo>
                  <a:pt x="32056" y="206540"/>
                </a:lnTo>
                <a:lnTo>
                  <a:pt x="32108" y="206593"/>
                </a:lnTo>
                <a:lnTo>
                  <a:pt x="32161" y="206540"/>
                </a:lnTo>
                <a:lnTo>
                  <a:pt x="32267" y="206487"/>
                </a:lnTo>
                <a:lnTo>
                  <a:pt x="32372" y="206487"/>
                </a:lnTo>
                <a:lnTo>
                  <a:pt x="32425" y="206540"/>
                </a:lnTo>
                <a:lnTo>
                  <a:pt x="32478" y="206487"/>
                </a:lnTo>
                <a:lnTo>
                  <a:pt x="32636" y="206434"/>
                </a:lnTo>
                <a:lnTo>
                  <a:pt x="32689" y="206434"/>
                </a:lnTo>
                <a:lnTo>
                  <a:pt x="32742" y="206487"/>
                </a:lnTo>
                <a:lnTo>
                  <a:pt x="32848" y="206487"/>
                </a:lnTo>
                <a:lnTo>
                  <a:pt x="33006" y="206434"/>
                </a:lnTo>
                <a:lnTo>
                  <a:pt x="33112" y="206434"/>
                </a:lnTo>
                <a:lnTo>
                  <a:pt x="33006" y="206381"/>
                </a:lnTo>
                <a:lnTo>
                  <a:pt x="32795" y="205959"/>
                </a:lnTo>
                <a:lnTo>
                  <a:pt x="32689" y="206012"/>
                </a:lnTo>
                <a:lnTo>
                  <a:pt x="32214" y="206012"/>
                </a:lnTo>
                <a:lnTo>
                  <a:pt x="32214" y="205959"/>
                </a:lnTo>
                <a:lnTo>
                  <a:pt x="32214" y="205906"/>
                </a:lnTo>
                <a:lnTo>
                  <a:pt x="32056" y="205959"/>
                </a:lnTo>
                <a:lnTo>
                  <a:pt x="31950" y="205959"/>
                </a:lnTo>
                <a:lnTo>
                  <a:pt x="31897" y="205800"/>
                </a:lnTo>
                <a:lnTo>
                  <a:pt x="31792" y="205589"/>
                </a:lnTo>
                <a:lnTo>
                  <a:pt x="31739" y="205536"/>
                </a:lnTo>
                <a:lnTo>
                  <a:pt x="31422" y="205536"/>
                </a:lnTo>
                <a:lnTo>
                  <a:pt x="31105" y="205272"/>
                </a:lnTo>
                <a:lnTo>
                  <a:pt x="30947" y="205008"/>
                </a:lnTo>
                <a:lnTo>
                  <a:pt x="30894" y="204956"/>
                </a:lnTo>
                <a:lnTo>
                  <a:pt x="30841" y="204850"/>
                </a:lnTo>
                <a:lnTo>
                  <a:pt x="30630" y="204850"/>
                </a:lnTo>
                <a:lnTo>
                  <a:pt x="30630" y="204744"/>
                </a:lnTo>
                <a:lnTo>
                  <a:pt x="30630" y="204691"/>
                </a:lnTo>
                <a:lnTo>
                  <a:pt x="30577" y="204639"/>
                </a:lnTo>
                <a:lnTo>
                  <a:pt x="30418" y="204586"/>
                </a:lnTo>
                <a:lnTo>
                  <a:pt x="30207" y="204586"/>
                </a:lnTo>
                <a:lnTo>
                  <a:pt x="30154" y="204480"/>
                </a:lnTo>
                <a:lnTo>
                  <a:pt x="30049" y="204427"/>
                </a:lnTo>
                <a:lnTo>
                  <a:pt x="29996" y="204427"/>
                </a:lnTo>
                <a:lnTo>
                  <a:pt x="29943" y="204533"/>
                </a:lnTo>
                <a:lnTo>
                  <a:pt x="29838" y="204427"/>
                </a:lnTo>
                <a:lnTo>
                  <a:pt x="29626" y="204427"/>
                </a:lnTo>
                <a:lnTo>
                  <a:pt x="29415" y="204269"/>
                </a:lnTo>
                <a:close/>
                <a:moveTo>
                  <a:pt x="39555" y="206065"/>
                </a:moveTo>
                <a:lnTo>
                  <a:pt x="39502" y="206170"/>
                </a:lnTo>
                <a:lnTo>
                  <a:pt x="39502" y="206223"/>
                </a:lnTo>
                <a:lnTo>
                  <a:pt x="39502" y="206329"/>
                </a:lnTo>
                <a:lnTo>
                  <a:pt x="39502" y="206381"/>
                </a:lnTo>
                <a:lnTo>
                  <a:pt x="39396" y="206540"/>
                </a:lnTo>
                <a:lnTo>
                  <a:pt x="39396" y="206593"/>
                </a:lnTo>
                <a:lnTo>
                  <a:pt x="39449" y="206751"/>
                </a:lnTo>
                <a:lnTo>
                  <a:pt x="39502" y="206698"/>
                </a:lnTo>
                <a:lnTo>
                  <a:pt x="39607" y="206487"/>
                </a:lnTo>
                <a:lnTo>
                  <a:pt x="39713" y="206434"/>
                </a:lnTo>
                <a:lnTo>
                  <a:pt x="39819" y="206434"/>
                </a:lnTo>
                <a:lnTo>
                  <a:pt x="39819" y="206381"/>
                </a:lnTo>
                <a:lnTo>
                  <a:pt x="39766" y="206223"/>
                </a:lnTo>
                <a:lnTo>
                  <a:pt x="39660" y="206065"/>
                </a:lnTo>
                <a:close/>
                <a:moveTo>
                  <a:pt x="39026" y="206804"/>
                </a:moveTo>
                <a:lnTo>
                  <a:pt x="38868" y="206857"/>
                </a:lnTo>
                <a:lnTo>
                  <a:pt x="38815" y="206910"/>
                </a:lnTo>
                <a:lnTo>
                  <a:pt x="38762" y="206962"/>
                </a:lnTo>
                <a:lnTo>
                  <a:pt x="38762" y="207015"/>
                </a:lnTo>
                <a:lnTo>
                  <a:pt x="38815" y="207121"/>
                </a:lnTo>
                <a:lnTo>
                  <a:pt x="38815" y="207226"/>
                </a:lnTo>
                <a:lnTo>
                  <a:pt x="38762" y="207332"/>
                </a:lnTo>
                <a:lnTo>
                  <a:pt x="38868" y="207438"/>
                </a:lnTo>
                <a:lnTo>
                  <a:pt x="38921" y="207332"/>
                </a:lnTo>
                <a:lnTo>
                  <a:pt x="39026" y="207226"/>
                </a:lnTo>
                <a:lnTo>
                  <a:pt x="39132" y="207226"/>
                </a:lnTo>
                <a:lnTo>
                  <a:pt x="39132" y="207174"/>
                </a:lnTo>
                <a:lnTo>
                  <a:pt x="39079" y="207068"/>
                </a:lnTo>
                <a:lnTo>
                  <a:pt x="39026" y="206857"/>
                </a:lnTo>
                <a:lnTo>
                  <a:pt x="39026" y="206804"/>
                </a:lnTo>
                <a:close/>
              </a:path>
            </a:pathLst>
          </a:custGeom>
          <a:solidFill>
            <a:srgbClr val="FFCC66"/>
          </a:solidFill>
          <a:ln w="9525" cap="flat" cmpd="sng">
            <a:solidFill>
              <a:srgbClr val="FFFFFF"/>
            </a:solidFill>
            <a:prstDash val="solid"/>
            <a:round/>
            <a:headEnd type="none" w="sm" len="sm"/>
            <a:tailEnd type="none" w="sm" len="sm"/>
          </a:ln>
        </p:spPr>
        <p:txBody>
          <a:bodyPr spcFirstLastPara="1" wrap="square" lIns="150800" tIns="150800" rIns="150800" bIns="150800" anchor="ctr" anchorCtr="0">
            <a:noAutofit/>
          </a:bodyPr>
          <a:lstStyle/>
          <a:p>
            <a:pPr defTabSz="1219170">
              <a:buClr>
                <a:srgbClr val="000000"/>
              </a:buClr>
              <a:buSzPts val="1700"/>
            </a:pPr>
            <a:endParaRPr sz="2267" kern="0">
              <a:solidFill>
                <a:srgbClr val="000000"/>
              </a:solidFill>
              <a:latin typeface="Arial"/>
              <a:ea typeface="Arial"/>
              <a:cs typeface="Arial"/>
              <a:sym typeface="Arial"/>
            </a:endParaRPr>
          </a:p>
        </p:txBody>
      </p:sp>
      <p:pic>
        <p:nvPicPr>
          <p:cNvPr id="305" name="Google Shape;305;p34"/>
          <p:cNvPicPr preferRelativeResize="0"/>
          <p:nvPr/>
        </p:nvPicPr>
        <p:blipFill rotWithShape="1">
          <a:blip r:embed="rId4">
            <a:alphaModFix/>
          </a:blip>
          <a:srcRect/>
          <a:stretch/>
        </p:blipFill>
        <p:spPr>
          <a:xfrm>
            <a:off x="6568373" y="5791260"/>
            <a:ext cx="560800" cy="560800"/>
          </a:xfrm>
          <a:prstGeom prst="ellipse">
            <a:avLst/>
          </a:prstGeom>
          <a:noFill/>
          <a:ln w="19050" cap="flat" cmpd="sng">
            <a:solidFill>
              <a:srgbClr val="E00021"/>
            </a:solidFill>
            <a:prstDash val="solid"/>
            <a:round/>
            <a:headEnd type="none" w="sm" len="sm"/>
            <a:tailEnd type="none" w="sm" len="sm"/>
          </a:ln>
        </p:spPr>
      </p:pic>
      <p:sp>
        <p:nvSpPr>
          <p:cNvPr id="306" name="Google Shape;306;p34"/>
          <p:cNvSpPr/>
          <p:nvPr/>
        </p:nvSpPr>
        <p:spPr>
          <a:xfrm>
            <a:off x="10564433" y="2949967"/>
            <a:ext cx="1157600" cy="567600"/>
          </a:xfrm>
          <a:prstGeom prst="rect">
            <a:avLst/>
          </a:prstGeom>
          <a:noFill/>
          <a:ln w="28575" cap="flat" cmpd="sng">
            <a:solidFill>
              <a:srgbClr val="CCCCC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307" name="Google Shape;307;p34"/>
          <p:cNvSpPr txBox="1"/>
          <p:nvPr/>
        </p:nvSpPr>
        <p:spPr>
          <a:xfrm>
            <a:off x="10302481" y="4606345"/>
            <a:ext cx="1660400" cy="5140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800"/>
            </a:pPr>
            <a:r>
              <a:rPr lang="en" sz="1200" b="1" kern="0">
                <a:solidFill>
                  <a:srgbClr val="3C78D8"/>
                </a:solidFill>
                <a:latin typeface="Roboto"/>
                <a:ea typeface="Roboto"/>
                <a:cs typeface="Roboto"/>
                <a:sym typeface="Roboto"/>
              </a:rPr>
              <a:t>JACOB WILSON III</a:t>
            </a:r>
            <a:endParaRPr sz="1200" b="1" kern="0">
              <a:solidFill>
                <a:srgbClr val="3C78D8"/>
              </a:solidFill>
              <a:latin typeface="Roboto"/>
              <a:ea typeface="Roboto"/>
              <a:cs typeface="Roboto"/>
              <a:sym typeface="Roboto"/>
            </a:endParaRPr>
          </a:p>
        </p:txBody>
      </p:sp>
      <p:pic>
        <p:nvPicPr>
          <p:cNvPr id="308" name="Google Shape;308;p34"/>
          <p:cNvPicPr preferRelativeResize="0"/>
          <p:nvPr/>
        </p:nvPicPr>
        <p:blipFill rotWithShape="1">
          <a:blip r:embed="rId5">
            <a:alphaModFix/>
          </a:blip>
          <a:srcRect l="5268" r="5277"/>
          <a:stretch/>
        </p:blipFill>
        <p:spPr>
          <a:xfrm>
            <a:off x="6629733" y="1446733"/>
            <a:ext cx="560800" cy="560800"/>
          </a:xfrm>
          <a:prstGeom prst="ellipse">
            <a:avLst/>
          </a:prstGeom>
          <a:noFill/>
          <a:ln w="38100" cap="flat" cmpd="sng">
            <a:solidFill>
              <a:srgbClr val="E06666"/>
            </a:solidFill>
            <a:prstDash val="solid"/>
            <a:round/>
            <a:headEnd type="none" w="sm" len="sm"/>
            <a:tailEnd type="none" w="sm" len="sm"/>
          </a:ln>
        </p:spPr>
      </p:pic>
      <p:sp>
        <p:nvSpPr>
          <p:cNvPr id="309" name="Google Shape;309;p34"/>
          <p:cNvSpPr txBox="1"/>
          <p:nvPr/>
        </p:nvSpPr>
        <p:spPr>
          <a:xfrm>
            <a:off x="7186599" y="1439145"/>
            <a:ext cx="1660400" cy="5140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800"/>
            </a:pPr>
            <a:r>
              <a:rPr lang="en" sz="1200" b="1" kern="0">
                <a:solidFill>
                  <a:srgbClr val="E06666"/>
                </a:solidFill>
                <a:latin typeface="Roboto"/>
                <a:ea typeface="Roboto"/>
                <a:cs typeface="Roboto"/>
                <a:sym typeface="Roboto"/>
              </a:rPr>
              <a:t>THOMAS </a:t>
            </a:r>
            <a:endParaRPr sz="1200" b="1" kern="0">
              <a:solidFill>
                <a:srgbClr val="E06666"/>
              </a:solidFill>
              <a:latin typeface="Roboto"/>
              <a:ea typeface="Roboto"/>
              <a:cs typeface="Roboto"/>
              <a:sym typeface="Roboto"/>
            </a:endParaRPr>
          </a:p>
          <a:p>
            <a:pPr defTabSz="1219170">
              <a:buClr>
                <a:srgbClr val="000000"/>
              </a:buClr>
              <a:buSzPts val="800"/>
            </a:pPr>
            <a:r>
              <a:rPr lang="en" sz="1200" b="1" kern="0">
                <a:solidFill>
                  <a:srgbClr val="E06666"/>
                </a:solidFill>
                <a:latin typeface="Roboto"/>
                <a:ea typeface="Roboto"/>
                <a:cs typeface="Roboto"/>
                <a:sym typeface="Roboto"/>
              </a:rPr>
              <a:t>ASHLEY</a:t>
            </a:r>
            <a:endParaRPr sz="1200" b="1" kern="0">
              <a:solidFill>
                <a:srgbClr val="E06666"/>
              </a:solidFill>
              <a:latin typeface="Roboto"/>
              <a:ea typeface="Roboto"/>
              <a:cs typeface="Roboto"/>
              <a:sym typeface="Roboto"/>
            </a:endParaRPr>
          </a:p>
        </p:txBody>
      </p:sp>
      <p:pic>
        <p:nvPicPr>
          <p:cNvPr id="310" name="Google Shape;310;p34"/>
          <p:cNvPicPr preferRelativeResize="0"/>
          <p:nvPr/>
        </p:nvPicPr>
        <p:blipFill rotWithShape="1">
          <a:blip r:embed="rId6">
            <a:alphaModFix/>
          </a:blip>
          <a:srcRect l="4126" t="8164" r="6163" b="27493"/>
          <a:stretch/>
        </p:blipFill>
        <p:spPr>
          <a:xfrm>
            <a:off x="9798500" y="4646687"/>
            <a:ext cx="491600" cy="489600"/>
          </a:xfrm>
          <a:prstGeom prst="ellipse">
            <a:avLst/>
          </a:prstGeom>
          <a:noFill/>
          <a:ln w="38100" cap="flat" cmpd="sng">
            <a:solidFill>
              <a:srgbClr val="0B5394"/>
            </a:solidFill>
            <a:prstDash val="solid"/>
            <a:round/>
            <a:headEnd type="none" w="sm" len="sm"/>
            <a:tailEnd type="none" w="sm" len="sm"/>
          </a:ln>
        </p:spPr>
      </p:pic>
      <p:pic>
        <p:nvPicPr>
          <p:cNvPr id="311" name="Google Shape;311;p34"/>
          <p:cNvPicPr preferRelativeResize="0"/>
          <p:nvPr/>
        </p:nvPicPr>
        <p:blipFill rotWithShape="1">
          <a:blip r:embed="rId7">
            <a:alphaModFix/>
          </a:blip>
          <a:srcRect l="7978" t="6562" b="10573"/>
          <a:stretch/>
        </p:blipFill>
        <p:spPr>
          <a:xfrm>
            <a:off x="10592801" y="2215100"/>
            <a:ext cx="560800" cy="560800"/>
          </a:xfrm>
          <a:prstGeom prst="ellipse">
            <a:avLst/>
          </a:prstGeom>
          <a:noFill/>
          <a:ln w="38100" cap="flat" cmpd="sng">
            <a:solidFill>
              <a:srgbClr val="7CB342"/>
            </a:solidFill>
            <a:prstDash val="solid"/>
            <a:round/>
            <a:headEnd type="none" w="sm" len="sm"/>
            <a:tailEnd type="none" w="sm" len="sm"/>
          </a:ln>
        </p:spPr>
      </p:pic>
      <p:sp>
        <p:nvSpPr>
          <p:cNvPr id="312" name="Google Shape;312;p34"/>
          <p:cNvSpPr txBox="1"/>
          <p:nvPr/>
        </p:nvSpPr>
        <p:spPr>
          <a:xfrm>
            <a:off x="232400" y="-123367"/>
            <a:ext cx="2973600" cy="5980800"/>
          </a:xfrm>
          <a:prstGeom prst="rect">
            <a:avLst/>
          </a:prstGeom>
          <a:noFill/>
          <a:ln>
            <a:noFill/>
          </a:ln>
        </p:spPr>
        <p:txBody>
          <a:bodyPr spcFirstLastPara="1" wrap="square" lIns="121900" tIns="121900" rIns="121900" bIns="121900" anchor="t" anchorCtr="0">
            <a:noAutofit/>
          </a:bodyPr>
          <a:lstStyle/>
          <a:p>
            <a:pPr defTabSz="1219170">
              <a:lnSpc>
                <a:spcPct val="115000"/>
              </a:lnSpc>
              <a:spcBef>
                <a:spcPts val="1600"/>
              </a:spcBef>
              <a:buClr>
                <a:srgbClr val="000000"/>
              </a:buClr>
            </a:pPr>
            <a:r>
              <a:rPr lang="en" sz="1467" b="1" kern="0">
                <a:solidFill>
                  <a:srgbClr val="C00000"/>
                </a:solidFill>
                <a:latin typeface="Roboto"/>
                <a:ea typeface="Roboto"/>
                <a:cs typeface="Roboto"/>
                <a:sym typeface="Roboto"/>
              </a:rPr>
              <a:t>DIGITAL TRANSFORMATION</a:t>
            </a:r>
            <a:endParaRPr sz="1467" b="1" kern="0">
              <a:solidFill>
                <a:srgbClr val="C00000"/>
              </a:solidFill>
              <a:latin typeface="Roboto"/>
              <a:ea typeface="Roboto"/>
              <a:cs typeface="Roboto"/>
              <a:sym typeface="Roboto"/>
            </a:endParaRPr>
          </a:p>
          <a:p>
            <a:pPr algn="just" defTabSz="1219170">
              <a:lnSpc>
                <a:spcPct val="115000"/>
              </a:lnSpc>
              <a:spcBef>
                <a:spcPts val="1600"/>
              </a:spcBef>
              <a:buClr>
                <a:srgbClr val="000000"/>
              </a:buClr>
            </a:pPr>
            <a:r>
              <a:rPr lang="en" sz="1067" kern="0">
                <a:solidFill>
                  <a:srgbClr val="000000"/>
                </a:solidFill>
                <a:latin typeface="Roboto"/>
                <a:ea typeface="Roboto"/>
                <a:cs typeface="Roboto"/>
                <a:sym typeface="Roboto"/>
              </a:rPr>
              <a:t>CDW Education recognizes that educational leaders are navigating unique challenges and opportunities that will shape educational outcomes for years to come. With our Education Strategy team’s unique experience and expertise, we are excited to partner with our customers, addressing our shared goal of improving student achievement through a district’s educational technology initiatives.</a:t>
            </a:r>
            <a:endParaRPr sz="1067" kern="0">
              <a:solidFill>
                <a:srgbClr val="000000"/>
              </a:solidFill>
              <a:latin typeface="Roboto"/>
              <a:ea typeface="Roboto"/>
              <a:cs typeface="Roboto"/>
              <a:sym typeface="Roboto"/>
            </a:endParaRPr>
          </a:p>
          <a:p>
            <a:pPr algn="just" defTabSz="1219170">
              <a:lnSpc>
                <a:spcPct val="115000"/>
              </a:lnSpc>
              <a:spcBef>
                <a:spcPts val="1600"/>
              </a:spcBef>
              <a:spcAft>
                <a:spcPts val="1600"/>
              </a:spcAft>
              <a:buClr>
                <a:srgbClr val="000000"/>
              </a:buClr>
            </a:pPr>
            <a:r>
              <a:rPr lang="en" sz="1067" kern="0">
                <a:solidFill>
                  <a:srgbClr val="000000"/>
                </a:solidFill>
                <a:latin typeface="Roboto"/>
                <a:ea typeface="Roboto"/>
                <a:cs typeface="Roboto"/>
                <a:sym typeface="Roboto"/>
              </a:rPr>
              <a:t>As innovation leads to further integration of digital systems with physical environments, new possibilities and pitfalls must be considered. It’s no longer what you know about technology, it’s about the experience you can create with it. By analyzing research and data across CDW Education’s global network of partners and customers, we’re able to guide customers through the most critical aspects of digital transformation. Through on-site planning sessions and workshops, we partner with school leaders to develop a vision for change that will create lasting impact. We help identify which solutions will best enhance curricula, enable student ownership and make it easier for students to develop essential skills.</a:t>
            </a:r>
            <a:endParaRPr sz="1067" kern="0">
              <a:solidFill>
                <a:srgbClr val="000000"/>
              </a:solidFill>
              <a:latin typeface="Roboto"/>
              <a:ea typeface="Roboto"/>
              <a:cs typeface="Roboto"/>
              <a:sym typeface="Roboto"/>
            </a:endParaRPr>
          </a:p>
        </p:txBody>
      </p:sp>
      <p:sp>
        <p:nvSpPr>
          <p:cNvPr id="313" name="Google Shape;313;p34"/>
          <p:cNvSpPr/>
          <p:nvPr/>
        </p:nvSpPr>
        <p:spPr>
          <a:xfrm>
            <a:off x="0" y="6142500"/>
            <a:ext cx="2019200" cy="571600"/>
          </a:xfrm>
          <a:prstGeom prst="rect">
            <a:avLst/>
          </a:prstGeom>
          <a:solidFill>
            <a:srgbClr val="CC0000"/>
          </a:solidFill>
          <a:ln>
            <a:noFill/>
          </a:ln>
        </p:spPr>
        <p:txBody>
          <a:bodyPr spcFirstLastPara="1" wrap="square" lIns="121900" tIns="121900" rIns="121900" bIns="121900" anchor="ctr" anchorCtr="0">
            <a:noAutofit/>
          </a:bodyPr>
          <a:lstStyle/>
          <a:p>
            <a:pPr algn="r" defTabSz="1219170">
              <a:buClr>
                <a:srgbClr val="000000"/>
              </a:buClr>
              <a:buSzPts val="1400"/>
            </a:pPr>
            <a:endParaRPr sz="1867" b="1" kern="0">
              <a:solidFill>
                <a:srgbClr val="CC0000"/>
              </a:solidFill>
              <a:latin typeface="Verdana"/>
              <a:ea typeface="Verdana"/>
              <a:cs typeface="Verdana"/>
              <a:sym typeface="Verdana"/>
            </a:endParaRPr>
          </a:p>
        </p:txBody>
      </p:sp>
      <p:pic>
        <p:nvPicPr>
          <p:cNvPr id="314" name="Google Shape;314;p34"/>
          <p:cNvPicPr preferRelativeResize="0"/>
          <p:nvPr/>
        </p:nvPicPr>
        <p:blipFill>
          <a:blip r:embed="rId3">
            <a:alphaModFix/>
          </a:blip>
          <a:stretch>
            <a:fillRect/>
          </a:stretch>
        </p:blipFill>
        <p:spPr>
          <a:xfrm>
            <a:off x="-39319" y="6060595"/>
            <a:ext cx="1952000" cy="728571"/>
          </a:xfrm>
          <a:prstGeom prst="rect">
            <a:avLst/>
          </a:prstGeom>
          <a:noFill/>
          <a:ln>
            <a:noFill/>
          </a:ln>
        </p:spPr>
      </p:pic>
      <p:pic>
        <p:nvPicPr>
          <p:cNvPr id="315" name="Google Shape;315;p34"/>
          <p:cNvPicPr preferRelativeResize="0"/>
          <p:nvPr/>
        </p:nvPicPr>
        <p:blipFill rotWithShape="1">
          <a:blip r:embed="rId8">
            <a:alphaModFix/>
          </a:blip>
          <a:srcRect l="40" t="-2160" r="-40" b="2160"/>
          <a:stretch/>
        </p:blipFill>
        <p:spPr>
          <a:xfrm>
            <a:off x="8611267" y="1706800"/>
            <a:ext cx="560800" cy="588800"/>
          </a:xfrm>
          <a:prstGeom prst="ellipse">
            <a:avLst/>
          </a:prstGeom>
          <a:noFill/>
          <a:ln w="38100" cap="flat" cmpd="sng">
            <a:solidFill>
              <a:srgbClr val="A4C2F4"/>
            </a:solidFill>
            <a:prstDash val="solid"/>
            <a:round/>
            <a:headEnd type="none" w="sm" len="sm"/>
            <a:tailEnd type="none" w="sm" len="sm"/>
          </a:ln>
        </p:spPr>
      </p:pic>
      <p:pic>
        <p:nvPicPr>
          <p:cNvPr id="316" name="Google Shape;316;p34"/>
          <p:cNvPicPr preferRelativeResize="0"/>
          <p:nvPr/>
        </p:nvPicPr>
        <p:blipFill rotWithShape="1">
          <a:blip r:embed="rId9">
            <a:alphaModFix/>
          </a:blip>
          <a:srcRect l="6568" b="21850"/>
          <a:stretch/>
        </p:blipFill>
        <p:spPr>
          <a:xfrm>
            <a:off x="4855833" y="1336400"/>
            <a:ext cx="560800" cy="553600"/>
          </a:xfrm>
          <a:prstGeom prst="ellipse">
            <a:avLst/>
          </a:prstGeom>
          <a:noFill/>
          <a:ln w="38100" cap="flat" cmpd="sng">
            <a:solidFill>
              <a:srgbClr val="FFCC66"/>
            </a:solidFill>
            <a:prstDash val="solid"/>
            <a:round/>
            <a:headEnd type="none" w="sm" len="sm"/>
            <a:tailEnd type="none" w="sm" len="sm"/>
          </a:ln>
        </p:spPr>
      </p:pic>
      <p:sp>
        <p:nvSpPr>
          <p:cNvPr id="317" name="Google Shape;317;p34"/>
          <p:cNvSpPr txBox="1"/>
          <p:nvPr/>
        </p:nvSpPr>
        <p:spPr>
          <a:xfrm>
            <a:off x="5400445" y="1354600"/>
            <a:ext cx="857600" cy="514000"/>
          </a:xfrm>
          <a:prstGeom prst="rect">
            <a:avLst/>
          </a:prstGeom>
          <a:noFill/>
          <a:ln>
            <a:noFill/>
          </a:ln>
        </p:spPr>
        <p:txBody>
          <a:bodyPr spcFirstLastPara="1" wrap="square" lIns="121933" tIns="121933" rIns="121933" bIns="121933" anchor="ctr" anchorCtr="0">
            <a:noAutofit/>
          </a:bodyPr>
          <a:lstStyle/>
          <a:p>
            <a:pPr defTabSz="1219170">
              <a:buClr>
                <a:srgbClr val="000000"/>
              </a:buClr>
              <a:buSzPts val="800"/>
            </a:pPr>
            <a:r>
              <a:rPr lang="en" sz="1200" b="1" kern="0">
                <a:solidFill>
                  <a:srgbClr val="FBC02D"/>
                </a:solidFill>
                <a:latin typeface="Roboto"/>
                <a:ea typeface="Roboto"/>
                <a:cs typeface="Roboto"/>
                <a:sym typeface="Roboto"/>
              </a:rPr>
              <a:t>BRYAN</a:t>
            </a:r>
            <a:br>
              <a:rPr lang="en" sz="1200" b="1" kern="0">
                <a:solidFill>
                  <a:srgbClr val="FBC02D"/>
                </a:solidFill>
                <a:latin typeface="Roboto"/>
                <a:ea typeface="Roboto"/>
                <a:cs typeface="Roboto"/>
                <a:sym typeface="Roboto"/>
              </a:rPr>
            </a:br>
            <a:r>
              <a:rPr lang="en" sz="1200" b="1" kern="0">
                <a:solidFill>
                  <a:srgbClr val="FBC02D"/>
                </a:solidFill>
                <a:latin typeface="Roboto"/>
                <a:ea typeface="Roboto"/>
                <a:cs typeface="Roboto"/>
                <a:sym typeface="Roboto"/>
              </a:rPr>
              <a:t>KRAUSE</a:t>
            </a:r>
            <a:endParaRPr sz="1200" b="1" kern="0">
              <a:solidFill>
                <a:srgbClr val="FBC02D"/>
              </a:solidFill>
              <a:latin typeface="Roboto"/>
              <a:ea typeface="Roboto"/>
              <a:cs typeface="Roboto"/>
              <a:sym typeface="Roboto"/>
            </a:endParaRPr>
          </a:p>
        </p:txBody>
      </p:sp>
      <p:pic>
        <p:nvPicPr>
          <p:cNvPr id="318" name="Google Shape;318;p34"/>
          <p:cNvPicPr preferRelativeResize="0"/>
          <p:nvPr/>
        </p:nvPicPr>
        <p:blipFill>
          <a:blip r:embed="rId10">
            <a:alphaModFix/>
          </a:blip>
          <a:stretch>
            <a:fillRect/>
          </a:stretch>
        </p:blipFill>
        <p:spPr>
          <a:xfrm>
            <a:off x="3983433" y="5071767"/>
            <a:ext cx="560800" cy="560800"/>
          </a:xfrm>
          <a:prstGeom prst="ellipse">
            <a:avLst/>
          </a:prstGeom>
          <a:noFill/>
          <a:ln w="28575" cap="flat" cmpd="sng">
            <a:solidFill>
              <a:srgbClr val="FBC02D"/>
            </a:solidFill>
            <a:prstDash val="solid"/>
            <a:round/>
            <a:headEnd type="none" w="sm" len="sm"/>
            <a:tailEnd type="none" w="sm" len="sm"/>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33729" y="3824772"/>
            <a:ext cx="8034771" cy="695375"/>
          </a:xfrm>
        </p:spPr>
        <p:txBody>
          <a:bodyPr>
            <a:normAutofit fontScale="90000"/>
          </a:bodyPr>
          <a:lstStyle/>
          <a:p>
            <a:pPr algn="ctr"/>
            <a:r>
              <a:rPr lang="en-US" sz="3200" dirty="0"/>
              <a:t>Colin Rhinesmith, Digital Equity Research Center</a:t>
            </a:r>
            <a:br>
              <a:rPr lang="en-US" sz="3200" dirty="0"/>
            </a:b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36</a:t>
            </a:fld>
            <a:endParaRPr lang="en-US"/>
          </a:p>
        </p:txBody>
      </p:sp>
      <p:sp>
        <p:nvSpPr>
          <p:cNvPr id="3" name="TextBox 2">
            <a:extLst>
              <a:ext uri="{FF2B5EF4-FFF2-40B4-BE49-F238E27FC236}">
                <a16:creationId xmlns:a16="http://schemas.microsoft.com/office/drawing/2014/main" id="{8BF97536-CBF7-3B16-6E91-9E7A3DA75551}"/>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
        <p:nvSpPr>
          <p:cNvPr id="6" name="TextBox 5">
            <a:extLst>
              <a:ext uri="{FF2B5EF4-FFF2-40B4-BE49-F238E27FC236}">
                <a16:creationId xmlns:a16="http://schemas.microsoft.com/office/drawing/2014/main" id="{7D88E786-8E61-057A-03CE-901F499E5905}"/>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
        <p:nvSpPr>
          <p:cNvPr id="9" name="TextBox 8">
            <a:extLst>
              <a:ext uri="{FF2B5EF4-FFF2-40B4-BE49-F238E27FC236}">
                <a16:creationId xmlns:a16="http://schemas.microsoft.com/office/drawing/2014/main" id="{33C1A14F-9142-2748-1C88-F7499B1A779B}"/>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
        <p:nvSpPr>
          <p:cNvPr id="11" name="TextBox 10">
            <a:extLst>
              <a:ext uri="{FF2B5EF4-FFF2-40B4-BE49-F238E27FC236}">
                <a16:creationId xmlns:a16="http://schemas.microsoft.com/office/drawing/2014/main" id="{3CD0BAC8-85FB-ECC2-B07F-4DE3EE784B4E}"/>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
        <p:nvSpPr>
          <p:cNvPr id="13" name="TextBox 12">
            <a:extLst>
              <a:ext uri="{FF2B5EF4-FFF2-40B4-BE49-F238E27FC236}">
                <a16:creationId xmlns:a16="http://schemas.microsoft.com/office/drawing/2014/main" id="{7A7429C5-D908-248D-E4D9-5E45D1446226}"/>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
        <p:nvSpPr>
          <p:cNvPr id="15" name="TextBox 14">
            <a:extLst>
              <a:ext uri="{FF2B5EF4-FFF2-40B4-BE49-F238E27FC236}">
                <a16:creationId xmlns:a16="http://schemas.microsoft.com/office/drawing/2014/main" id="{FBBAA279-1230-52D6-CF29-D3DF01EA4714}"/>
              </a:ext>
            </a:extLst>
          </p:cNvPr>
          <p:cNvSpPr txBox="1"/>
          <p:nvPr/>
        </p:nvSpPr>
        <p:spPr>
          <a:xfrm>
            <a:off x="3047579" y="3245597"/>
            <a:ext cx="6095158" cy="369332"/>
          </a:xfrm>
          <a:prstGeom prst="rect">
            <a:avLst/>
          </a:prstGeom>
          <a:noFill/>
        </p:spPr>
        <p:txBody>
          <a:bodyPr wrap="square">
            <a:spAutoFit/>
          </a:bodyPr>
          <a:lstStyle/>
          <a:p>
            <a:r>
              <a:rPr lang="en-US" b="0" dirty="0">
                <a:effectLst/>
              </a:rPr>
              <a:t> </a:t>
            </a:r>
            <a:endParaRPr lang="en-US" dirty="0"/>
          </a:p>
        </p:txBody>
      </p:sp>
    </p:spTree>
    <p:extLst>
      <p:ext uri="{BB962C8B-B14F-4D97-AF65-F5344CB8AC3E}">
        <p14:creationId xmlns:p14="http://schemas.microsoft.com/office/powerpoint/2010/main" val="3148707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17"/>
          <p:cNvSpPr txBox="1">
            <a:spLocks noGrp="1"/>
          </p:cNvSpPr>
          <p:nvPr>
            <p:ph type="ctrTitle" idx="4294967295"/>
          </p:nvPr>
        </p:nvSpPr>
        <p:spPr>
          <a:xfrm>
            <a:off x="1295400" y="991200"/>
            <a:ext cx="6724200" cy="2437800"/>
          </a:xfrm>
          <a:prstGeom prst="rect">
            <a:avLst/>
          </a:prstGeom>
          <a:noFill/>
          <a:ln>
            <a:noFill/>
          </a:ln>
        </p:spPr>
        <p:txBody>
          <a:bodyPr spcFirstLastPara="1" wrap="square" lIns="91425" tIns="45700" rIns="91425" bIns="45700" anchor="b" anchorCtr="0">
            <a:normAutofit/>
          </a:bodyPr>
          <a:lstStyle/>
          <a:p>
            <a:pPr marL="0" marR="0" lvl="0" indent="0" algn="l" rtl="0">
              <a:lnSpc>
                <a:spcPct val="90000"/>
              </a:lnSpc>
              <a:spcBef>
                <a:spcPts val="0"/>
              </a:spcBef>
              <a:spcAft>
                <a:spcPts val="0"/>
              </a:spcAft>
              <a:buClr>
                <a:schemeClr val="dk1"/>
              </a:buClr>
              <a:buSzPts val="4000"/>
              <a:buFont typeface="Avenir"/>
              <a:buNone/>
            </a:pPr>
            <a:r>
              <a:rPr lang="en-US" sz="3800">
                <a:solidFill>
                  <a:schemeClr val="dk1"/>
                </a:solidFill>
                <a:latin typeface="Raleway Light"/>
                <a:ea typeface="Raleway Light"/>
                <a:cs typeface="Raleway Light"/>
                <a:sym typeface="Raleway Light"/>
              </a:rPr>
              <a:t>Digital Equity Ecosystems Measurement (DEEM) Framework</a:t>
            </a:r>
            <a:endParaRPr sz="3800">
              <a:solidFill>
                <a:schemeClr val="dk1"/>
              </a:solidFill>
              <a:latin typeface="Raleway Light"/>
              <a:ea typeface="Raleway Light"/>
              <a:cs typeface="Raleway Light"/>
              <a:sym typeface="Raleway Light"/>
            </a:endParaRPr>
          </a:p>
        </p:txBody>
      </p:sp>
      <p:sp>
        <p:nvSpPr>
          <p:cNvPr id="165" name="Google Shape;165;p17"/>
          <p:cNvSpPr txBox="1">
            <a:spLocks noGrp="1"/>
          </p:cNvSpPr>
          <p:nvPr>
            <p:ph type="subTitle" idx="4294967295"/>
          </p:nvPr>
        </p:nvSpPr>
        <p:spPr>
          <a:xfrm>
            <a:off x="1295400" y="3711163"/>
            <a:ext cx="5120700" cy="1166700"/>
          </a:xfrm>
          <a:prstGeom prst="rect">
            <a:avLst/>
          </a:prstGeom>
          <a:noFill/>
          <a:ln>
            <a:noFill/>
          </a:ln>
        </p:spPr>
        <p:txBody>
          <a:bodyPr spcFirstLastPara="1" wrap="square" lIns="91425" tIns="45700" rIns="91425" bIns="45700" anchor="t" anchorCtr="0">
            <a:normAutofit/>
          </a:bodyPr>
          <a:lstStyle/>
          <a:p>
            <a:pPr marL="0" marR="0" lvl="0" indent="0" algn="l" rtl="0">
              <a:lnSpc>
                <a:spcPct val="115000"/>
              </a:lnSpc>
              <a:spcBef>
                <a:spcPts val="1800"/>
              </a:spcBef>
              <a:spcAft>
                <a:spcPts val="0"/>
              </a:spcAft>
              <a:buClr>
                <a:schemeClr val="dk1"/>
              </a:buClr>
              <a:buSzPts val="2400"/>
              <a:buFont typeface="Arial"/>
              <a:buNone/>
            </a:pPr>
            <a:r>
              <a:rPr lang="en-US" sz="2000" b="1" i="0" u="none" strike="noStrike" cap="none">
                <a:solidFill>
                  <a:schemeClr val="dk1"/>
                </a:solidFill>
                <a:latin typeface="Raleway"/>
                <a:ea typeface="Raleway"/>
                <a:cs typeface="Raleway"/>
                <a:sym typeface="Raleway"/>
              </a:rPr>
              <a:t>Colin Rhinesmith, Ph.D.</a:t>
            </a:r>
            <a:br>
              <a:rPr lang="en-US" sz="2000" b="1" i="0" u="none" strike="noStrike" cap="none">
                <a:solidFill>
                  <a:schemeClr val="dk1"/>
                </a:solidFill>
                <a:latin typeface="Raleway"/>
                <a:ea typeface="Raleway"/>
                <a:cs typeface="Raleway"/>
                <a:sym typeface="Raleway"/>
              </a:rPr>
            </a:br>
            <a:r>
              <a:rPr lang="en-US" sz="2000" b="1">
                <a:latin typeface="Raleway"/>
                <a:ea typeface="Raleway"/>
                <a:cs typeface="Raleway"/>
                <a:sym typeface="Raleway"/>
              </a:rPr>
              <a:t>FDIC/NCDE Webinar</a:t>
            </a:r>
            <a:br>
              <a:rPr lang="en-US" sz="2000" b="1" i="0" u="none" strike="noStrike" cap="none">
                <a:solidFill>
                  <a:schemeClr val="dk1"/>
                </a:solidFill>
                <a:latin typeface="Raleway"/>
                <a:ea typeface="Raleway"/>
                <a:cs typeface="Raleway"/>
                <a:sym typeface="Raleway"/>
              </a:rPr>
            </a:br>
            <a:r>
              <a:rPr lang="en-US" sz="2000" b="1">
                <a:latin typeface="Raleway"/>
                <a:ea typeface="Raleway"/>
                <a:cs typeface="Raleway"/>
                <a:sym typeface="Raleway"/>
              </a:rPr>
              <a:t>October 17</a:t>
            </a:r>
            <a:r>
              <a:rPr lang="en-US" sz="2000" b="1" i="0" u="none" strike="noStrike" cap="none">
                <a:solidFill>
                  <a:schemeClr val="dk1"/>
                </a:solidFill>
                <a:latin typeface="Raleway"/>
                <a:ea typeface="Raleway"/>
                <a:cs typeface="Raleway"/>
                <a:sym typeface="Raleway"/>
              </a:rPr>
              <a:t>, 2022</a:t>
            </a:r>
            <a:endParaRPr sz="2000" b="1" i="0" u="none" strike="noStrike" cap="none">
              <a:solidFill>
                <a:schemeClr val="dk1"/>
              </a:solidFill>
              <a:latin typeface="Raleway"/>
              <a:ea typeface="Raleway"/>
              <a:cs typeface="Raleway"/>
              <a:sym typeface="Raleway"/>
            </a:endParaRPr>
          </a:p>
        </p:txBody>
      </p:sp>
      <p:pic>
        <p:nvPicPr>
          <p:cNvPr id="166" name="Google Shape;166;p17"/>
          <p:cNvPicPr preferRelativeResize="0"/>
          <p:nvPr/>
        </p:nvPicPr>
        <p:blipFill rotWithShape="1">
          <a:blip r:embed="rId3">
            <a:alphaModFix/>
          </a:blip>
          <a:srcRect/>
          <a:stretch/>
        </p:blipFill>
        <p:spPr>
          <a:xfrm>
            <a:off x="1295412" y="5160062"/>
            <a:ext cx="1876678" cy="1388725"/>
          </a:xfrm>
          <a:prstGeom prst="rect">
            <a:avLst/>
          </a:prstGeom>
          <a:noFill/>
          <a:ln>
            <a:noFill/>
          </a:ln>
        </p:spPr>
      </p:pic>
      <p:pic>
        <p:nvPicPr>
          <p:cNvPr id="167" name="Google Shape;167;p17"/>
          <p:cNvPicPr preferRelativeResize="0"/>
          <p:nvPr/>
        </p:nvPicPr>
        <p:blipFill>
          <a:blip r:embed="rId4">
            <a:alphaModFix/>
          </a:blip>
          <a:stretch>
            <a:fillRect/>
          </a:stretch>
        </p:blipFill>
        <p:spPr>
          <a:xfrm>
            <a:off x="4454947" y="5160050"/>
            <a:ext cx="3795405" cy="1312099"/>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Google Shape;172;p18"/>
          <p:cNvSpPr txBox="1">
            <a:spLocks noGrp="1"/>
          </p:cNvSpPr>
          <p:nvPr>
            <p:ph type="title"/>
          </p:nvPr>
        </p:nvSpPr>
        <p:spPr>
          <a:xfrm>
            <a:off x="1295400" y="255134"/>
            <a:ext cx="9601200" cy="1036850"/>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lt1"/>
              </a:buClr>
              <a:buSzPts val="4000"/>
              <a:buFont typeface="Avenir"/>
              <a:buNone/>
            </a:pPr>
            <a:r>
              <a:rPr lang="en-US" sz="4000">
                <a:latin typeface="Raleway"/>
                <a:ea typeface="Raleway"/>
                <a:cs typeface="Raleway"/>
                <a:sym typeface="Raleway"/>
              </a:rPr>
              <a:t>About Me</a:t>
            </a:r>
            <a:endParaRPr sz="4000">
              <a:latin typeface="Raleway"/>
              <a:ea typeface="Raleway"/>
              <a:cs typeface="Raleway"/>
              <a:sym typeface="Raleway"/>
            </a:endParaRPr>
          </a:p>
        </p:txBody>
      </p:sp>
      <p:sp>
        <p:nvSpPr>
          <p:cNvPr id="173" name="Google Shape;173;p18"/>
          <p:cNvSpPr txBox="1">
            <a:spLocks noGrp="1"/>
          </p:cNvSpPr>
          <p:nvPr>
            <p:ph type="body" idx="1"/>
          </p:nvPr>
        </p:nvSpPr>
        <p:spPr>
          <a:xfrm>
            <a:off x="1295400" y="1828800"/>
            <a:ext cx="7465500" cy="50292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200"/>
              <a:buNone/>
            </a:pPr>
            <a:r>
              <a:rPr lang="en-US" sz="3000" b="1">
                <a:latin typeface="Raleway"/>
                <a:ea typeface="Raleway"/>
                <a:cs typeface="Raleway"/>
                <a:sym typeface="Raleway"/>
              </a:rPr>
              <a:t>Colin Rhinesmith, Ph.D. (he/him)</a:t>
            </a:r>
            <a:endParaRPr sz="3000" b="1">
              <a:latin typeface="Raleway"/>
              <a:ea typeface="Raleway"/>
              <a:cs typeface="Raleway"/>
              <a:sym typeface="Raleway"/>
            </a:endParaRPr>
          </a:p>
          <a:p>
            <a:pPr marL="0" lvl="0" indent="0" algn="l" rtl="0">
              <a:lnSpc>
                <a:spcPct val="90000"/>
              </a:lnSpc>
              <a:spcBef>
                <a:spcPts val="0"/>
              </a:spcBef>
              <a:spcAft>
                <a:spcPts val="0"/>
              </a:spcAft>
              <a:buClr>
                <a:schemeClr val="dk1"/>
              </a:buClr>
              <a:buSzPts val="3200"/>
              <a:buNone/>
            </a:pPr>
            <a:endParaRPr sz="800" b="1">
              <a:latin typeface="Avenir"/>
              <a:ea typeface="Avenir"/>
              <a:cs typeface="Avenir"/>
              <a:sym typeface="Avenir"/>
            </a:endParaRPr>
          </a:p>
          <a:p>
            <a:pPr marL="274320" lvl="0" indent="-261620" algn="l" rtl="0">
              <a:lnSpc>
                <a:spcPct val="115000"/>
              </a:lnSpc>
              <a:spcBef>
                <a:spcPts val="1800"/>
              </a:spcBef>
              <a:spcAft>
                <a:spcPts val="0"/>
              </a:spcAft>
              <a:buClr>
                <a:schemeClr val="dk1"/>
              </a:buClr>
              <a:buSzPts val="2800"/>
              <a:buFont typeface="Raleway"/>
              <a:buChar char="•"/>
            </a:pPr>
            <a:r>
              <a:rPr lang="en-US" sz="2800">
                <a:latin typeface="Raleway"/>
                <a:ea typeface="Raleway"/>
                <a:cs typeface="Raleway"/>
                <a:sym typeface="Raleway"/>
              </a:rPr>
              <a:t>Founder and Director, </a:t>
            </a:r>
            <a:br>
              <a:rPr lang="en-US" sz="2800">
                <a:latin typeface="Raleway"/>
                <a:ea typeface="Raleway"/>
                <a:cs typeface="Raleway"/>
                <a:sym typeface="Raleway"/>
              </a:rPr>
            </a:br>
            <a:r>
              <a:rPr lang="en-US" sz="2800">
                <a:latin typeface="Raleway"/>
                <a:ea typeface="Raleway"/>
                <a:cs typeface="Raleway"/>
                <a:sym typeface="Raleway"/>
              </a:rPr>
              <a:t>Digital Equity Research Center, Metropolitan New York Library Council</a:t>
            </a:r>
            <a:endParaRPr sz="2800">
              <a:latin typeface="Raleway"/>
              <a:ea typeface="Raleway"/>
              <a:cs typeface="Raleway"/>
              <a:sym typeface="Raleway"/>
            </a:endParaRPr>
          </a:p>
          <a:p>
            <a:pPr marL="0" lvl="0" indent="0" algn="l" rtl="0">
              <a:lnSpc>
                <a:spcPct val="115000"/>
              </a:lnSpc>
              <a:spcBef>
                <a:spcPts val="1800"/>
              </a:spcBef>
              <a:spcAft>
                <a:spcPts val="0"/>
              </a:spcAft>
              <a:buSzPts val="1800"/>
              <a:buNone/>
            </a:pPr>
            <a:endParaRPr sz="600">
              <a:latin typeface="Raleway"/>
              <a:ea typeface="Raleway"/>
              <a:cs typeface="Raleway"/>
              <a:sym typeface="Raleway"/>
            </a:endParaRPr>
          </a:p>
          <a:p>
            <a:pPr marL="274320" lvl="0" indent="-267970" algn="l" rtl="0">
              <a:lnSpc>
                <a:spcPct val="115000"/>
              </a:lnSpc>
              <a:spcBef>
                <a:spcPts val="1800"/>
              </a:spcBef>
              <a:spcAft>
                <a:spcPts val="0"/>
              </a:spcAft>
              <a:buSzPts val="2800"/>
              <a:buFont typeface="Raleway"/>
              <a:buChar char="•"/>
            </a:pPr>
            <a:r>
              <a:rPr lang="en-US" sz="2800">
                <a:latin typeface="Raleway"/>
                <a:ea typeface="Raleway"/>
                <a:cs typeface="Raleway"/>
                <a:sym typeface="Raleway"/>
              </a:rPr>
              <a:t>Senior Fellow, Benton Institute for Broadband &amp; Society</a:t>
            </a:r>
            <a:endParaRPr sz="2800">
              <a:latin typeface="Raleway"/>
              <a:ea typeface="Raleway"/>
              <a:cs typeface="Raleway"/>
              <a:sym typeface="Raleway"/>
            </a:endParaRPr>
          </a:p>
        </p:txBody>
      </p:sp>
      <p:sp>
        <p:nvSpPr>
          <p:cNvPr id="174" name="Google Shape;174;p18"/>
          <p:cNvSpPr txBox="1">
            <a:spLocks noGrp="1"/>
          </p:cNvSpPr>
          <p:nvPr>
            <p:ph type="sldNum" idx="12"/>
          </p:nvPr>
        </p:nvSpPr>
        <p:spPr>
          <a:xfrm>
            <a:off x="9525000" y="6374999"/>
            <a:ext cx="1371600" cy="27432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9pPr>
          </a:lstStyle>
          <a:p>
            <a:pPr marL="0" lvl="0" indent="0" algn="r" rtl="0">
              <a:lnSpc>
                <a:spcPct val="100000"/>
              </a:lnSpc>
              <a:spcBef>
                <a:spcPts val="0"/>
              </a:spcBef>
              <a:spcAft>
                <a:spcPts val="0"/>
              </a:spcAft>
              <a:buSzPts val="1000"/>
              <a:buNone/>
            </a:pPr>
            <a:fld id="{00000000-1234-1234-1234-123412341234}" type="slidenum">
              <a:rPr lang="en-US" smtClean="0"/>
              <a:pPr marL="0" lvl="0" indent="0" algn="r" rtl="0">
                <a:lnSpc>
                  <a:spcPct val="100000"/>
                </a:lnSpc>
                <a:spcBef>
                  <a:spcPts val="0"/>
                </a:spcBef>
                <a:spcAft>
                  <a:spcPts val="0"/>
                </a:spcAft>
                <a:buSzPts val="1000"/>
                <a:buNone/>
              </a:pPr>
              <a:t>38</a:t>
            </a:fld>
            <a:endParaRPr>
              <a:latin typeface="Avenir"/>
              <a:ea typeface="Avenir"/>
              <a:cs typeface="Avenir"/>
              <a:sym typeface="Avenir"/>
            </a:endParaRPr>
          </a:p>
        </p:txBody>
      </p:sp>
      <p:pic>
        <p:nvPicPr>
          <p:cNvPr id="175" name="Google Shape;175;p18"/>
          <p:cNvPicPr preferRelativeResize="0"/>
          <p:nvPr/>
        </p:nvPicPr>
        <p:blipFill rotWithShape="1">
          <a:blip r:embed="rId3">
            <a:alphaModFix/>
          </a:blip>
          <a:srcRect/>
          <a:stretch/>
        </p:blipFill>
        <p:spPr>
          <a:xfrm>
            <a:off x="9060975" y="1828797"/>
            <a:ext cx="2807250" cy="2077350"/>
          </a:xfrm>
          <a:prstGeom prst="rect">
            <a:avLst/>
          </a:prstGeom>
          <a:noFill/>
          <a:ln>
            <a:noFill/>
          </a:ln>
        </p:spPr>
      </p:pic>
      <p:sp>
        <p:nvSpPr>
          <p:cNvPr id="176" name="Google Shape;176;p18"/>
          <p:cNvSpPr txBox="1"/>
          <p:nvPr/>
        </p:nvSpPr>
        <p:spPr>
          <a:xfrm>
            <a:off x="9109500" y="3906150"/>
            <a:ext cx="27102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000000"/>
                </a:solidFill>
                <a:latin typeface="Raleway"/>
                <a:ea typeface="Raleway"/>
                <a:cs typeface="Raleway"/>
                <a:sym typeface="Raleway"/>
              </a:rPr>
              <a:t>https://dercenter.org/</a:t>
            </a:r>
            <a:endParaRPr sz="1800" b="0" i="0" u="none" strike="noStrike" cap="none">
              <a:solidFill>
                <a:srgbClr val="000000"/>
              </a:solidFill>
              <a:latin typeface="Raleway"/>
              <a:ea typeface="Raleway"/>
              <a:cs typeface="Raleway"/>
              <a:sym typeface="Raleway"/>
            </a:endParaRPr>
          </a:p>
        </p:txBody>
      </p:sp>
      <p:sp>
        <p:nvSpPr>
          <p:cNvPr id="177" name="Google Shape;177;p18"/>
          <p:cNvSpPr txBox="1">
            <a:spLocks noGrp="1"/>
          </p:cNvSpPr>
          <p:nvPr>
            <p:ph type="ftr" idx="11"/>
          </p:nvPr>
        </p:nvSpPr>
        <p:spPr>
          <a:xfrm>
            <a:off x="1295399" y="6413157"/>
            <a:ext cx="7465500" cy="2361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sz="1200">
                <a:solidFill>
                  <a:schemeClr val="dk2"/>
                </a:solidFill>
                <a:latin typeface="Avenir"/>
                <a:ea typeface="Avenir"/>
                <a:cs typeface="Avenir"/>
                <a:sym typeface="Avenir"/>
              </a:rPr>
              <a:t>Digital Equity Ecosystems Presentation | Colin Rhinesmith, Ph.D. | FDIC/NCDE Webinar, October 17, 2022</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182" name="Google Shape;182;p19"/>
          <p:cNvSpPr txBox="1">
            <a:spLocks noGrp="1"/>
          </p:cNvSpPr>
          <p:nvPr>
            <p:ph type="title"/>
          </p:nvPr>
        </p:nvSpPr>
        <p:spPr>
          <a:xfrm>
            <a:off x="1295400" y="255134"/>
            <a:ext cx="9601200" cy="1036850"/>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lt1"/>
              </a:buClr>
              <a:buSzPts val="4000"/>
              <a:buFont typeface="Avenir"/>
              <a:buNone/>
            </a:pPr>
            <a:r>
              <a:rPr lang="en-US" sz="4000">
                <a:latin typeface="Raleway"/>
                <a:ea typeface="Raleway"/>
                <a:cs typeface="Raleway"/>
                <a:sym typeface="Raleway"/>
              </a:rPr>
              <a:t>Digital Equity Ecosystems</a:t>
            </a:r>
            <a:endParaRPr sz="4000">
              <a:latin typeface="Raleway"/>
              <a:ea typeface="Raleway"/>
              <a:cs typeface="Raleway"/>
              <a:sym typeface="Raleway"/>
            </a:endParaRPr>
          </a:p>
        </p:txBody>
      </p:sp>
      <p:sp>
        <p:nvSpPr>
          <p:cNvPr id="183" name="Google Shape;183;p19"/>
          <p:cNvSpPr txBox="1">
            <a:spLocks noGrp="1"/>
          </p:cNvSpPr>
          <p:nvPr>
            <p:ph type="body" idx="1"/>
          </p:nvPr>
        </p:nvSpPr>
        <p:spPr>
          <a:xfrm>
            <a:off x="1295400" y="1828800"/>
            <a:ext cx="7042500" cy="4584300"/>
          </a:xfrm>
          <a:prstGeom prst="rect">
            <a:avLst/>
          </a:prstGeom>
          <a:noFill/>
          <a:ln>
            <a:noFill/>
          </a:ln>
        </p:spPr>
        <p:txBody>
          <a:bodyPr spcFirstLastPara="1" wrap="square" lIns="91425" tIns="45700" rIns="91425" bIns="45700" anchor="t" anchorCtr="0">
            <a:normAutofit lnSpcReduction="10000"/>
          </a:bodyPr>
          <a:lstStyle/>
          <a:p>
            <a:pPr marL="457200" lvl="0" indent="-457200" algn="l" rtl="0">
              <a:lnSpc>
                <a:spcPct val="115000"/>
              </a:lnSpc>
              <a:spcBef>
                <a:spcPts val="0"/>
              </a:spcBef>
              <a:spcAft>
                <a:spcPts val="0"/>
              </a:spcAft>
              <a:buClr>
                <a:schemeClr val="dk1"/>
              </a:buClr>
              <a:buSzPts val="3000"/>
              <a:buNone/>
            </a:pPr>
            <a:r>
              <a:rPr lang="en-US" sz="2800">
                <a:latin typeface="Raleway"/>
                <a:ea typeface="Raleway"/>
                <a:cs typeface="Raleway"/>
                <a:sym typeface="Raleway"/>
              </a:rPr>
              <a:t>Interactions between individuals, communities, populations, and their larger environments that all play a role in shaping the work to promote more equitable access to technology and social, economic, and racial justice.</a:t>
            </a:r>
            <a:endParaRPr sz="2800">
              <a:latin typeface="Raleway"/>
              <a:ea typeface="Raleway"/>
              <a:cs typeface="Raleway"/>
              <a:sym typeface="Raleway"/>
            </a:endParaRPr>
          </a:p>
          <a:p>
            <a:pPr marL="457200" lvl="0" indent="-457200" algn="l" rtl="0">
              <a:lnSpc>
                <a:spcPct val="115000"/>
              </a:lnSpc>
              <a:spcBef>
                <a:spcPts val="0"/>
              </a:spcBef>
              <a:spcAft>
                <a:spcPts val="0"/>
              </a:spcAft>
              <a:buClr>
                <a:schemeClr val="dk1"/>
              </a:buClr>
              <a:buSzPts val="3000"/>
              <a:buNone/>
            </a:pPr>
            <a:endParaRPr sz="1200">
              <a:latin typeface="Raleway"/>
              <a:ea typeface="Raleway"/>
              <a:cs typeface="Raleway"/>
              <a:sym typeface="Raleway"/>
            </a:endParaRPr>
          </a:p>
          <a:p>
            <a:pPr marL="457200" lvl="0" indent="-457200" algn="r" rtl="0">
              <a:lnSpc>
                <a:spcPct val="115000"/>
              </a:lnSpc>
              <a:spcBef>
                <a:spcPts val="0"/>
              </a:spcBef>
              <a:spcAft>
                <a:spcPts val="0"/>
              </a:spcAft>
              <a:buClr>
                <a:schemeClr val="dk1"/>
              </a:buClr>
              <a:buSzPts val="3000"/>
              <a:buNone/>
            </a:pPr>
            <a:r>
              <a:rPr lang="en-US" sz="2200">
                <a:latin typeface="Raleway"/>
                <a:ea typeface="Raleway"/>
                <a:cs typeface="Raleway"/>
                <a:sym typeface="Raleway"/>
              </a:rPr>
              <a:t>- https://dercenter.org/digital-equity-ecosystems/</a:t>
            </a:r>
            <a:endParaRPr sz="1800"/>
          </a:p>
        </p:txBody>
      </p:sp>
      <p:pic>
        <p:nvPicPr>
          <p:cNvPr id="184" name="Google Shape;184;p19"/>
          <p:cNvPicPr preferRelativeResize="0"/>
          <p:nvPr/>
        </p:nvPicPr>
        <p:blipFill rotWithShape="1">
          <a:blip r:embed="rId3">
            <a:alphaModFix/>
          </a:blip>
          <a:srcRect/>
          <a:stretch/>
        </p:blipFill>
        <p:spPr>
          <a:xfrm>
            <a:off x="8760950" y="962459"/>
            <a:ext cx="3111500" cy="4102100"/>
          </a:xfrm>
          <a:prstGeom prst="rect">
            <a:avLst/>
          </a:prstGeom>
          <a:noFill/>
          <a:ln>
            <a:noFill/>
          </a:ln>
        </p:spPr>
      </p:pic>
      <p:sp>
        <p:nvSpPr>
          <p:cNvPr id="185" name="Google Shape;185;p19"/>
          <p:cNvSpPr txBox="1"/>
          <p:nvPr/>
        </p:nvSpPr>
        <p:spPr>
          <a:xfrm>
            <a:off x="8760950" y="5064544"/>
            <a:ext cx="31116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2"/>
                </a:solidFill>
                <a:latin typeface="Raleway"/>
                <a:ea typeface="Raleway"/>
                <a:cs typeface="Raleway"/>
                <a:sym typeface="Raleway"/>
              </a:rPr>
              <a:t>https://www.benton.org/blog/impacts-covid-19-digital-equity-ecosystems </a:t>
            </a:r>
            <a:endParaRPr sz="1600" b="0" i="0" u="none" strike="noStrike" cap="none">
              <a:solidFill>
                <a:srgbClr val="000000"/>
              </a:solidFill>
              <a:latin typeface="Raleway"/>
              <a:ea typeface="Raleway"/>
              <a:cs typeface="Raleway"/>
              <a:sym typeface="Raleway"/>
            </a:endParaRPr>
          </a:p>
        </p:txBody>
      </p:sp>
      <p:sp>
        <p:nvSpPr>
          <p:cNvPr id="186" name="Google Shape;186;p19"/>
          <p:cNvSpPr txBox="1">
            <a:spLocks noGrp="1"/>
          </p:cNvSpPr>
          <p:nvPr>
            <p:ph type="sldNum" idx="12"/>
          </p:nvPr>
        </p:nvSpPr>
        <p:spPr>
          <a:xfrm>
            <a:off x="9525000" y="6374999"/>
            <a:ext cx="1371600" cy="27432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9pPr>
          </a:lstStyle>
          <a:p>
            <a:pPr marL="0" lvl="0" indent="0" algn="r" rtl="0">
              <a:lnSpc>
                <a:spcPct val="100000"/>
              </a:lnSpc>
              <a:spcBef>
                <a:spcPts val="0"/>
              </a:spcBef>
              <a:spcAft>
                <a:spcPts val="0"/>
              </a:spcAft>
              <a:buSzPts val="1000"/>
              <a:buNone/>
            </a:pPr>
            <a:fld id="{00000000-1234-1234-1234-123412341234}" type="slidenum">
              <a:rPr lang="en-US" smtClean="0"/>
              <a:pPr marL="0" lvl="0" indent="0" algn="r" rtl="0">
                <a:lnSpc>
                  <a:spcPct val="100000"/>
                </a:lnSpc>
                <a:spcBef>
                  <a:spcPts val="0"/>
                </a:spcBef>
                <a:spcAft>
                  <a:spcPts val="0"/>
                </a:spcAft>
                <a:buSzPts val="1000"/>
                <a:buNone/>
              </a:pPr>
              <a:t>39</a:t>
            </a:fld>
            <a:endParaRPr>
              <a:latin typeface="Avenir"/>
              <a:ea typeface="Avenir"/>
              <a:cs typeface="Avenir"/>
              <a:sym typeface="Avenir"/>
            </a:endParaRPr>
          </a:p>
        </p:txBody>
      </p:sp>
      <p:sp>
        <p:nvSpPr>
          <p:cNvPr id="187" name="Google Shape;187;p19"/>
          <p:cNvSpPr txBox="1">
            <a:spLocks noGrp="1"/>
          </p:cNvSpPr>
          <p:nvPr>
            <p:ph type="ftr" idx="11"/>
          </p:nvPr>
        </p:nvSpPr>
        <p:spPr>
          <a:xfrm>
            <a:off x="1295399" y="6413157"/>
            <a:ext cx="7465500" cy="2361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SzPts val="1400"/>
              <a:buNone/>
            </a:pPr>
            <a:r>
              <a:rPr lang="en-US" sz="1200">
                <a:solidFill>
                  <a:schemeClr val="dk2"/>
                </a:solidFill>
                <a:latin typeface="Avenir"/>
                <a:ea typeface="Avenir"/>
                <a:cs typeface="Avenir"/>
                <a:sym typeface="Avenir"/>
              </a:rPr>
              <a:t>Digital Equity Ecosystems Presentation | Colin Rhinesmith, Ph.D. | FDIC/NCDE Webinar, October 17, 2022</a:t>
            </a:r>
            <a:endParaRPr sz="1200">
              <a:solidFill>
                <a:schemeClr val="dk2"/>
              </a:solidFill>
              <a:latin typeface="Avenir"/>
              <a:ea typeface="Avenir"/>
              <a:cs typeface="Avenir"/>
              <a:sym typeface="Avenir"/>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7883" y="918484"/>
            <a:ext cx="4831080" cy="5316061"/>
          </a:xfrm>
        </p:spPr>
        <p:txBody>
          <a:bodyPr>
            <a:normAutofit fontScale="90000"/>
          </a:bodyPr>
          <a:lstStyle/>
          <a:p>
            <a:pPr marR="0" algn="ctr">
              <a:spcBef>
                <a:spcPts val="0"/>
              </a:spcBef>
              <a:spcAft>
                <a:spcPts val="0"/>
              </a:spcAft>
            </a:pPr>
            <a:r>
              <a:rPr lang="en-US" sz="2800" b="1" dirty="0">
                <a:solidFill>
                  <a:srgbClr val="FF0000"/>
                </a:solidFill>
                <a:latin typeface="+mn-lt"/>
              </a:rPr>
              <a:t>Panelists Thoughts</a:t>
            </a:r>
            <a:r>
              <a:rPr lang="en-US" sz="2800" b="1" dirty="0">
                <a:latin typeface="+mn-lt"/>
              </a:rPr>
              <a:t>: </a:t>
            </a:r>
            <a:br>
              <a:rPr lang="en-US" sz="2800" b="1" dirty="0">
                <a:latin typeface="+mn-lt"/>
              </a:rPr>
            </a:br>
            <a:br>
              <a:rPr lang="en-US" sz="2800" b="1" dirty="0">
                <a:latin typeface="+mn-lt"/>
              </a:rPr>
            </a:br>
            <a:r>
              <a:rPr lang="en-US" sz="2200" dirty="0">
                <a:latin typeface="+mn-lt"/>
              </a:rPr>
              <a:t>Promising and impactful inclusion resources</a:t>
            </a:r>
            <a:br>
              <a:rPr lang="en-US" sz="2200" dirty="0">
                <a:latin typeface="+mn-lt"/>
              </a:rPr>
            </a:br>
            <a:br>
              <a:rPr lang="en-US" sz="2200" dirty="0">
                <a:latin typeface="+mn-lt"/>
              </a:rPr>
            </a:br>
            <a:r>
              <a:rPr lang="en-US" sz="2200" dirty="0">
                <a:latin typeface="+mn-lt"/>
              </a:rPr>
              <a:t>How their efforts stand ready to support those addressing other inclusion dimensions</a:t>
            </a:r>
            <a:br>
              <a:rPr lang="en-US" sz="2200" dirty="0">
                <a:latin typeface="+mn-lt"/>
              </a:rPr>
            </a:br>
            <a:br>
              <a:rPr lang="en-US" sz="2200" dirty="0">
                <a:latin typeface="+mn-lt"/>
              </a:rPr>
            </a:br>
            <a:r>
              <a:rPr lang="en-US" sz="2200" dirty="0">
                <a:latin typeface="+mn-lt"/>
              </a:rPr>
              <a:t>How those addressing other inclusion dimensions can enhance their own inclusion outcomes </a:t>
            </a:r>
            <a:br>
              <a:rPr lang="en-US" sz="2200" dirty="0">
                <a:latin typeface="+mn-lt"/>
              </a:rPr>
            </a:br>
            <a:br>
              <a:rPr lang="en-US" sz="2200" dirty="0">
                <a:latin typeface="+mn-lt"/>
              </a:rPr>
            </a:br>
            <a:r>
              <a:rPr lang="en-US" sz="2200" dirty="0">
                <a:latin typeface="+mn-lt"/>
              </a:rPr>
              <a:t>Systemic Inclusion = Financial, Economic Educational &amp; Digital Inclusion</a:t>
            </a:r>
            <a:br>
              <a:rPr lang="en-US" sz="2000" b="1" dirty="0"/>
            </a:br>
            <a:br>
              <a:rPr lang="en-US" sz="2000" b="1" dirty="0"/>
            </a:br>
            <a:endParaRPr lang="en-US" sz="2000" dirty="0"/>
          </a:p>
        </p:txBody>
      </p:sp>
      <p:sp>
        <p:nvSpPr>
          <p:cNvPr id="2" name="Slide Number Placeholder 1"/>
          <p:cNvSpPr>
            <a:spLocks noGrp="1"/>
          </p:cNvSpPr>
          <p:nvPr>
            <p:ph type="sldNum" sz="quarter" idx="12"/>
          </p:nvPr>
        </p:nvSpPr>
        <p:spPr/>
        <p:txBody>
          <a:bodyPr/>
          <a:lstStyle/>
          <a:p>
            <a:fld id="{1267BF92-073C-4ECE-B084-A7F2B13135E2}" type="slidenum">
              <a:rPr lang="en-US" smtClean="0"/>
              <a:t>4</a:t>
            </a:fld>
            <a:endParaRPr lang="en-US"/>
          </a:p>
        </p:txBody>
      </p:sp>
    </p:spTree>
    <p:extLst>
      <p:ext uri="{BB962C8B-B14F-4D97-AF65-F5344CB8AC3E}">
        <p14:creationId xmlns:p14="http://schemas.microsoft.com/office/powerpoint/2010/main" val="3931838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20"/>
          <p:cNvSpPr txBox="1">
            <a:spLocks noGrp="1"/>
          </p:cNvSpPr>
          <p:nvPr>
            <p:ph type="title"/>
          </p:nvPr>
        </p:nvSpPr>
        <p:spPr>
          <a:xfrm>
            <a:off x="1295400" y="255134"/>
            <a:ext cx="9601200" cy="1036800"/>
          </a:xfrm>
          <a:prstGeom prst="rect">
            <a:avLst/>
          </a:prstGeom>
          <a:noFill/>
          <a:ln>
            <a:noFill/>
          </a:ln>
        </p:spPr>
        <p:txBody>
          <a:bodyPr spcFirstLastPara="1" wrap="square" lIns="91425" tIns="45700" rIns="91425" bIns="45700" anchor="b" anchorCtr="0">
            <a:normAutofit/>
          </a:bodyPr>
          <a:lstStyle/>
          <a:p>
            <a:pPr marL="0" lvl="0" indent="0" algn="l" rtl="0">
              <a:spcBef>
                <a:spcPts val="0"/>
              </a:spcBef>
              <a:spcAft>
                <a:spcPts val="0"/>
              </a:spcAft>
              <a:buClr>
                <a:schemeClr val="lt1"/>
              </a:buClr>
              <a:buSzPts val="4000"/>
              <a:buFont typeface="Avenir"/>
              <a:buNone/>
            </a:pPr>
            <a:r>
              <a:rPr lang="en-US" sz="4000">
                <a:latin typeface="Raleway"/>
                <a:ea typeface="Raleway"/>
                <a:cs typeface="Raleway"/>
                <a:sym typeface="Raleway"/>
              </a:rPr>
              <a:t>Digital Equity Ecosystems</a:t>
            </a:r>
            <a:endParaRPr sz="4000">
              <a:latin typeface="Raleway"/>
              <a:ea typeface="Raleway"/>
              <a:cs typeface="Raleway"/>
              <a:sym typeface="Raleway"/>
            </a:endParaRPr>
          </a:p>
        </p:txBody>
      </p:sp>
      <p:sp>
        <p:nvSpPr>
          <p:cNvPr id="193" name="Google Shape;193;p20"/>
          <p:cNvSpPr txBox="1">
            <a:spLocks noGrp="1"/>
          </p:cNvSpPr>
          <p:nvPr>
            <p:ph type="sldNum" idx="12"/>
          </p:nvPr>
        </p:nvSpPr>
        <p:spPr>
          <a:xfrm>
            <a:off x="9525000" y="6374999"/>
            <a:ext cx="1371600" cy="27432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9pPr>
          </a:lstStyle>
          <a:p>
            <a:pPr marL="0" lvl="0" indent="0" algn="r" rtl="0">
              <a:spcBef>
                <a:spcPts val="0"/>
              </a:spcBef>
              <a:spcAft>
                <a:spcPts val="0"/>
              </a:spcAft>
              <a:buClr>
                <a:srgbClr val="000000"/>
              </a:buClr>
              <a:buSzPts val="1000"/>
              <a:buFont typeface="Arial"/>
              <a:buNone/>
            </a:pPr>
            <a:fld id="{00000000-1234-1234-1234-123412341234}" type="slidenum">
              <a:rPr lang="en-US" smtClean="0"/>
              <a:pPr marL="0" lvl="0" indent="0" algn="r" rtl="0">
                <a:spcBef>
                  <a:spcPts val="0"/>
                </a:spcBef>
                <a:spcAft>
                  <a:spcPts val="0"/>
                </a:spcAft>
                <a:buClr>
                  <a:srgbClr val="000000"/>
                </a:buClr>
                <a:buSzPts val="1000"/>
                <a:buFont typeface="Arial"/>
                <a:buNone/>
              </a:pPr>
              <a:t>40</a:t>
            </a:fld>
            <a:endParaRPr/>
          </a:p>
        </p:txBody>
      </p:sp>
      <p:pic>
        <p:nvPicPr>
          <p:cNvPr id="194" name="Google Shape;194;p20"/>
          <p:cNvPicPr preferRelativeResize="0"/>
          <p:nvPr/>
        </p:nvPicPr>
        <p:blipFill>
          <a:blip r:embed="rId3">
            <a:alphaModFix/>
          </a:blip>
          <a:stretch>
            <a:fillRect/>
          </a:stretch>
        </p:blipFill>
        <p:spPr>
          <a:xfrm>
            <a:off x="1146725" y="1551300"/>
            <a:ext cx="6882893" cy="5306699"/>
          </a:xfrm>
          <a:prstGeom prst="rect">
            <a:avLst/>
          </a:prstGeom>
          <a:noFill/>
          <a:ln>
            <a:noFill/>
          </a:ln>
        </p:spPr>
      </p:pic>
      <p:pic>
        <p:nvPicPr>
          <p:cNvPr id="195" name="Google Shape;195;p20"/>
          <p:cNvPicPr preferRelativeResize="0"/>
          <p:nvPr/>
        </p:nvPicPr>
        <p:blipFill>
          <a:blip r:embed="rId4">
            <a:alphaModFix/>
          </a:blip>
          <a:stretch>
            <a:fillRect/>
          </a:stretch>
        </p:blipFill>
        <p:spPr>
          <a:xfrm>
            <a:off x="8338600" y="1551300"/>
            <a:ext cx="3853399" cy="2182601"/>
          </a:xfrm>
          <a:prstGeom prst="rect">
            <a:avLst/>
          </a:prstGeom>
          <a:noFill/>
          <a:ln>
            <a:noFill/>
          </a:ln>
        </p:spPr>
      </p:pic>
      <p:sp>
        <p:nvSpPr>
          <p:cNvPr id="196" name="Google Shape;196;p20"/>
          <p:cNvSpPr txBox="1"/>
          <p:nvPr/>
        </p:nvSpPr>
        <p:spPr>
          <a:xfrm>
            <a:off x="8338600" y="3841125"/>
            <a:ext cx="3529500" cy="9234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600">
                <a:latin typeface="Raleway"/>
                <a:ea typeface="Raleway"/>
                <a:cs typeface="Raleway"/>
                <a:sym typeface="Raleway"/>
              </a:rPr>
              <a:t>https://www.sipa.columbia.edu/academics/capstone-projects/guide-fighting-digital-redlining</a:t>
            </a:r>
            <a:endParaRPr sz="1600">
              <a:latin typeface="Raleway"/>
              <a:ea typeface="Raleway"/>
              <a:cs typeface="Raleway"/>
              <a:sym typeface="Raleway"/>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21"/>
          <p:cNvSpPr txBox="1">
            <a:spLocks noGrp="1"/>
          </p:cNvSpPr>
          <p:nvPr>
            <p:ph type="title"/>
          </p:nvPr>
        </p:nvSpPr>
        <p:spPr>
          <a:xfrm>
            <a:off x="1295400" y="255134"/>
            <a:ext cx="9601200" cy="1036800"/>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lt1"/>
              </a:buClr>
              <a:buSzPts val="4000"/>
              <a:buFont typeface="Avenir"/>
              <a:buNone/>
            </a:pPr>
            <a:r>
              <a:rPr lang="en-US" sz="4000">
                <a:latin typeface="Raleway"/>
                <a:ea typeface="Raleway"/>
                <a:cs typeface="Raleway"/>
                <a:sym typeface="Raleway"/>
              </a:rPr>
              <a:t>Next Steps</a:t>
            </a:r>
            <a:endParaRPr sz="4000">
              <a:latin typeface="Raleway"/>
              <a:ea typeface="Raleway"/>
              <a:cs typeface="Raleway"/>
              <a:sym typeface="Raleway"/>
            </a:endParaRPr>
          </a:p>
        </p:txBody>
      </p:sp>
      <p:sp>
        <p:nvSpPr>
          <p:cNvPr id="202" name="Google Shape;202;p21"/>
          <p:cNvSpPr txBox="1">
            <a:spLocks noGrp="1"/>
          </p:cNvSpPr>
          <p:nvPr>
            <p:ph type="body" idx="1"/>
          </p:nvPr>
        </p:nvSpPr>
        <p:spPr>
          <a:xfrm>
            <a:off x="1295400" y="1828800"/>
            <a:ext cx="7042500" cy="4584300"/>
          </a:xfrm>
          <a:prstGeom prst="rect">
            <a:avLst/>
          </a:prstGeom>
          <a:noFill/>
          <a:ln>
            <a:noFill/>
          </a:ln>
        </p:spPr>
        <p:txBody>
          <a:bodyPr spcFirstLastPara="1" wrap="square" lIns="91425" tIns="45700" rIns="91425" bIns="45700" anchor="t" anchorCtr="0">
            <a:normAutofit/>
          </a:bodyPr>
          <a:lstStyle/>
          <a:p>
            <a:pPr marL="457200" lvl="0" indent="-457200" algn="l" rtl="0">
              <a:lnSpc>
                <a:spcPct val="115000"/>
              </a:lnSpc>
              <a:spcBef>
                <a:spcPts val="0"/>
              </a:spcBef>
              <a:spcAft>
                <a:spcPts val="0"/>
              </a:spcAft>
              <a:buClr>
                <a:schemeClr val="dk1"/>
              </a:buClr>
              <a:buSzPts val="3000"/>
              <a:buNone/>
            </a:pPr>
            <a:r>
              <a:rPr lang="en-US" sz="2800">
                <a:latin typeface="Raleway"/>
                <a:ea typeface="Raleway"/>
                <a:cs typeface="Raleway"/>
                <a:sym typeface="Raleway"/>
              </a:rPr>
              <a:t>Coalitions in NYC and beyond are key to promoting healthy digital equity ecosystems.</a:t>
            </a:r>
            <a:endParaRPr/>
          </a:p>
        </p:txBody>
      </p:sp>
      <p:sp>
        <p:nvSpPr>
          <p:cNvPr id="203" name="Google Shape;203;p21"/>
          <p:cNvSpPr txBox="1"/>
          <p:nvPr/>
        </p:nvSpPr>
        <p:spPr>
          <a:xfrm>
            <a:off x="8760950" y="5064544"/>
            <a:ext cx="31116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Raleway"/>
              <a:ea typeface="Raleway"/>
              <a:cs typeface="Raleway"/>
              <a:sym typeface="Raleway"/>
            </a:endParaRPr>
          </a:p>
        </p:txBody>
      </p:sp>
      <p:sp>
        <p:nvSpPr>
          <p:cNvPr id="204" name="Google Shape;204;p21"/>
          <p:cNvSpPr txBox="1">
            <a:spLocks noGrp="1"/>
          </p:cNvSpPr>
          <p:nvPr>
            <p:ph type="sldNum" idx="12"/>
          </p:nvPr>
        </p:nvSpPr>
        <p:spPr>
          <a:xfrm>
            <a:off x="9525000" y="6374999"/>
            <a:ext cx="1371600" cy="27432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9pPr>
          </a:lstStyle>
          <a:p>
            <a:pPr marL="0" lvl="0" indent="0" algn="r" rtl="0">
              <a:lnSpc>
                <a:spcPct val="100000"/>
              </a:lnSpc>
              <a:spcBef>
                <a:spcPts val="0"/>
              </a:spcBef>
              <a:spcAft>
                <a:spcPts val="0"/>
              </a:spcAft>
              <a:buSzPts val="1000"/>
              <a:buNone/>
            </a:pPr>
            <a:fld id="{00000000-1234-1234-1234-123412341234}" type="slidenum">
              <a:rPr lang="en-US" smtClean="0"/>
              <a:pPr marL="0" lvl="0" indent="0" algn="r" rtl="0">
                <a:lnSpc>
                  <a:spcPct val="100000"/>
                </a:lnSpc>
                <a:spcBef>
                  <a:spcPts val="0"/>
                </a:spcBef>
                <a:spcAft>
                  <a:spcPts val="0"/>
                </a:spcAft>
                <a:buSzPts val="1000"/>
                <a:buNone/>
              </a:pPr>
              <a:t>41</a:t>
            </a:fld>
            <a:endParaRPr>
              <a:latin typeface="Avenir"/>
              <a:ea typeface="Avenir"/>
              <a:cs typeface="Avenir"/>
              <a:sym typeface="Avenir"/>
            </a:endParaRPr>
          </a:p>
        </p:txBody>
      </p:sp>
      <p:sp>
        <p:nvSpPr>
          <p:cNvPr id="205" name="Google Shape;205;p21"/>
          <p:cNvSpPr txBox="1">
            <a:spLocks noGrp="1"/>
          </p:cNvSpPr>
          <p:nvPr>
            <p:ph type="ftr" idx="11"/>
          </p:nvPr>
        </p:nvSpPr>
        <p:spPr>
          <a:xfrm>
            <a:off x="1295399" y="6413157"/>
            <a:ext cx="7465500" cy="2361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SzPts val="1400"/>
              <a:buNone/>
            </a:pPr>
            <a:r>
              <a:rPr lang="en-US" sz="1200">
                <a:solidFill>
                  <a:schemeClr val="dk2"/>
                </a:solidFill>
                <a:latin typeface="Avenir"/>
                <a:ea typeface="Avenir"/>
                <a:cs typeface="Avenir"/>
                <a:sym typeface="Avenir"/>
              </a:rPr>
              <a:t>Digital Equity Presentation | Colin Rhinesmith, Ph.D. | Queens Public Library, August 30, 2022</a:t>
            </a:r>
            <a:endParaRPr sz="1200">
              <a:solidFill>
                <a:schemeClr val="dk2"/>
              </a:solidFill>
              <a:latin typeface="Avenir"/>
              <a:ea typeface="Avenir"/>
              <a:cs typeface="Avenir"/>
              <a:sym typeface="Avenir"/>
            </a:endParaRPr>
          </a:p>
        </p:txBody>
      </p:sp>
      <p:sp>
        <p:nvSpPr>
          <p:cNvPr id="206" name="Google Shape;206;p21"/>
          <p:cNvSpPr txBox="1"/>
          <p:nvPr/>
        </p:nvSpPr>
        <p:spPr>
          <a:xfrm>
            <a:off x="8556750" y="4572244"/>
            <a:ext cx="3111600" cy="585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a:solidFill>
                  <a:schemeClr val="dk2"/>
                </a:solidFill>
                <a:latin typeface="Raleway"/>
                <a:ea typeface="Raleway"/>
                <a:cs typeface="Raleway"/>
                <a:sym typeface="Raleway"/>
              </a:rPr>
              <a:t>https://thebronx.org/digital-equity/</a:t>
            </a:r>
            <a:endParaRPr sz="1600" b="0" i="0" u="none" strike="noStrike" cap="none">
              <a:solidFill>
                <a:srgbClr val="000000"/>
              </a:solidFill>
              <a:latin typeface="Raleway"/>
              <a:ea typeface="Raleway"/>
              <a:cs typeface="Raleway"/>
              <a:sym typeface="Raleway"/>
            </a:endParaRPr>
          </a:p>
        </p:txBody>
      </p:sp>
      <p:pic>
        <p:nvPicPr>
          <p:cNvPr id="207" name="Google Shape;207;p21"/>
          <p:cNvPicPr preferRelativeResize="0"/>
          <p:nvPr/>
        </p:nvPicPr>
        <p:blipFill>
          <a:blip r:embed="rId3">
            <a:alphaModFix/>
          </a:blip>
          <a:stretch>
            <a:fillRect/>
          </a:stretch>
        </p:blipFill>
        <p:spPr>
          <a:xfrm>
            <a:off x="-181675" y="-126375"/>
            <a:ext cx="12373673" cy="6984367"/>
          </a:xfrm>
          <a:prstGeom prst="rect">
            <a:avLst/>
          </a:prstGeom>
          <a:noFill/>
          <a:ln>
            <a:noFill/>
          </a:ln>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22"/>
          <p:cNvSpPr txBox="1">
            <a:spLocks noGrp="1"/>
          </p:cNvSpPr>
          <p:nvPr>
            <p:ph type="sldNum" idx="12"/>
          </p:nvPr>
        </p:nvSpPr>
        <p:spPr>
          <a:xfrm>
            <a:off x="11409033" y="6434934"/>
            <a:ext cx="731700" cy="423300"/>
          </a:xfrm>
          <a:prstGeom prst="rect">
            <a:avLst/>
          </a:prstGeom>
        </p:spPr>
        <p:txBody>
          <a:bodyPr spcFirstLastPara="1" wrap="square" lIns="91425" tIns="45700" rIns="91425" bIns="45700" anchor="t" anchorCtr="0">
            <a:noAutofit/>
          </a:bodyPr>
          <a:lstStyle/>
          <a:p>
            <a:pPr marL="0" lvl="0" indent="0" algn="r" rtl="0">
              <a:spcBef>
                <a:spcPts val="0"/>
              </a:spcBef>
              <a:spcAft>
                <a:spcPts val="0"/>
              </a:spcAft>
              <a:buNone/>
            </a:pPr>
            <a:fld id="{00000000-1234-1234-1234-123412341234}" type="slidenum">
              <a:rPr lang="en-US"/>
              <a:t>42</a:t>
            </a:fld>
            <a:endParaRPr/>
          </a:p>
        </p:txBody>
      </p:sp>
      <p:sp>
        <p:nvSpPr>
          <p:cNvPr id="213" name="Google Shape;213;p22"/>
          <p:cNvSpPr txBox="1"/>
          <p:nvPr/>
        </p:nvSpPr>
        <p:spPr>
          <a:xfrm>
            <a:off x="236346" y="1741725"/>
            <a:ext cx="4521600" cy="7389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3200" b="1">
                <a:latin typeface="Oswald"/>
                <a:ea typeface="Oswald"/>
                <a:cs typeface="Oswald"/>
                <a:sym typeface="Oswald"/>
              </a:rPr>
              <a:t>Coalition Impact</a:t>
            </a:r>
            <a:r>
              <a:rPr lang="en-US" sz="3200">
                <a:latin typeface="Oswald"/>
                <a:ea typeface="Oswald"/>
                <a:cs typeface="Oswald"/>
                <a:sym typeface="Oswald"/>
              </a:rPr>
              <a:t> </a:t>
            </a:r>
            <a:endParaRPr sz="3200" i="1">
              <a:latin typeface="Oswald"/>
              <a:ea typeface="Oswald"/>
              <a:cs typeface="Oswald"/>
              <a:sym typeface="Oswald"/>
            </a:endParaRPr>
          </a:p>
        </p:txBody>
      </p:sp>
      <p:sp>
        <p:nvSpPr>
          <p:cNvPr id="214" name="Google Shape;214;p22"/>
          <p:cNvSpPr txBox="1"/>
          <p:nvPr/>
        </p:nvSpPr>
        <p:spPr>
          <a:xfrm>
            <a:off x="236346" y="3265725"/>
            <a:ext cx="4521600" cy="7389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3200" b="1">
                <a:latin typeface="Oswald"/>
                <a:ea typeface="Oswald"/>
                <a:cs typeface="Oswald"/>
                <a:sym typeface="Oswald"/>
              </a:rPr>
              <a:t>Coalition Strength</a:t>
            </a:r>
            <a:r>
              <a:rPr lang="en-US" sz="3200">
                <a:latin typeface="Oswald"/>
                <a:ea typeface="Oswald"/>
                <a:cs typeface="Oswald"/>
                <a:sym typeface="Oswald"/>
              </a:rPr>
              <a:t> </a:t>
            </a:r>
            <a:endParaRPr sz="3200" i="1">
              <a:latin typeface="Oswald"/>
              <a:ea typeface="Oswald"/>
              <a:cs typeface="Oswald"/>
              <a:sym typeface="Oswald"/>
            </a:endParaRPr>
          </a:p>
        </p:txBody>
      </p:sp>
      <p:sp>
        <p:nvSpPr>
          <p:cNvPr id="215" name="Google Shape;215;p22"/>
          <p:cNvSpPr txBox="1"/>
          <p:nvPr/>
        </p:nvSpPr>
        <p:spPr>
          <a:xfrm>
            <a:off x="236346" y="4789725"/>
            <a:ext cx="4521600" cy="7389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3200" b="1">
                <a:latin typeface="Oswald"/>
                <a:ea typeface="Oswald"/>
                <a:cs typeface="Oswald"/>
                <a:sym typeface="Oswald"/>
              </a:rPr>
              <a:t>Coalition Health</a:t>
            </a:r>
            <a:endParaRPr sz="3200" i="1">
              <a:latin typeface="Oswald"/>
              <a:ea typeface="Oswald"/>
              <a:cs typeface="Oswald"/>
              <a:sym typeface="Oswald"/>
            </a:endParaRPr>
          </a:p>
        </p:txBody>
      </p:sp>
      <p:sp>
        <p:nvSpPr>
          <p:cNvPr id="216" name="Google Shape;216;p22"/>
          <p:cNvSpPr txBox="1"/>
          <p:nvPr/>
        </p:nvSpPr>
        <p:spPr>
          <a:xfrm>
            <a:off x="4127112" y="4621725"/>
            <a:ext cx="7281900" cy="1813200"/>
          </a:xfrm>
          <a:prstGeom prst="rect">
            <a:avLst/>
          </a:prstGeom>
          <a:noFill/>
          <a:ln>
            <a:noFill/>
          </a:ln>
        </p:spPr>
        <p:txBody>
          <a:bodyPr spcFirstLastPara="1" wrap="square" lIns="121900" tIns="121900" rIns="121900" bIns="121900" anchor="t" anchorCtr="0">
            <a:spAutoFit/>
          </a:bodyPr>
          <a:lstStyle/>
          <a:p>
            <a:pPr marL="457200" lvl="0" indent="-342900" algn="l" rtl="0">
              <a:lnSpc>
                <a:spcPct val="115000"/>
              </a:lnSpc>
              <a:spcBef>
                <a:spcPts val="0"/>
              </a:spcBef>
              <a:spcAft>
                <a:spcPts val="0"/>
              </a:spcAft>
              <a:buSzPts val="1800"/>
              <a:buFont typeface="Source Sans Pro"/>
              <a:buChar char="●"/>
            </a:pPr>
            <a:r>
              <a:rPr lang="en-US" sz="1800">
                <a:latin typeface="Source Sans Pro"/>
                <a:ea typeface="Source Sans Pro"/>
                <a:cs typeface="Source Sans Pro"/>
                <a:sym typeface="Source Sans Pro"/>
              </a:rPr>
              <a:t>indicators related to the organization, structure, and relationships of a coalition as a whole (e.g., how much trust exists across members, how aligned they are to coalition goals, how equitable governance of the coalition is)</a:t>
            </a:r>
            <a:endParaRPr sz="1800">
              <a:latin typeface="Source Sans Pro"/>
              <a:ea typeface="Source Sans Pro"/>
              <a:cs typeface="Source Sans Pro"/>
              <a:sym typeface="Source Sans Pro"/>
            </a:endParaRPr>
          </a:p>
          <a:p>
            <a:pPr marL="0" lvl="0" indent="0" algn="l" rtl="0">
              <a:spcBef>
                <a:spcPts val="0"/>
              </a:spcBef>
              <a:spcAft>
                <a:spcPts val="0"/>
              </a:spcAft>
              <a:buNone/>
            </a:pPr>
            <a:endParaRPr sz="1900">
              <a:latin typeface="Source Sans Pro"/>
              <a:ea typeface="Source Sans Pro"/>
              <a:cs typeface="Source Sans Pro"/>
              <a:sym typeface="Source Sans Pro"/>
            </a:endParaRPr>
          </a:p>
        </p:txBody>
      </p:sp>
      <p:sp>
        <p:nvSpPr>
          <p:cNvPr id="217" name="Google Shape;217;p22"/>
          <p:cNvSpPr txBox="1">
            <a:spLocks noGrp="1"/>
          </p:cNvSpPr>
          <p:nvPr>
            <p:ph type="title"/>
          </p:nvPr>
        </p:nvSpPr>
        <p:spPr>
          <a:xfrm>
            <a:off x="236375" y="255125"/>
            <a:ext cx="11172600" cy="1036800"/>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chemeClr val="lt1"/>
              </a:buClr>
              <a:buSzPct val="100000"/>
              <a:buFont typeface="Avenir"/>
              <a:buNone/>
            </a:pPr>
            <a:r>
              <a:rPr lang="en-US" sz="4000">
                <a:latin typeface="Raleway"/>
                <a:ea typeface="Raleway"/>
                <a:cs typeface="Raleway"/>
                <a:sym typeface="Raleway"/>
              </a:rPr>
              <a:t>Digital Equity Ecosystems Measurement </a:t>
            </a:r>
            <a:br>
              <a:rPr lang="en-US" sz="4000">
                <a:latin typeface="Raleway"/>
                <a:ea typeface="Raleway"/>
                <a:cs typeface="Raleway"/>
                <a:sym typeface="Raleway"/>
              </a:rPr>
            </a:br>
            <a:r>
              <a:rPr lang="en-US" sz="4000">
                <a:latin typeface="Raleway"/>
                <a:ea typeface="Raleway"/>
                <a:cs typeface="Raleway"/>
                <a:sym typeface="Raleway"/>
              </a:rPr>
              <a:t>(DEEM) Framework</a:t>
            </a:r>
            <a:endParaRPr sz="4000">
              <a:latin typeface="Raleway"/>
              <a:ea typeface="Raleway"/>
              <a:cs typeface="Raleway"/>
              <a:sym typeface="Raleway"/>
            </a:endParaRPr>
          </a:p>
        </p:txBody>
      </p:sp>
      <p:sp>
        <p:nvSpPr>
          <p:cNvPr id="218" name="Google Shape;218;p22"/>
          <p:cNvSpPr txBox="1"/>
          <p:nvPr/>
        </p:nvSpPr>
        <p:spPr>
          <a:xfrm>
            <a:off x="4127113" y="3415150"/>
            <a:ext cx="7281900" cy="1356000"/>
          </a:xfrm>
          <a:prstGeom prst="rect">
            <a:avLst/>
          </a:prstGeom>
          <a:noFill/>
          <a:ln>
            <a:noFill/>
          </a:ln>
        </p:spPr>
        <p:txBody>
          <a:bodyPr spcFirstLastPara="1" wrap="square" lIns="91425" tIns="91425" rIns="91425" bIns="91425" anchor="t" anchorCtr="0">
            <a:spAutoFit/>
          </a:bodyPr>
          <a:lstStyle/>
          <a:p>
            <a:pPr marL="457200" lvl="0" indent="-342900" algn="l" rtl="0">
              <a:lnSpc>
                <a:spcPct val="115000"/>
              </a:lnSpc>
              <a:spcBef>
                <a:spcPts val="0"/>
              </a:spcBef>
              <a:spcAft>
                <a:spcPts val="0"/>
              </a:spcAft>
              <a:buSzPts val="1800"/>
              <a:buFont typeface="Source Sans Pro"/>
              <a:buChar char="●"/>
            </a:pPr>
            <a:r>
              <a:rPr lang="en-US" sz="1800">
                <a:latin typeface="Source Sans Pro"/>
                <a:ea typeface="Source Sans Pro"/>
                <a:cs typeface="Source Sans Pro"/>
                <a:sym typeface="Source Sans Pro"/>
              </a:rPr>
              <a:t>indicators related to the capacities and efforts of coalition members related to the valued impacts of the coalition (e.g. the nature and reach of programs run by member organizations)</a:t>
            </a:r>
            <a:endParaRPr sz="1800">
              <a:latin typeface="Source Sans Pro"/>
              <a:ea typeface="Source Sans Pro"/>
              <a:cs typeface="Source Sans Pro"/>
              <a:sym typeface="Source Sans Pro"/>
            </a:endParaRPr>
          </a:p>
          <a:p>
            <a:pPr marL="0" lvl="0" indent="0" algn="l" rtl="0">
              <a:spcBef>
                <a:spcPts val="0"/>
              </a:spcBef>
              <a:spcAft>
                <a:spcPts val="0"/>
              </a:spcAft>
              <a:buNone/>
            </a:pPr>
            <a:endParaRPr>
              <a:latin typeface="Source Sans Pro"/>
              <a:ea typeface="Source Sans Pro"/>
              <a:cs typeface="Source Sans Pro"/>
              <a:sym typeface="Source Sans Pro"/>
            </a:endParaRPr>
          </a:p>
        </p:txBody>
      </p:sp>
      <p:sp>
        <p:nvSpPr>
          <p:cNvPr id="219" name="Google Shape;219;p22"/>
          <p:cNvSpPr txBox="1"/>
          <p:nvPr/>
        </p:nvSpPr>
        <p:spPr>
          <a:xfrm>
            <a:off x="4127113" y="1800200"/>
            <a:ext cx="7281900" cy="1674600"/>
          </a:xfrm>
          <a:prstGeom prst="rect">
            <a:avLst/>
          </a:prstGeom>
          <a:noFill/>
          <a:ln>
            <a:noFill/>
          </a:ln>
        </p:spPr>
        <p:txBody>
          <a:bodyPr spcFirstLastPara="1" wrap="square" lIns="91425" tIns="91425" rIns="91425" bIns="91425" anchor="t" anchorCtr="0">
            <a:spAutoFit/>
          </a:bodyPr>
          <a:lstStyle/>
          <a:p>
            <a:pPr marL="457200" lvl="0" indent="-342900" algn="l" rtl="0">
              <a:lnSpc>
                <a:spcPct val="115000"/>
              </a:lnSpc>
              <a:spcBef>
                <a:spcPts val="0"/>
              </a:spcBef>
              <a:spcAft>
                <a:spcPts val="0"/>
              </a:spcAft>
              <a:buSzPts val="1800"/>
              <a:buFont typeface="Source Sans Pro"/>
              <a:buChar char="●"/>
            </a:pPr>
            <a:r>
              <a:rPr lang="en-US" sz="1800">
                <a:latin typeface="Source Sans Pro"/>
                <a:ea typeface="Source Sans Pro"/>
                <a:cs typeface="Source Sans Pro"/>
                <a:sym typeface="Source Sans Pro"/>
              </a:rPr>
              <a:t>indicators related to positive changes to the lives of individuals and the broader community that a coalition is hoping to bring about through its efforts. (e.g., increased broadband access, increased digital literacy)</a:t>
            </a:r>
            <a:endParaRPr sz="1800">
              <a:latin typeface="Source Sans Pro"/>
              <a:ea typeface="Source Sans Pro"/>
              <a:cs typeface="Source Sans Pro"/>
              <a:sym typeface="Source Sans Pro"/>
            </a:endParaRPr>
          </a:p>
          <a:p>
            <a:pPr marL="0" lvl="0" indent="0" algn="l" rtl="0">
              <a:spcBef>
                <a:spcPts val="0"/>
              </a:spcBef>
              <a:spcAft>
                <a:spcPts val="0"/>
              </a:spcAft>
              <a:buNone/>
            </a:pPr>
            <a:endParaRPr>
              <a:latin typeface="Source Sans Pro"/>
              <a:ea typeface="Source Sans Pro"/>
              <a:cs typeface="Source Sans Pro"/>
              <a:sym typeface="Source Sans Pro"/>
            </a:endParaRPr>
          </a:p>
        </p:txBody>
      </p:sp>
      <p:pic>
        <p:nvPicPr>
          <p:cNvPr id="220" name="Google Shape;220;p22"/>
          <p:cNvPicPr preferRelativeResize="0"/>
          <p:nvPr/>
        </p:nvPicPr>
        <p:blipFill rotWithShape="1">
          <a:blip r:embed="rId3">
            <a:alphaModFix/>
          </a:blip>
          <a:srcRect/>
          <a:stretch/>
        </p:blipFill>
        <p:spPr>
          <a:xfrm>
            <a:off x="10264037" y="8062"/>
            <a:ext cx="1876679" cy="1388725"/>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sp>
        <p:nvSpPr>
          <p:cNvPr id="225" name="Google Shape;225;p23"/>
          <p:cNvSpPr txBox="1">
            <a:spLocks noGrp="1"/>
          </p:cNvSpPr>
          <p:nvPr>
            <p:ph type="title"/>
          </p:nvPr>
        </p:nvSpPr>
        <p:spPr>
          <a:xfrm>
            <a:off x="1295400" y="255125"/>
            <a:ext cx="10621200" cy="1036800"/>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chemeClr val="lt1"/>
              </a:buClr>
              <a:buSzPct val="94735"/>
              <a:buFont typeface="Avenir"/>
              <a:buNone/>
            </a:pPr>
            <a:r>
              <a:rPr lang="en-US" sz="4222">
                <a:latin typeface="Avenir"/>
                <a:ea typeface="Avenir"/>
                <a:cs typeface="Avenir"/>
                <a:sym typeface="Avenir"/>
              </a:rPr>
              <a:t>Thank you! 								           Questions?</a:t>
            </a:r>
            <a:endParaRPr sz="4222"/>
          </a:p>
        </p:txBody>
      </p:sp>
      <p:sp>
        <p:nvSpPr>
          <p:cNvPr id="226" name="Google Shape;226;p23"/>
          <p:cNvSpPr txBox="1">
            <a:spLocks noGrp="1"/>
          </p:cNvSpPr>
          <p:nvPr>
            <p:ph type="sldNum" idx="12"/>
          </p:nvPr>
        </p:nvSpPr>
        <p:spPr>
          <a:xfrm>
            <a:off x="9525000" y="6374999"/>
            <a:ext cx="1371600" cy="27432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1"/>
                </a:solidFill>
                <a:latin typeface="Book Antiqua"/>
                <a:ea typeface="Book Antiqua"/>
                <a:cs typeface="Book Antiqua"/>
                <a:sym typeface="Book Antiqua"/>
              </a:defRPr>
            </a:lvl9pPr>
          </a:lstStyle>
          <a:p>
            <a:pPr marL="0" lvl="0" indent="0" algn="r" rtl="0">
              <a:lnSpc>
                <a:spcPct val="100000"/>
              </a:lnSpc>
              <a:spcBef>
                <a:spcPts val="0"/>
              </a:spcBef>
              <a:spcAft>
                <a:spcPts val="0"/>
              </a:spcAft>
              <a:buSzPts val="1000"/>
              <a:buNone/>
            </a:pPr>
            <a:fld id="{00000000-1234-1234-1234-123412341234}" type="slidenum">
              <a:rPr lang="en-US" smtClean="0"/>
              <a:pPr marL="0" lvl="0" indent="0" algn="r" rtl="0">
                <a:lnSpc>
                  <a:spcPct val="100000"/>
                </a:lnSpc>
                <a:spcBef>
                  <a:spcPts val="0"/>
                </a:spcBef>
                <a:spcAft>
                  <a:spcPts val="0"/>
                </a:spcAft>
                <a:buSzPts val="1000"/>
                <a:buNone/>
              </a:pPr>
              <a:t>43</a:t>
            </a:fld>
            <a:endParaRPr>
              <a:latin typeface="Avenir"/>
              <a:ea typeface="Avenir"/>
              <a:cs typeface="Avenir"/>
              <a:sym typeface="Avenir"/>
            </a:endParaRPr>
          </a:p>
        </p:txBody>
      </p:sp>
      <p:sp>
        <p:nvSpPr>
          <p:cNvPr id="227" name="Google Shape;227;p23"/>
          <p:cNvSpPr txBox="1"/>
          <p:nvPr/>
        </p:nvSpPr>
        <p:spPr>
          <a:xfrm>
            <a:off x="1295400" y="1828800"/>
            <a:ext cx="5878200" cy="4546200"/>
          </a:xfrm>
          <a:prstGeom prst="rect">
            <a:avLst/>
          </a:prstGeom>
          <a:noFill/>
          <a:ln>
            <a:noFill/>
          </a:ln>
        </p:spPr>
        <p:txBody>
          <a:bodyPr spcFirstLastPara="1" wrap="square" lIns="91425" tIns="45700" rIns="91425" bIns="45700" anchor="t" anchorCtr="0">
            <a:noAutofit/>
          </a:bodyPr>
          <a:lstStyle/>
          <a:p>
            <a:pPr marL="457200" marR="0" lvl="0" indent="-457200" algn="l" rtl="0">
              <a:lnSpc>
                <a:spcPct val="115000"/>
              </a:lnSpc>
              <a:spcBef>
                <a:spcPts val="0"/>
              </a:spcBef>
              <a:spcAft>
                <a:spcPts val="0"/>
              </a:spcAft>
              <a:buClr>
                <a:schemeClr val="dk1"/>
              </a:buClr>
              <a:buSzPts val="3200"/>
              <a:buFont typeface="Arial"/>
              <a:buNone/>
            </a:pPr>
            <a:r>
              <a:rPr lang="en-US" sz="3200" b="0" i="0" u="none" strike="noStrike" cap="none">
                <a:solidFill>
                  <a:schemeClr val="dk1"/>
                </a:solidFill>
                <a:latin typeface="Avenir"/>
                <a:ea typeface="Avenir"/>
                <a:cs typeface="Avenir"/>
                <a:sym typeface="Avenir"/>
              </a:rPr>
              <a:t>Colin Rhinesmith, Ph.D.</a:t>
            </a:r>
            <a:endParaRPr sz="3200" b="0" i="0" u="none" strike="noStrike" cap="none">
              <a:solidFill>
                <a:schemeClr val="dk1"/>
              </a:solidFill>
              <a:latin typeface="Avenir"/>
              <a:ea typeface="Avenir"/>
              <a:cs typeface="Avenir"/>
              <a:sym typeface="Avenir"/>
            </a:endParaRPr>
          </a:p>
          <a:p>
            <a:pPr marL="457200" marR="0" lvl="0" indent="-457200" algn="l" rtl="0">
              <a:lnSpc>
                <a:spcPct val="115000"/>
              </a:lnSpc>
              <a:spcBef>
                <a:spcPts val="0"/>
              </a:spcBef>
              <a:spcAft>
                <a:spcPts val="0"/>
              </a:spcAft>
              <a:buClr>
                <a:schemeClr val="dk1"/>
              </a:buClr>
              <a:buSzPts val="3200"/>
              <a:buFont typeface="Arial"/>
              <a:buNone/>
            </a:pPr>
            <a:endParaRPr sz="1200" b="0" i="0" u="none" strike="noStrike" cap="none">
              <a:solidFill>
                <a:schemeClr val="dk1"/>
              </a:solidFill>
              <a:latin typeface="Avenir"/>
              <a:ea typeface="Avenir"/>
              <a:cs typeface="Avenir"/>
              <a:sym typeface="Avenir"/>
            </a:endParaRPr>
          </a:p>
          <a:p>
            <a:pPr marL="0" marR="0" lvl="0" indent="0" algn="l" rtl="0">
              <a:lnSpc>
                <a:spcPct val="115000"/>
              </a:lnSpc>
              <a:spcBef>
                <a:spcPts val="0"/>
              </a:spcBef>
              <a:spcAft>
                <a:spcPts val="0"/>
              </a:spcAft>
              <a:buClr>
                <a:schemeClr val="dk2"/>
              </a:buClr>
              <a:buSzPts val="1100"/>
              <a:buFont typeface="Arial"/>
              <a:buNone/>
            </a:pPr>
            <a:r>
              <a:rPr lang="en-US" sz="2100" b="0" i="0" u="none" strike="noStrike" cap="none">
                <a:solidFill>
                  <a:schemeClr val="dk2"/>
                </a:solidFill>
                <a:latin typeface="Arial"/>
                <a:ea typeface="Arial"/>
                <a:cs typeface="Arial"/>
                <a:sym typeface="Arial"/>
              </a:rPr>
              <a:t>📧  </a:t>
            </a:r>
            <a:r>
              <a:rPr lang="en-US" sz="2800">
                <a:solidFill>
                  <a:schemeClr val="dk1"/>
                </a:solidFill>
                <a:latin typeface="Avenir"/>
                <a:ea typeface="Avenir"/>
                <a:cs typeface="Avenir"/>
                <a:sym typeface="Avenir"/>
              </a:rPr>
              <a:t>e</a:t>
            </a:r>
            <a:r>
              <a:rPr lang="en-US" sz="2800" b="0" i="0" u="none" strike="noStrike" cap="none">
                <a:solidFill>
                  <a:schemeClr val="dk1"/>
                </a:solidFill>
                <a:latin typeface="Avenir"/>
                <a:ea typeface="Avenir"/>
                <a:cs typeface="Avenir"/>
                <a:sym typeface="Avenir"/>
              </a:rPr>
              <a:t>mail: crhinesmith@metro.org</a:t>
            </a:r>
            <a:endParaRPr sz="2800" b="0" i="0" u="none" strike="noStrike" cap="none">
              <a:solidFill>
                <a:schemeClr val="dk1"/>
              </a:solidFill>
              <a:latin typeface="Avenir"/>
              <a:ea typeface="Avenir"/>
              <a:cs typeface="Avenir"/>
              <a:sym typeface="Avenir"/>
            </a:endParaRPr>
          </a:p>
          <a:p>
            <a:pPr marL="0" marR="0" lvl="0" indent="0" algn="l" rtl="0">
              <a:lnSpc>
                <a:spcPct val="115000"/>
              </a:lnSpc>
              <a:spcBef>
                <a:spcPts val="800"/>
              </a:spcBef>
              <a:spcAft>
                <a:spcPts val="0"/>
              </a:spcAft>
              <a:buClr>
                <a:schemeClr val="dk2"/>
              </a:buClr>
              <a:buSzPts val="1100"/>
              <a:buFont typeface="Arial"/>
              <a:buNone/>
            </a:pPr>
            <a:endParaRPr sz="800" b="0" i="0" u="none" strike="noStrike" cap="none">
              <a:solidFill>
                <a:schemeClr val="dk1"/>
              </a:solidFill>
              <a:latin typeface="Avenir"/>
              <a:ea typeface="Avenir"/>
              <a:cs typeface="Avenir"/>
              <a:sym typeface="Avenir"/>
            </a:endParaRPr>
          </a:p>
          <a:p>
            <a:pPr marL="0" marR="0" lvl="0" indent="0" algn="l" rtl="0">
              <a:lnSpc>
                <a:spcPct val="115000"/>
              </a:lnSpc>
              <a:spcBef>
                <a:spcPts val="800"/>
              </a:spcBef>
              <a:spcAft>
                <a:spcPts val="0"/>
              </a:spcAft>
              <a:buClr>
                <a:schemeClr val="dk2"/>
              </a:buClr>
              <a:buSzPts val="1100"/>
              <a:buFont typeface="Arial"/>
              <a:buNone/>
            </a:pPr>
            <a:r>
              <a:rPr lang="en-US" sz="2100" b="0" i="0" u="none" strike="noStrike" cap="none">
                <a:solidFill>
                  <a:schemeClr val="dk2"/>
                </a:solidFill>
                <a:latin typeface="Arial"/>
                <a:ea typeface="Arial"/>
                <a:cs typeface="Arial"/>
                <a:sym typeface="Arial"/>
              </a:rPr>
              <a:t>🌐</a:t>
            </a:r>
            <a:r>
              <a:rPr lang="en-US" sz="2100" b="1" i="0" u="none" strike="noStrike" cap="none">
                <a:solidFill>
                  <a:schemeClr val="dk2"/>
                </a:solidFill>
                <a:latin typeface="Arial"/>
                <a:ea typeface="Arial"/>
                <a:cs typeface="Arial"/>
                <a:sym typeface="Arial"/>
              </a:rPr>
              <a:t>  </a:t>
            </a:r>
            <a:r>
              <a:rPr lang="en-US" sz="2800">
                <a:solidFill>
                  <a:schemeClr val="dk1"/>
                </a:solidFill>
                <a:latin typeface="Avenir"/>
                <a:ea typeface="Avenir"/>
                <a:cs typeface="Avenir"/>
                <a:sym typeface="Avenir"/>
              </a:rPr>
              <a:t>w</a:t>
            </a:r>
            <a:r>
              <a:rPr lang="en-US" sz="2800" b="0" i="0" u="none" strike="noStrike" cap="none">
                <a:solidFill>
                  <a:schemeClr val="dk1"/>
                </a:solidFill>
                <a:latin typeface="Avenir"/>
                <a:ea typeface="Avenir"/>
                <a:cs typeface="Avenir"/>
                <a:sym typeface="Avenir"/>
              </a:rPr>
              <a:t>eb: https://crhinesmith.com</a:t>
            </a:r>
            <a:endParaRPr sz="2800" b="0" i="0" u="none" strike="noStrike" cap="none">
              <a:solidFill>
                <a:schemeClr val="dk1"/>
              </a:solidFill>
              <a:latin typeface="Avenir"/>
              <a:ea typeface="Avenir"/>
              <a:cs typeface="Avenir"/>
              <a:sym typeface="Avenir"/>
            </a:endParaRPr>
          </a:p>
          <a:p>
            <a:pPr marL="0" marR="0" lvl="0" indent="0" algn="l" rtl="0">
              <a:lnSpc>
                <a:spcPct val="115000"/>
              </a:lnSpc>
              <a:spcBef>
                <a:spcPts val="800"/>
              </a:spcBef>
              <a:spcAft>
                <a:spcPts val="0"/>
              </a:spcAft>
              <a:buClr>
                <a:schemeClr val="dk2"/>
              </a:buClr>
              <a:buSzPts val="1100"/>
              <a:buFont typeface="Arial"/>
              <a:buNone/>
            </a:pPr>
            <a:endParaRPr sz="800" b="0" i="0" u="none" strike="noStrike" cap="none">
              <a:solidFill>
                <a:schemeClr val="dk1"/>
              </a:solidFill>
              <a:latin typeface="Avenir"/>
              <a:ea typeface="Avenir"/>
              <a:cs typeface="Avenir"/>
              <a:sym typeface="Avenir"/>
            </a:endParaRPr>
          </a:p>
          <a:p>
            <a:pPr marL="0" marR="0" lvl="0" indent="0" algn="l" rtl="0">
              <a:lnSpc>
                <a:spcPct val="115000"/>
              </a:lnSpc>
              <a:spcBef>
                <a:spcPts val="800"/>
              </a:spcBef>
              <a:spcAft>
                <a:spcPts val="0"/>
              </a:spcAft>
              <a:buClr>
                <a:schemeClr val="dk2"/>
              </a:buClr>
              <a:buSzPts val="1100"/>
              <a:buFont typeface="Arial"/>
              <a:buNone/>
            </a:pPr>
            <a:r>
              <a:rPr lang="en-US" sz="2100" b="0" i="0" u="none" strike="noStrike" cap="none">
                <a:solidFill>
                  <a:schemeClr val="dk2"/>
                </a:solidFill>
                <a:latin typeface="Arial"/>
                <a:ea typeface="Arial"/>
                <a:cs typeface="Arial"/>
                <a:sym typeface="Arial"/>
              </a:rPr>
              <a:t>🐦  </a:t>
            </a:r>
            <a:r>
              <a:rPr lang="en-US" sz="2800" b="0" i="0" u="none" strike="noStrike" cap="none">
                <a:solidFill>
                  <a:schemeClr val="dk1"/>
                </a:solidFill>
                <a:latin typeface="Avenir"/>
                <a:ea typeface="Avenir"/>
                <a:cs typeface="Avenir"/>
                <a:sym typeface="Avenir"/>
              </a:rPr>
              <a:t>Twitter: @crhinesmith</a:t>
            </a:r>
            <a:endParaRPr sz="2800" b="0" i="0" u="none" strike="noStrike" cap="none">
              <a:solidFill>
                <a:schemeClr val="dk1"/>
              </a:solidFill>
              <a:latin typeface="Avenir"/>
              <a:ea typeface="Avenir"/>
              <a:cs typeface="Avenir"/>
              <a:sym typeface="Avenir"/>
            </a:endParaRPr>
          </a:p>
          <a:p>
            <a:pPr marL="457200" marR="0" lvl="0" indent="-457200" algn="l" rtl="0">
              <a:lnSpc>
                <a:spcPct val="90000"/>
              </a:lnSpc>
              <a:spcBef>
                <a:spcPts val="1800"/>
              </a:spcBef>
              <a:spcAft>
                <a:spcPts val="0"/>
              </a:spcAft>
              <a:buClr>
                <a:schemeClr val="dk1"/>
              </a:buClr>
              <a:buSzPts val="2800"/>
              <a:buFont typeface="Arial"/>
              <a:buNone/>
            </a:pPr>
            <a:endParaRPr sz="2800" b="0" i="0" u="none" strike="noStrike" cap="none">
              <a:solidFill>
                <a:schemeClr val="dk1"/>
              </a:solidFill>
              <a:latin typeface="Avenir"/>
              <a:ea typeface="Avenir"/>
              <a:cs typeface="Avenir"/>
              <a:sym typeface="Avenir"/>
            </a:endParaRPr>
          </a:p>
        </p:txBody>
      </p:sp>
      <p:pic>
        <p:nvPicPr>
          <p:cNvPr id="228" name="Google Shape;228;p23"/>
          <p:cNvPicPr preferRelativeResize="0"/>
          <p:nvPr/>
        </p:nvPicPr>
        <p:blipFill rotWithShape="1">
          <a:blip r:embed="rId3">
            <a:alphaModFix/>
          </a:blip>
          <a:srcRect/>
          <a:stretch/>
        </p:blipFill>
        <p:spPr>
          <a:xfrm>
            <a:off x="8145225" y="1828807"/>
            <a:ext cx="3723000" cy="3723000"/>
          </a:xfrm>
          <a:prstGeom prst="rect">
            <a:avLst/>
          </a:prstGeom>
          <a:noFill/>
          <a:ln>
            <a:noFill/>
          </a:ln>
        </p:spPr>
      </p:pic>
      <p:sp>
        <p:nvSpPr>
          <p:cNvPr id="229" name="Google Shape;229;p23"/>
          <p:cNvSpPr txBox="1"/>
          <p:nvPr/>
        </p:nvSpPr>
        <p:spPr>
          <a:xfrm>
            <a:off x="8145225" y="5551800"/>
            <a:ext cx="3723000" cy="6156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Raleway"/>
                <a:ea typeface="Raleway"/>
                <a:cs typeface="Raleway"/>
                <a:sym typeface="Raleway"/>
              </a:rPr>
              <a:t>https://www.flickr.com/photos/benichidori/2751248321/in/photolist</a:t>
            </a:r>
            <a:endParaRPr sz="1400" b="0" i="0" u="none" strike="noStrike" cap="none">
              <a:solidFill>
                <a:srgbClr val="000000"/>
              </a:solidFill>
              <a:latin typeface="Raleway"/>
              <a:ea typeface="Raleway"/>
              <a:cs typeface="Raleway"/>
              <a:sym typeface="Raleway"/>
            </a:endParaRPr>
          </a:p>
        </p:txBody>
      </p:sp>
      <p:pic>
        <p:nvPicPr>
          <p:cNvPr id="230" name="Google Shape;230;p23">
            <a:hlinkClick r:id="rId4"/>
          </p:cNvPr>
          <p:cNvPicPr preferRelativeResize="0"/>
          <p:nvPr/>
        </p:nvPicPr>
        <p:blipFill rotWithShape="1">
          <a:blip r:embed="rId5">
            <a:alphaModFix/>
          </a:blip>
          <a:srcRect/>
          <a:stretch/>
        </p:blipFill>
        <p:spPr>
          <a:xfrm>
            <a:off x="3697975" y="5281479"/>
            <a:ext cx="1073050" cy="378025"/>
          </a:xfrm>
          <a:prstGeom prst="rect">
            <a:avLst/>
          </a:prstGeom>
          <a:noFill/>
          <a:ln>
            <a:noFill/>
          </a:ln>
        </p:spPr>
      </p:pic>
      <p:sp>
        <p:nvSpPr>
          <p:cNvPr id="231" name="Google Shape;231;p23"/>
          <p:cNvSpPr txBox="1"/>
          <p:nvPr/>
        </p:nvSpPr>
        <p:spPr>
          <a:xfrm>
            <a:off x="1634100" y="5659500"/>
            <a:ext cx="5200800" cy="6156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Raleway"/>
                <a:ea typeface="Raleway"/>
                <a:cs typeface="Raleway"/>
                <a:sym typeface="Raleway"/>
              </a:rPr>
              <a:t>This work is licensed by Colin Rhinesmith under a Creative Commons Attribution ShareAlike 4.0 International </a:t>
            </a:r>
            <a:r>
              <a:rPr lang="en-US" sz="1400" b="0" i="0" u="sng" strike="noStrike" cap="none">
                <a:solidFill>
                  <a:schemeClr val="hlink"/>
                </a:solidFill>
                <a:latin typeface="Raleway"/>
                <a:ea typeface="Raleway"/>
                <a:cs typeface="Raleway"/>
                <a:sym typeface="Raleway"/>
                <a:hlinkClick r:id="rId4"/>
              </a:rPr>
              <a:t>License</a:t>
            </a:r>
            <a:r>
              <a:rPr lang="en-US" sz="1400" b="0" i="0" u="none" strike="noStrike" cap="none">
                <a:solidFill>
                  <a:srgbClr val="000000"/>
                </a:solidFill>
                <a:latin typeface="Raleway"/>
                <a:ea typeface="Raleway"/>
                <a:cs typeface="Raleway"/>
                <a:sym typeface="Raleway"/>
              </a:rPr>
              <a:t>.</a:t>
            </a:r>
            <a:endParaRPr sz="1400" b="0" i="0" u="none" strike="noStrike" cap="none">
              <a:solidFill>
                <a:srgbClr val="000000"/>
              </a:solidFill>
              <a:latin typeface="Raleway"/>
              <a:ea typeface="Raleway"/>
              <a:cs typeface="Raleway"/>
              <a:sym typeface="Raleway"/>
            </a:endParaRPr>
          </a:p>
        </p:txBody>
      </p:sp>
      <p:sp>
        <p:nvSpPr>
          <p:cNvPr id="232" name="Google Shape;232;p23"/>
          <p:cNvSpPr txBox="1">
            <a:spLocks noGrp="1"/>
          </p:cNvSpPr>
          <p:nvPr>
            <p:ph type="ftr" idx="11"/>
          </p:nvPr>
        </p:nvSpPr>
        <p:spPr>
          <a:xfrm>
            <a:off x="1295399" y="6413157"/>
            <a:ext cx="7465500" cy="2361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SzPts val="1400"/>
              <a:buNone/>
            </a:pPr>
            <a:r>
              <a:rPr lang="en-US" sz="1200">
                <a:solidFill>
                  <a:schemeClr val="dk2"/>
                </a:solidFill>
                <a:latin typeface="Avenir"/>
                <a:ea typeface="Avenir"/>
                <a:cs typeface="Avenir"/>
                <a:sym typeface="Avenir"/>
              </a:rPr>
              <a:t>Digital Equity Ecosystems Presentation | Colin Rhinesmith, Ph.D. | FDIC/NCDE Webinar, October 17, 2022</a:t>
            </a:r>
            <a:endParaRPr sz="1200">
              <a:solidFill>
                <a:schemeClr val="dk2"/>
              </a:solidFill>
              <a:latin typeface="Avenir"/>
              <a:ea typeface="Avenir"/>
              <a:cs typeface="Avenir"/>
              <a:sym typeface="Avenir"/>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4095117"/>
            <a:ext cx="7540442" cy="695375"/>
          </a:xfrm>
        </p:spPr>
        <p:txBody>
          <a:bodyPr>
            <a:normAutofit fontScale="90000"/>
          </a:bodyPr>
          <a:lstStyle/>
          <a:p>
            <a:pPr algn="ctr"/>
            <a:r>
              <a:rPr lang="en-US" sz="3200" dirty="0"/>
              <a:t>David Rothstein, Cities for Financial Empowerment Fund</a:t>
            </a:r>
            <a:br>
              <a:rPr lang="en-US" sz="3200" dirty="0"/>
            </a:br>
            <a:br>
              <a:rPr lang="en-US" sz="3200" dirty="0"/>
            </a:br>
            <a:r>
              <a:rPr lang="en-US" sz="3200" dirty="0">
                <a:hlinkClick r:id="rId2"/>
              </a:rPr>
              <a:t>Locations</a:t>
            </a:r>
            <a:r>
              <a:rPr lang="en-US" sz="3200" dirty="0"/>
              <a:t>          </a:t>
            </a:r>
            <a:r>
              <a:rPr lang="en-US" sz="3200" dirty="0">
                <a:hlinkClick r:id="rId2"/>
              </a:rPr>
              <a:t>Projects</a:t>
            </a:r>
            <a:r>
              <a:rPr lang="en-US" dirty="0"/>
              <a:t>	 </a:t>
            </a:r>
          </a:p>
        </p:txBody>
      </p:sp>
      <p:sp>
        <p:nvSpPr>
          <p:cNvPr id="4" name="Slide Number Placeholder 3"/>
          <p:cNvSpPr>
            <a:spLocks noGrp="1"/>
          </p:cNvSpPr>
          <p:nvPr>
            <p:ph type="sldNum" sz="quarter" idx="12"/>
          </p:nvPr>
        </p:nvSpPr>
        <p:spPr/>
        <p:txBody>
          <a:bodyPr/>
          <a:lstStyle/>
          <a:p>
            <a:fld id="{1267BF92-073C-4ECE-B084-A7F2B13135E2}" type="slidenum">
              <a:rPr lang="en-US" smtClean="0"/>
              <a:t>44</a:t>
            </a:fld>
            <a:endParaRPr lang="en-US"/>
          </a:p>
        </p:txBody>
      </p:sp>
    </p:spTree>
    <p:extLst>
      <p:ext uri="{BB962C8B-B14F-4D97-AF65-F5344CB8AC3E}">
        <p14:creationId xmlns:p14="http://schemas.microsoft.com/office/powerpoint/2010/main" val="22838777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t="21875" b="21875"/>
          <a:stretch>
            <a:fillRect/>
          </a:stretch>
        </p:blipFill>
        <p:spPr>
          <a:xfrm>
            <a:off x="0" y="0"/>
            <a:ext cx="12192000" cy="6858000"/>
          </a:xfrm>
          <a:prstGeom prst="rect">
            <a:avLst/>
          </a:prstGeom>
        </p:spPr>
      </p:pic>
      <p:pic>
        <p:nvPicPr>
          <p:cNvPr id="3" name="Picture 3"/>
          <p:cNvPicPr>
            <a:picLocks noChangeAspect="1"/>
          </p:cNvPicPr>
          <p:nvPr/>
        </p:nvPicPr>
        <p:blipFill>
          <a:blip r:embed="rId4"/>
          <a:srcRect t="2702" r="597" b="10772"/>
          <a:stretch>
            <a:fillRect/>
          </a:stretch>
        </p:blipFill>
        <p:spPr>
          <a:xfrm>
            <a:off x="6688135" y="473633"/>
            <a:ext cx="5503865" cy="6262098"/>
          </a:xfrm>
          <a:prstGeom prst="rect">
            <a:avLst/>
          </a:prstGeom>
        </p:spPr>
      </p:pic>
      <p:grpSp>
        <p:nvGrpSpPr>
          <p:cNvPr id="4" name="Group 4"/>
          <p:cNvGrpSpPr/>
          <p:nvPr/>
        </p:nvGrpSpPr>
        <p:grpSpPr>
          <a:xfrm>
            <a:off x="6621248" y="360309"/>
            <a:ext cx="5503865" cy="6488746"/>
            <a:chOff x="0" y="0"/>
            <a:chExt cx="3011737" cy="3550668"/>
          </a:xfrm>
        </p:grpSpPr>
        <p:sp>
          <p:nvSpPr>
            <p:cNvPr id="5" name="Freeform 5"/>
            <p:cNvSpPr/>
            <p:nvPr/>
          </p:nvSpPr>
          <p:spPr>
            <a:xfrm>
              <a:off x="0" y="0"/>
              <a:ext cx="3011737" cy="3550668"/>
            </a:xfrm>
            <a:custGeom>
              <a:avLst/>
              <a:gdLst/>
              <a:ahLst/>
              <a:cxnLst/>
              <a:rect l="l" t="t" r="r" b="b"/>
              <a:pathLst>
                <a:path w="3011737" h="3550668">
                  <a:moveTo>
                    <a:pt x="0" y="0"/>
                  </a:moveTo>
                  <a:lnTo>
                    <a:pt x="0" y="3550668"/>
                  </a:lnTo>
                  <a:lnTo>
                    <a:pt x="3011737" y="3550668"/>
                  </a:lnTo>
                  <a:lnTo>
                    <a:pt x="3011737" y="0"/>
                  </a:lnTo>
                  <a:lnTo>
                    <a:pt x="0" y="0"/>
                  </a:lnTo>
                  <a:close/>
                  <a:moveTo>
                    <a:pt x="2950777" y="3489708"/>
                  </a:moveTo>
                  <a:lnTo>
                    <a:pt x="59690" y="3489708"/>
                  </a:lnTo>
                  <a:lnTo>
                    <a:pt x="59690" y="59690"/>
                  </a:lnTo>
                  <a:lnTo>
                    <a:pt x="2950777" y="59690"/>
                  </a:lnTo>
                  <a:lnTo>
                    <a:pt x="2950777" y="3489708"/>
                  </a:lnTo>
                  <a:close/>
                </a:path>
              </a:pathLst>
            </a:custGeom>
            <a:solidFill>
              <a:srgbClr val="357AB7"/>
            </a:solidFill>
          </p:spPr>
        </p:sp>
      </p:grpSp>
      <p:sp>
        <p:nvSpPr>
          <p:cNvPr id="6" name="TextBox 6"/>
          <p:cNvSpPr txBox="1"/>
          <p:nvPr/>
        </p:nvSpPr>
        <p:spPr>
          <a:xfrm>
            <a:off x="137161" y="-66450"/>
            <a:ext cx="6241811" cy="3077766"/>
          </a:xfrm>
          <a:prstGeom prst="rect">
            <a:avLst/>
          </a:prstGeom>
        </p:spPr>
        <p:txBody>
          <a:bodyPr lIns="0" tIns="0" rIns="0" bIns="0" rtlCol="0" anchor="t">
            <a:spAutoFit/>
          </a:bodyPr>
          <a:lstStyle/>
          <a:p>
            <a:pPr defTabSz="609630">
              <a:lnSpc>
                <a:spcPts val="6037"/>
              </a:lnSpc>
            </a:pPr>
            <a:r>
              <a:rPr lang="en-US" sz="4312">
                <a:solidFill>
                  <a:srgbClr val="FFFFFF"/>
                </a:solidFill>
                <a:latin typeface="Embarcadero MVB Pro"/>
              </a:rPr>
              <a:t>Updated</a:t>
            </a:r>
          </a:p>
          <a:p>
            <a:pPr defTabSz="609630">
              <a:lnSpc>
                <a:spcPts val="6037"/>
              </a:lnSpc>
            </a:pPr>
            <a:r>
              <a:rPr lang="en-US" sz="4312">
                <a:solidFill>
                  <a:srgbClr val="FFFFFF"/>
                </a:solidFill>
                <a:latin typeface="Embarcadero MVB Pro"/>
              </a:rPr>
              <a:t>Bank On </a:t>
            </a:r>
          </a:p>
          <a:p>
            <a:pPr defTabSz="609630">
              <a:lnSpc>
                <a:spcPts val="6037"/>
              </a:lnSpc>
            </a:pPr>
            <a:r>
              <a:rPr lang="en-US" sz="4312">
                <a:solidFill>
                  <a:srgbClr val="FFFFFF"/>
                </a:solidFill>
                <a:latin typeface="Embarcadero MVB Pro"/>
              </a:rPr>
              <a:t>National Account Standards</a:t>
            </a:r>
          </a:p>
        </p:txBody>
      </p:sp>
      <p:pic>
        <p:nvPicPr>
          <p:cNvPr id="7" name="Picture 7"/>
          <p:cNvPicPr>
            <a:picLocks noChangeAspect="1"/>
          </p:cNvPicPr>
          <p:nvPr/>
        </p:nvPicPr>
        <p:blipFill>
          <a:blip r:embed="rId5">
            <a:alphaModFix amt="89000"/>
          </a:blip>
          <a:srcRect l="57185" r="13978"/>
          <a:stretch>
            <a:fillRect/>
          </a:stretch>
        </p:blipFill>
        <p:spPr>
          <a:xfrm>
            <a:off x="-24909" y="5123240"/>
            <a:ext cx="5490947" cy="5851217"/>
          </a:xfrm>
          <a:prstGeom prst="rect">
            <a:avLst/>
          </a:prstGeom>
        </p:spPr>
      </p:pic>
      <p:pic>
        <p:nvPicPr>
          <p:cNvPr id="8" name="Picture 8"/>
          <p:cNvPicPr>
            <a:picLocks noChangeAspect="1"/>
          </p:cNvPicPr>
          <p:nvPr/>
        </p:nvPicPr>
        <p:blipFill>
          <a:blip r:embed="rId6"/>
          <a:srcRect l="2838" r="72401" b="45695"/>
          <a:stretch>
            <a:fillRect/>
          </a:stretch>
        </p:blipFill>
        <p:spPr>
          <a:xfrm>
            <a:off x="2338679" y="3860794"/>
            <a:ext cx="1855981" cy="1942371"/>
          </a:xfrm>
          <a:prstGeom prst="rect">
            <a:avLst/>
          </a:prstGeom>
        </p:spPr>
      </p:pic>
      <p:sp>
        <p:nvSpPr>
          <p:cNvPr id="9" name="TextBox 9"/>
          <p:cNvSpPr txBox="1"/>
          <p:nvPr/>
        </p:nvSpPr>
        <p:spPr>
          <a:xfrm>
            <a:off x="3046346" y="5670320"/>
            <a:ext cx="605949" cy="397545"/>
          </a:xfrm>
          <a:prstGeom prst="rect">
            <a:avLst/>
          </a:prstGeom>
        </p:spPr>
        <p:txBody>
          <a:bodyPr lIns="0" tIns="0" rIns="0" bIns="0" rtlCol="0" anchor="t">
            <a:spAutoFit/>
          </a:bodyPr>
          <a:lstStyle/>
          <a:p>
            <a:pPr algn="ctr" defTabSz="609630">
              <a:lnSpc>
                <a:spcPts val="3117"/>
              </a:lnSpc>
            </a:pPr>
            <a:r>
              <a:rPr lang="en-US" sz="2227">
                <a:solidFill>
                  <a:srgbClr val="58585A"/>
                </a:solidFill>
                <a:latin typeface="Embarcadero MVB Pro"/>
              </a:rPr>
              <a:t>Safe</a:t>
            </a:r>
          </a:p>
        </p:txBody>
      </p:sp>
      <p:sp>
        <p:nvSpPr>
          <p:cNvPr id="10" name="TextBox 10"/>
          <p:cNvSpPr txBox="1"/>
          <p:nvPr/>
        </p:nvSpPr>
        <p:spPr>
          <a:xfrm>
            <a:off x="2550154" y="6123997"/>
            <a:ext cx="1712593" cy="730969"/>
          </a:xfrm>
          <a:prstGeom prst="rect">
            <a:avLst/>
          </a:prstGeom>
        </p:spPr>
        <p:txBody>
          <a:bodyPr lIns="0" tIns="0" rIns="0" bIns="0" rtlCol="0" anchor="t">
            <a:spAutoFit/>
          </a:bodyPr>
          <a:lstStyle/>
          <a:p>
            <a:pPr algn="ctr" defTabSz="609630">
              <a:lnSpc>
                <a:spcPts val="1877"/>
              </a:lnSpc>
              <a:spcBef>
                <a:spcPct val="0"/>
              </a:spcBef>
            </a:pPr>
            <a:r>
              <a:rPr lang="en-US" sz="1341">
                <a:solidFill>
                  <a:srgbClr val="000000"/>
                </a:solidFill>
                <a:latin typeface="Embarcadero MVB"/>
              </a:rPr>
              <a:t>No overdraft, non-sufficient funds, or dormancy fees</a:t>
            </a:r>
          </a:p>
        </p:txBody>
      </p:sp>
      <p:grpSp>
        <p:nvGrpSpPr>
          <p:cNvPr id="11" name="Group 11"/>
          <p:cNvGrpSpPr/>
          <p:nvPr/>
        </p:nvGrpSpPr>
        <p:grpSpPr>
          <a:xfrm>
            <a:off x="137160" y="3994677"/>
            <a:ext cx="1674605" cy="1674605"/>
            <a:chOff x="0" y="0"/>
            <a:chExt cx="3349209" cy="3349209"/>
          </a:xfrm>
        </p:grpSpPr>
        <p:grpSp>
          <p:nvGrpSpPr>
            <p:cNvPr id="12" name="Group 12"/>
            <p:cNvGrpSpPr/>
            <p:nvPr/>
          </p:nvGrpSpPr>
          <p:grpSpPr>
            <a:xfrm>
              <a:off x="0" y="0"/>
              <a:ext cx="3349209" cy="3349209"/>
              <a:chOff x="0" y="0"/>
              <a:chExt cx="6350000" cy="6350000"/>
            </a:xfrm>
          </p:grpSpPr>
          <p:sp>
            <p:nvSpPr>
              <p:cNvPr id="13" name="Freeform 13"/>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357AB7"/>
              </a:solidFill>
            </p:spPr>
          </p:sp>
        </p:grpSp>
        <p:grpSp>
          <p:nvGrpSpPr>
            <p:cNvPr id="14" name="Group 14"/>
            <p:cNvGrpSpPr/>
            <p:nvPr/>
          </p:nvGrpSpPr>
          <p:grpSpPr>
            <a:xfrm>
              <a:off x="281671" y="281671"/>
              <a:ext cx="2785868" cy="2785868"/>
              <a:chOff x="0" y="0"/>
              <a:chExt cx="6350000" cy="6350000"/>
            </a:xfrm>
          </p:grpSpPr>
          <p:sp>
            <p:nvSpPr>
              <p:cNvPr id="15" name="Freeform 1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4E90CB"/>
              </a:solidFill>
            </p:spPr>
          </p:sp>
        </p:grpSp>
        <p:pic>
          <p:nvPicPr>
            <p:cNvPr id="16" name="Picture 16"/>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845779" y="845779"/>
              <a:ext cx="1657651" cy="1657651"/>
            </a:xfrm>
            <a:prstGeom prst="rect">
              <a:avLst/>
            </a:prstGeom>
          </p:spPr>
        </p:pic>
      </p:grpSp>
      <p:sp>
        <p:nvSpPr>
          <p:cNvPr id="17" name="TextBox 17"/>
          <p:cNvSpPr txBox="1"/>
          <p:nvPr/>
        </p:nvSpPr>
        <p:spPr>
          <a:xfrm>
            <a:off x="296477" y="5670320"/>
            <a:ext cx="1355971" cy="384721"/>
          </a:xfrm>
          <a:prstGeom prst="rect">
            <a:avLst/>
          </a:prstGeom>
        </p:spPr>
        <p:txBody>
          <a:bodyPr lIns="0" tIns="0" rIns="0" bIns="0" rtlCol="0" anchor="t">
            <a:spAutoFit/>
          </a:bodyPr>
          <a:lstStyle/>
          <a:p>
            <a:pPr algn="ctr" defTabSz="609630">
              <a:lnSpc>
                <a:spcPts val="3021"/>
              </a:lnSpc>
            </a:pPr>
            <a:r>
              <a:rPr lang="en-US" sz="2158">
                <a:solidFill>
                  <a:srgbClr val="58585A"/>
                </a:solidFill>
                <a:latin typeface="Embarcadero MVB Pro"/>
              </a:rPr>
              <a:t>Affordable</a:t>
            </a:r>
          </a:p>
        </p:txBody>
      </p:sp>
      <p:sp>
        <p:nvSpPr>
          <p:cNvPr id="18" name="TextBox 18"/>
          <p:cNvSpPr txBox="1"/>
          <p:nvPr/>
        </p:nvSpPr>
        <p:spPr>
          <a:xfrm>
            <a:off x="137160" y="6123997"/>
            <a:ext cx="1981913" cy="730969"/>
          </a:xfrm>
          <a:prstGeom prst="rect">
            <a:avLst/>
          </a:prstGeom>
        </p:spPr>
        <p:txBody>
          <a:bodyPr lIns="0" tIns="0" rIns="0" bIns="0" rtlCol="0" anchor="t">
            <a:spAutoFit/>
          </a:bodyPr>
          <a:lstStyle/>
          <a:p>
            <a:pPr algn="ctr" defTabSz="609630">
              <a:lnSpc>
                <a:spcPts val="1877"/>
              </a:lnSpc>
              <a:spcBef>
                <a:spcPct val="0"/>
              </a:spcBef>
            </a:pPr>
            <a:r>
              <a:rPr lang="en-US" sz="1341">
                <a:solidFill>
                  <a:srgbClr val="000000"/>
                </a:solidFill>
                <a:latin typeface="Embarcadero MVB"/>
              </a:rPr>
              <a:t>Monthly fees of $5 or less with a low minimum opening deposit</a:t>
            </a:r>
          </a:p>
        </p:txBody>
      </p:sp>
      <p:pic>
        <p:nvPicPr>
          <p:cNvPr id="19" name="Picture 19"/>
          <p:cNvPicPr>
            <a:picLocks noChangeAspect="1"/>
          </p:cNvPicPr>
          <p:nvPr/>
        </p:nvPicPr>
        <p:blipFill>
          <a:blip r:embed="rId9"/>
          <a:srcRect l="70686" b="44289"/>
          <a:stretch>
            <a:fillRect/>
          </a:stretch>
        </p:blipFill>
        <p:spPr>
          <a:xfrm>
            <a:off x="4435959" y="3816849"/>
            <a:ext cx="2185289" cy="1981739"/>
          </a:xfrm>
          <a:prstGeom prst="rect">
            <a:avLst/>
          </a:prstGeom>
        </p:spPr>
      </p:pic>
      <p:sp>
        <p:nvSpPr>
          <p:cNvPr id="20" name="TextBox 20"/>
          <p:cNvSpPr txBox="1"/>
          <p:nvPr/>
        </p:nvSpPr>
        <p:spPr>
          <a:xfrm>
            <a:off x="4693828" y="6115051"/>
            <a:ext cx="1994307" cy="730969"/>
          </a:xfrm>
          <a:prstGeom prst="rect">
            <a:avLst/>
          </a:prstGeom>
        </p:spPr>
        <p:txBody>
          <a:bodyPr lIns="0" tIns="0" rIns="0" bIns="0" rtlCol="0" anchor="t">
            <a:spAutoFit/>
          </a:bodyPr>
          <a:lstStyle/>
          <a:p>
            <a:pPr algn="ctr" defTabSz="609630">
              <a:lnSpc>
                <a:spcPts val="1877"/>
              </a:lnSpc>
              <a:spcBef>
                <a:spcPct val="0"/>
              </a:spcBef>
            </a:pPr>
            <a:r>
              <a:rPr lang="en-US" sz="1341">
                <a:solidFill>
                  <a:srgbClr val="000000"/>
                </a:solidFill>
                <a:latin typeface="Embarcadero MVB"/>
              </a:rPr>
              <a:t>Pay bills, make deposits and withdrawals, and transfer money</a:t>
            </a:r>
          </a:p>
        </p:txBody>
      </p:sp>
      <p:sp>
        <p:nvSpPr>
          <p:cNvPr id="21" name="TextBox 21"/>
          <p:cNvSpPr txBox="1"/>
          <p:nvPr/>
        </p:nvSpPr>
        <p:spPr>
          <a:xfrm>
            <a:off x="5002991" y="5670320"/>
            <a:ext cx="1375980" cy="384721"/>
          </a:xfrm>
          <a:prstGeom prst="rect">
            <a:avLst/>
          </a:prstGeom>
        </p:spPr>
        <p:txBody>
          <a:bodyPr lIns="0" tIns="0" rIns="0" bIns="0" rtlCol="0" anchor="t">
            <a:spAutoFit/>
          </a:bodyPr>
          <a:lstStyle/>
          <a:p>
            <a:pPr algn="ctr" defTabSz="609630">
              <a:lnSpc>
                <a:spcPts val="3021"/>
              </a:lnSpc>
            </a:pPr>
            <a:r>
              <a:rPr lang="en-US" sz="2158">
                <a:solidFill>
                  <a:srgbClr val="58585A"/>
                </a:solidFill>
                <a:latin typeface="Embarcadero MVB Pro"/>
              </a:rPr>
              <a:t>Functional</a:t>
            </a:r>
          </a:p>
        </p:txBody>
      </p:sp>
    </p:spTree>
    <p:extLst>
      <p:ext uri="{BB962C8B-B14F-4D97-AF65-F5344CB8AC3E}">
        <p14:creationId xmlns:p14="http://schemas.microsoft.com/office/powerpoint/2010/main" val="23077728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17000"/>
          </a:blip>
          <a:srcRect/>
          <a:stretch>
            <a:fillRect/>
          </a:stretch>
        </p:blipFill>
        <p:spPr>
          <a:xfrm>
            <a:off x="1809362" y="1417586"/>
            <a:ext cx="8573276" cy="4726293"/>
          </a:xfrm>
          <a:prstGeom prst="rect">
            <a:avLst/>
          </a:prstGeom>
        </p:spPr>
      </p:pic>
      <p:sp>
        <p:nvSpPr>
          <p:cNvPr id="3" name="TextBox 3"/>
          <p:cNvSpPr txBox="1"/>
          <p:nvPr/>
        </p:nvSpPr>
        <p:spPr>
          <a:xfrm>
            <a:off x="15463" y="357644"/>
            <a:ext cx="11632595" cy="692497"/>
          </a:xfrm>
          <a:prstGeom prst="rect">
            <a:avLst/>
          </a:prstGeom>
        </p:spPr>
        <p:txBody>
          <a:bodyPr lIns="0" tIns="0" rIns="0" bIns="0" rtlCol="0" anchor="t">
            <a:spAutoFit/>
          </a:bodyPr>
          <a:lstStyle/>
          <a:p>
            <a:pPr algn="ctr" defTabSz="609630">
              <a:lnSpc>
                <a:spcPts val="5431"/>
              </a:lnSpc>
              <a:spcBef>
                <a:spcPct val="0"/>
              </a:spcBef>
            </a:pPr>
            <a:r>
              <a:rPr lang="en-US" sz="3880" dirty="0">
                <a:solidFill>
                  <a:srgbClr val="58585A"/>
                </a:solidFill>
                <a:latin typeface="Embarcadero MVB Pro"/>
              </a:rPr>
              <a:t>The National                                 Movement</a:t>
            </a:r>
          </a:p>
        </p:txBody>
      </p:sp>
      <p:pic>
        <p:nvPicPr>
          <p:cNvPr id="4" name="Picture 4"/>
          <p:cNvPicPr>
            <a:picLocks noChangeAspect="1"/>
          </p:cNvPicPr>
          <p:nvPr/>
        </p:nvPicPr>
        <p:blipFill>
          <a:blip r:embed="rId4"/>
          <a:srcRect/>
          <a:stretch>
            <a:fillRect/>
          </a:stretch>
        </p:blipFill>
        <p:spPr>
          <a:xfrm>
            <a:off x="4415158" y="268924"/>
            <a:ext cx="3399845" cy="1036953"/>
          </a:xfrm>
          <a:prstGeom prst="rect">
            <a:avLst/>
          </a:prstGeom>
        </p:spPr>
      </p:pic>
      <p:grpSp>
        <p:nvGrpSpPr>
          <p:cNvPr id="5" name="Group 5"/>
          <p:cNvGrpSpPr>
            <a:grpSpLocks noChangeAspect="1"/>
          </p:cNvGrpSpPr>
          <p:nvPr/>
        </p:nvGrpSpPr>
        <p:grpSpPr>
          <a:xfrm>
            <a:off x="8946098" y="6127751"/>
            <a:ext cx="500049" cy="500047"/>
            <a:chOff x="0" y="0"/>
            <a:chExt cx="6350000" cy="6349975"/>
          </a:xfrm>
        </p:grpSpPr>
        <p:sp>
          <p:nvSpPr>
            <p:cNvPr id="6" name="Freeform 6"/>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5"/>
              <a:stretch>
                <a:fillRect l="-185353" r="-39848"/>
              </a:stretch>
            </a:blipFill>
          </p:spPr>
        </p:sp>
      </p:grpSp>
      <p:grpSp>
        <p:nvGrpSpPr>
          <p:cNvPr id="7" name="Group 7"/>
          <p:cNvGrpSpPr/>
          <p:nvPr/>
        </p:nvGrpSpPr>
        <p:grpSpPr>
          <a:xfrm>
            <a:off x="-927983" y="2026222"/>
            <a:ext cx="22125165" cy="3337883"/>
            <a:chOff x="0" y="0"/>
            <a:chExt cx="11948198" cy="1802548"/>
          </a:xfrm>
        </p:grpSpPr>
        <p:sp>
          <p:nvSpPr>
            <p:cNvPr id="8" name="Freeform 8"/>
            <p:cNvSpPr/>
            <p:nvPr/>
          </p:nvSpPr>
          <p:spPr>
            <a:xfrm>
              <a:off x="0" y="0"/>
              <a:ext cx="11948198" cy="1802548"/>
            </a:xfrm>
            <a:custGeom>
              <a:avLst/>
              <a:gdLst/>
              <a:ahLst/>
              <a:cxnLst/>
              <a:rect l="l" t="t" r="r" b="b"/>
              <a:pathLst>
                <a:path w="11948198" h="1802548">
                  <a:moveTo>
                    <a:pt x="0" y="0"/>
                  </a:moveTo>
                  <a:lnTo>
                    <a:pt x="11948198" y="0"/>
                  </a:lnTo>
                  <a:lnTo>
                    <a:pt x="11948198" y="1802548"/>
                  </a:lnTo>
                  <a:lnTo>
                    <a:pt x="0" y="1802548"/>
                  </a:lnTo>
                  <a:close/>
                </a:path>
              </a:pathLst>
            </a:custGeom>
            <a:solidFill>
              <a:srgbClr val="D7EDFF">
                <a:alpha val="48627"/>
              </a:srgbClr>
            </a:solidFill>
          </p:spPr>
        </p:sp>
      </p:grpSp>
      <p:sp>
        <p:nvSpPr>
          <p:cNvPr id="9" name="TextBox 9"/>
          <p:cNvSpPr txBox="1"/>
          <p:nvPr/>
        </p:nvSpPr>
        <p:spPr>
          <a:xfrm>
            <a:off x="3179739" y="3301674"/>
            <a:ext cx="2915274" cy="1808187"/>
          </a:xfrm>
          <a:prstGeom prst="rect">
            <a:avLst/>
          </a:prstGeom>
        </p:spPr>
        <p:txBody>
          <a:bodyPr lIns="0" tIns="0" rIns="0" bIns="0" rtlCol="0" anchor="t">
            <a:spAutoFit/>
          </a:bodyPr>
          <a:lstStyle/>
          <a:p>
            <a:pPr algn="ctr" defTabSz="609630">
              <a:lnSpc>
                <a:spcPts val="3163"/>
              </a:lnSpc>
              <a:spcBef>
                <a:spcPct val="0"/>
              </a:spcBef>
            </a:pPr>
            <a:r>
              <a:rPr lang="en-US" sz="2259">
                <a:solidFill>
                  <a:srgbClr val="58585A"/>
                </a:solidFill>
                <a:latin typeface="Roboto Bold"/>
              </a:rPr>
              <a:t>Branches with certified accounts across all 50 states and Washington D.C. </a:t>
            </a:r>
          </a:p>
          <a:p>
            <a:pPr algn="ctr" defTabSz="609630">
              <a:lnSpc>
                <a:spcPts val="1259"/>
              </a:lnSpc>
              <a:spcBef>
                <a:spcPct val="0"/>
              </a:spcBef>
            </a:pPr>
            <a:endParaRPr lang="en-US" sz="2259">
              <a:solidFill>
                <a:srgbClr val="58585A"/>
              </a:solidFill>
              <a:latin typeface="Roboto Bold"/>
            </a:endParaRPr>
          </a:p>
        </p:txBody>
      </p:sp>
      <p:sp>
        <p:nvSpPr>
          <p:cNvPr id="10" name="TextBox 10"/>
          <p:cNvSpPr txBox="1"/>
          <p:nvPr/>
        </p:nvSpPr>
        <p:spPr>
          <a:xfrm>
            <a:off x="224625" y="2937285"/>
            <a:ext cx="2466227" cy="1590179"/>
          </a:xfrm>
          <a:prstGeom prst="rect">
            <a:avLst/>
          </a:prstGeom>
        </p:spPr>
        <p:txBody>
          <a:bodyPr lIns="0" tIns="0" rIns="0" bIns="0" rtlCol="0" anchor="t">
            <a:spAutoFit/>
          </a:bodyPr>
          <a:lstStyle/>
          <a:p>
            <a:pPr algn="ctr" defTabSz="609630">
              <a:lnSpc>
                <a:spcPts val="3131"/>
              </a:lnSpc>
              <a:spcBef>
                <a:spcPct val="0"/>
              </a:spcBef>
            </a:pPr>
            <a:endParaRPr sz="1200">
              <a:solidFill>
                <a:prstClr val="black"/>
              </a:solidFill>
              <a:latin typeface="Calibri"/>
            </a:endParaRPr>
          </a:p>
          <a:p>
            <a:pPr algn="ctr" defTabSz="609630">
              <a:lnSpc>
                <a:spcPts val="3131"/>
              </a:lnSpc>
              <a:spcBef>
                <a:spcPct val="0"/>
              </a:spcBef>
            </a:pPr>
            <a:r>
              <a:rPr lang="en-US" sz="2236">
                <a:solidFill>
                  <a:srgbClr val="58585A"/>
                </a:solidFill>
                <a:latin typeface="Embarcadero MVB Pro Bold"/>
              </a:rPr>
              <a:t>Bank On </a:t>
            </a:r>
          </a:p>
          <a:p>
            <a:pPr algn="ctr" defTabSz="609630">
              <a:lnSpc>
                <a:spcPts val="3131"/>
              </a:lnSpc>
              <a:spcBef>
                <a:spcPct val="0"/>
              </a:spcBef>
            </a:pPr>
            <a:r>
              <a:rPr lang="en-US" sz="2236">
                <a:solidFill>
                  <a:srgbClr val="58585A"/>
                </a:solidFill>
                <a:latin typeface="Embarcadero MVB Pro Bold"/>
              </a:rPr>
              <a:t>certified </a:t>
            </a:r>
          </a:p>
          <a:p>
            <a:pPr algn="ctr" defTabSz="609630">
              <a:lnSpc>
                <a:spcPts val="3131"/>
              </a:lnSpc>
              <a:spcBef>
                <a:spcPct val="0"/>
              </a:spcBef>
            </a:pPr>
            <a:r>
              <a:rPr lang="en-US" sz="2236">
                <a:solidFill>
                  <a:srgbClr val="58585A"/>
                </a:solidFill>
                <a:latin typeface="Embarcadero MVB Pro Bold"/>
              </a:rPr>
              <a:t>accounts </a:t>
            </a:r>
          </a:p>
        </p:txBody>
      </p:sp>
      <p:sp>
        <p:nvSpPr>
          <p:cNvPr id="11" name="TextBox 11"/>
          <p:cNvSpPr txBox="1"/>
          <p:nvPr/>
        </p:nvSpPr>
        <p:spPr>
          <a:xfrm>
            <a:off x="9196123" y="6211417"/>
            <a:ext cx="2967289" cy="333425"/>
          </a:xfrm>
          <a:prstGeom prst="rect">
            <a:avLst/>
          </a:prstGeom>
        </p:spPr>
        <p:txBody>
          <a:bodyPr lIns="0" tIns="0" rIns="0" bIns="0" rtlCol="0" anchor="t">
            <a:spAutoFit/>
          </a:bodyPr>
          <a:lstStyle/>
          <a:p>
            <a:pPr algn="ctr" defTabSz="609630">
              <a:lnSpc>
                <a:spcPts val="2599"/>
              </a:lnSpc>
              <a:spcBef>
                <a:spcPct val="0"/>
              </a:spcBef>
            </a:pPr>
            <a:r>
              <a:rPr lang="en-US" sz="1856">
                <a:solidFill>
                  <a:srgbClr val="58585A"/>
                </a:solidFill>
                <a:latin typeface="Embarcadero MVB Pro"/>
              </a:rPr>
              <a:t>= Bank On Coalitions</a:t>
            </a:r>
          </a:p>
        </p:txBody>
      </p:sp>
      <p:sp>
        <p:nvSpPr>
          <p:cNvPr id="12" name="TextBox 12"/>
          <p:cNvSpPr txBox="1"/>
          <p:nvPr/>
        </p:nvSpPr>
        <p:spPr>
          <a:xfrm>
            <a:off x="470672" y="2131142"/>
            <a:ext cx="2045753" cy="1077218"/>
          </a:xfrm>
          <a:prstGeom prst="rect">
            <a:avLst/>
          </a:prstGeom>
        </p:spPr>
        <p:txBody>
          <a:bodyPr lIns="0" tIns="0" rIns="0" bIns="0" rtlCol="0" anchor="t">
            <a:spAutoFit/>
          </a:bodyPr>
          <a:lstStyle/>
          <a:p>
            <a:pPr algn="ctr" defTabSz="609630">
              <a:lnSpc>
                <a:spcPts val="8430"/>
              </a:lnSpc>
              <a:spcBef>
                <a:spcPct val="0"/>
              </a:spcBef>
            </a:pPr>
            <a:r>
              <a:rPr lang="en-US" sz="6022">
                <a:solidFill>
                  <a:srgbClr val="357AB7"/>
                </a:solidFill>
                <a:latin typeface="Embarcadero MVB Pro"/>
              </a:rPr>
              <a:t>260+ </a:t>
            </a:r>
          </a:p>
        </p:txBody>
      </p:sp>
      <p:sp>
        <p:nvSpPr>
          <p:cNvPr id="13" name="TextBox 13"/>
          <p:cNvSpPr txBox="1"/>
          <p:nvPr/>
        </p:nvSpPr>
        <p:spPr>
          <a:xfrm>
            <a:off x="3174780" y="2131142"/>
            <a:ext cx="3057397" cy="1077218"/>
          </a:xfrm>
          <a:prstGeom prst="rect">
            <a:avLst/>
          </a:prstGeom>
        </p:spPr>
        <p:txBody>
          <a:bodyPr lIns="0" tIns="0" rIns="0" bIns="0" rtlCol="0" anchor="t">
            <a:spAutoFit/>
          </a:bodyPr>
          <a:lstStyle/>
          <a:p>
            <a:pPr algn="ctr" defTabSz="609630">
              <a:lnSpc>
                <a:spcPts val="8430"/>
              </a:lnSpc>
              <a:spcBef>
                <a:spcPct val="0"/>
              </a:spcBef>
            </a:pPr>
            <a:r>
              <a:rPr lang="en-US" sz="5867" dirty="0">
                <a:solidFill>
                  <a:srgbClr val="357AB7"/>
                </a:solidFill>
                <a:latin typeface="Embarcadero MVB Pro"/>
              </a:rPr>
              <a:t>46,000</a:t>
            </a:r>
            <a:r>
              <a:rPr lang="en-US" sz="6022" dirty="0">
                <a:solidFill>
                  <a:srgbClr val="357AB7"/>
                </a:solidFill>
                <a:latin typeface="Embarcadero MVB Pro"/>
              </a:rPr>
              <a:t>+</a:t>
            </a:r>
          </a:p>
        </p:txBody>
      </p:sp>
      <p:sp>
        <p:nvSpPr>
          <p:cNvPr id="14" name="TextBox 14"/>
          <p:cNvSpPr txBox="1"/>
          <p:nvPr/>
        </p:nvSpPr>
        <p:spPr>
          <a:xfrm>
            <a:off x="7111581" y="2131142"/>
            <a:ext cx="1529475" cy="1077218"/>
          </a:xfrm>
          <a:prstGeom prst="rect">
            <a:avLst/>
          </a:prstGeom>
        </p:spPr>
        <p:txBody>
          <a:bodyPr lIns="0" tIns="0" rIns="0" bIns="0" rtlCol="0" anchor="t">
            <a:spAutoFit/>
          </a:bodyPr>
          <a:lstStyle/>
          <a:p>
            <a:pPr algn="ctr" defTabSz="609630">
              <a:lnSpc>
                <a:spcPts val="8430"/>
              </a:lnSpc>
              <a:spcBef>
                <a:spcPct val="0"/>
              </a:spcBef>
            </a:pPr>
            <a:r>
              <a:rPr lang="en-US" sz="5867" dirty="0">
                <a:solidFill>
                  <a:srgbClr val="357AB7"/>
                </a:solidFill>
                <a:latin typeface="Embarcadero MVB Pro"/>
              </a:rPr>
              <a:t>47</a:t>
            </a:r>
            <a:r>
              <a:rPr lang="en-US" sz="6022" dirty="0">
                <a:solidFill>
                  <a:srgbClr val="357AB7"/>
                </a:solidFill>
                <a:latin typeface="Embarcadero MVB Pro"/>
              </a:rPr>
              <a:t>%</a:t>
            </a:r>
          </a:p>
        </p:txBody>
      </p:sp>
      <p:sp>
        <p:nvSpPr>
          <p:cNvPr id="15" name="TextBox 15"/>
          <p:cNvSpPr txBox="1"/>
          <p:nvPr/>
        </p:nvSpPr>
        <p:spPr>
          <a:xfrm>
            <a:off x="6643205" y="3263574"/>
            <a:ext cx="2466227" cy="1590179"/>
          </a:xfrm>
          <a:prstGeom prst="rect">
            <a:avLst/>
          </a:prstGeom>
        </p:spPr>
        <p:txBody>
          <a:bodyPr lIns="0" tIns="0" rIns="0" bIns="0" rtlCol="0" anchor="t">
            <a:spAutoFit/>
          </a:bodyPr>
          <a:lstStyle/>
          <a:p>
            <a:pPr algn="ctr" defTabSz="609630">
              <a:lnSpc>
                <a:spcPts val="3131"/>
              </a:lnSpc>
              <a:spcBef>
                <a:spcPct val="0"/>
              </a:spcBef>
            </a:pPr>
            <a:r>
              <a:rPr lang="en-US" sz="2236">
                <a:solidFill>
                  <a:srgbClr val="58585A"/>
                </a:solidFill>
                <a:latin typeface="Embarcadero MVB Pro Bold"/>
              </a:rPr>
              <a:t>of all US bank branches offer a Bank On certified account </a:t>
            </a:r>
          </a:p>
        </p:txBody>
      </p:sp>
      <p:sp>
        <p:nvSpPr>
          <p:cNvPr id="16" name="TextBox 16"/>
          <p:cNvSpPr txBox="1"/>
          <p:nvPr/>
        </p:nvSpPr>
        <p:spPr>
          <a:xfrm>
            <a:off x="9844950" y="2131142"/>
            <a:ext cx="1781131" cy="1077218"/>
          </a:xfrm>
          <a:prstGeom prst="rect">
            <a:avLst/>
          </a:prstGeom>
        </p:spPr>
        <p:txBody>
          <a:bodyPr lIns="0" tIns="0" rIns="0" bIns="0" rtlCol="0" anchor="t">
            <a:spAutoFit/>
          </a:bodyPr>
          <a:lstStyle/>
          <a:p>
            <a:pPr algn="ctr" defTabSz="609630">
              <a:lnSpc>
                <a:spcPts val="8430"/>
              </a:lnSpc>
              <a:spcBef>
                <a:spcPct val="0"/>
              </a:spcBef>
            </a:pPr>
            <a:r>
              <a:rPr lang="en-US" sz="6022">
                <a:solidFill>
                  <a:srgbClr val="357AB7"/>
                </a:solidFill>
                <a:latin typeface="Embarcadero MVB Pro"/>
              </a:rPr>
              <a:t>56% </a:t>
            </a:r>
          </a:p>
        </p:txBody>
      </p:sp>
      <p:sp>
        <p:nvSpPr>
          <p:cNvPr id="17" name="TextBox 17"/>
          <p:cNvSpPr txBox="1"/>
          <p:nvPr/>
        </p:nvSpPr>
        <p:spPr>
          <a:xfrm>
            <a:off x="9420748" y="3203790"/>
            <a:ext cx="2322227" cy="1795363"/>
          </a:xfrm>
          <a:prstGeom prst="rect">
            <a:avLst/>
          </a:prstGeom>
        </p:spPr>
        <p:txBody>
          <a:bodyPr lIns="0" tIns="0" rIns="0" bIns="0" rtlCol="0" anchor="t">
            <a:spAutoFit/>
          </a:bodyPr>
          <a:lstStyle/>
          <a:p>
            <a:pPr algn="ctr" defTabSz="609630">
              <a:lnSpc>
                <a:spcPts val="2795"/>
              </a:lnSpc>
              <a:spcBef>
                <a:spcPct val="0"/>
              </a:spcBef>
            </a:pPr>
            <a:r>
              <a:rPr lang="en-US" sz="1996">
                <a:solidFill>
                  <a:srgbClr val="58585A"/>
                </a:solidFill>
                <a:latin typeface="Embarcadero MVB Pro Bold"/>
              </a:rPr>
              <a:t>of the national deposit market share is comprised of FIs with Bank On certified accounts</a:t>
            </a:r>
          </a:p>
        </p:txBody>
      </p:sp>
    </p:spTree>
    <p:extLst>
      <p:ext uri="{BB962C8B-B14F-4D97-AF65-F5344CB8AC3E}">
        <p14:creationId xmlns:p14="http://schemas.microsoft.com/office/powerpoint/2010/main" val="24284628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t="21875" b="21875"/>
          <a:stretch>
            <a:fillRect/>
          </a:stretch>
        </p:blipFill>
        <p:spPr>
          <a:xfrm>
            <a:off x="0" y="0"/>
            <a:ext cx="12192000" cy="6858000"/>
          </a:xfrm>
          <a:prstGeom prst="rect">
            <a:avLst/>
          </a:prstGeom>
        </p:spPr>
      </p:pic>
      <p:pic>
        <p:nvPicPr>
          <p:cNvPr id="3" name="Picture 3"/>
          <p:cNvPicPr>
            <a:picLocks noChangeAspect="1"/>
          </p:cNvPicPr>
          <p:nvPr/>
        </p:nvPicPr>
        <p:blipFill>
          <a:blip r:embed="rId4"/>
          <a:srcRect l="6577" t="12005" r="933"/>
          <a:stretch>
            <a:fillRect/>
          </a:stretch>
        </p:blipFill>
        <p:spPr>
          <a:xfrm>
            <a:off x="3696532" y="288762"/>
            <a:ext cx="8112817" cy="6280477"/>
          </a:xfrm>
          <a:prstGeom prst="rect">
            <a:avLst/>
          </a:prstGeom>
        </p:spPr>
      </p:pic>
      <p:grpSp>
        <p:nvGrpSpPr>
          <p:cNvPr id="4" name="Group 4"/>
          <p:cNvGrpSpPr/>
          <p:nvPr/>
        </p:nvGrpSpPr>
        <p:grpSpPr>
          <a:xfrm>
            <a:off x="3565945" y="168444"/>
            <a:ext cx="8256103" cy="6488746"/>
            <a:chOff x="0" y="0"/>
            <a:chExt cx="4517773" cy="3550668"/>
          </a:xfrm>
        </p:grpSpPr>
        <p:sp>
          <p:nvSpPr>
            <p:cNvPr id="5" name="Freeform 5"/>
            <p:cNvSpPr/>
            <p:nvPr/>
          </p:nvSpPr>
          <p:spPr>
            <a:xfrm>
              <a:off x="0" y="0"/>
              <a:ext cx="4517773" cy="3550668"/>
            </a:xfrm>
            <a:custGeom>
              <a:avLst/>
              <a:gdLst/>
              <a:ahLst/>
              <a:cxnLst/>
              <a:rect l="l" t="t" r="r" b="b"/>
              <a:pathLst>
                <a:path w="4517773" h="3550668">
                  <a:moveTo>
                    <a:pt x="0" y="0"/>
                  </a:moveTo>
                  <a:lnTo>
                    <a:pt x="0" y="3550668"/>
                  </a:lnTo>
                  <a:lnTo>
                    <a:pt x="4517773" y="3550668"/>
                  </a:lnTo>
                  <a:lnTo>
                    <a:pt x="4517773" y="0"/>
                  </a:lnTo>
                  <a:lnTo>
                    <a:pt x="0" y="0"/>
                  </a:lnTo>
                  <a:close/>
                  <a:moveTo>
                    <a:pt x="4456813" y="3489708"/>
                  </a:moveTo>
                  <a:lnTo>
                    <a:pt x="59690" y="3489708"/>
                  </a:lnTo>
                  <a:lnTo>
                    <a:pt x="59690" y="59690"/>
                  </a:lnTo>
                  <a:lnTo>
                    <a:pt x="4456813" y="59690"/>
                  </a:lnTo>
                  <a:lnTo>
                    <a:pt x="4456813" y="3489708"/>
                  </a:lnTo>
                  <a:close/>
                </a:path>
              </a:pathLst>
            </a:custGeom>
            <a:solidFill>
              <a:srgbClr val="357AB7"/>
            </a:solidFill>
          </p:spPr>
        </p:sp>
      </p:grpSp>
      <p:sp>
        <p:nvSpPr>
          <p:cNvPr id="6" name="TextBox 6"/>
          <p:cNvSpPr txBox="1"/>
          <p:nvPr/>
        </p:nvSpPr>
        <p:spPr>
          <a:xfrm>
            <a:off x="95251" y="751166"/>
            <a:ext cx="3335579" cy="2821285"/>
          </a:xfrm>
          <a:prstGeom prst="rect">
            <a:avLst/>
          </a:prstGeom>
        </p:spPr>
        <p:txBody>
          <a:bodyPr lIns="0" tIns="0" rIns="0" bIns="0" rtlCol="0" anchor="t">
            <a:spAutoFit/>
          </a:bodyPr>
          <a:lstStyle/>
          <a:p>
            <a:pPr algn="ctr" defTabSz="609630">
              <a:lnSpc>
                <a:spcPts val="4425"/>
              </a:lnSpc>
            </a:pPr>
            <a:r>
              <a:rPr lang="en-US" sz="3161">
                <a:solidFill>
                  <a:srgbClr val="FFFFFF"/>
                </a:solidFill>
                <a:latin typeface="Embarcadero MVB Pro"/>
              </a:rPr>
              <a:t>American Bankers Association Promotes </a:t>
            </a:r>
          </a:p>
          <a:p>
            <a:pPr algn="ctr" defTabSz="609630">
              <a:lnSpc>
                <a:spcPts val="4425"/>
              </a:lnSpc>
            </a:pPr>
            <a:r>
              <a:rPr lang="en-US" sz="3161">
                <a:solidFill>
                  <a:srgbClr val="FFFFFF"/>
                </a:solidFill>
                <a:latin typeface="Embarcadero MVB Pro"/>
              </a:rPr>
              <a:t>Bank On</a:t>
            </a:r>
          </a:p>
          <a:p>
            <a:pPr algn="ctr" defTabSz="609630">
              <a:lnSpc>
                <a:spcPts val="4425"/>
              </a:lnSpc>
            </a:pPr>
            <a:r>
              <a:rPr lang="en-US" sz="3161">
                <a:solidFill>
                  <a:srgbClr val="FFFFFF"/>
                </a:solidFill>
                <a:latin typeface="Embarcadero MVB Pro"/>
              </a:rPr>
              <a:t>Certified Accounts</a:t>
            </a:r>
          </a:p>
        </p:txBody>
      </p:sp>
      <p:pic>
        <p:nvPicPr>
          <p:cNvPr id="7" name="Picture 7"/>
          <p:cNvPicPr>
            <a:picLocks noChangeAspect="1"/>
          </p:cNvPicPr>
          <p:nvPr/>
        </p:nvPicPr>
        <p:blipFill>
          <a:blip r:embed="rId5"/>
          <a:srcRect l="57185" r="13978"/>
          <a:stretch>
            <a:fillRect/>
          </a:stretch>
        </p:blipFill>
        <p:spPr>
          <a:xfrm>
            <a:off x="-3341952" y="5184240"/>
            <a:ext cx="5490947" cy="5851217"/>
          </a:xfrm>
          <a:prstGeom prst="rect">
            <a:avLst/>
          </a:prstGeom>
        </p:spPr>
      </p:pic>
    </p:spTree>
    <p:extLst>
      <p:ext uri="{BB962C8B-B14F-4D97-AF65-F5344CB8AC3E}">
        <p14:creationId xmlns:p14="http://schemas.microsoft.com/office/powerpoint/2010/main" val="30614188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4182581"/>
            <a:ext cx="7540442" cy="695375"/>
          </a:xfrm>
        </p:spPr>
        <p:txBody>
          <a:bodyPr>
            <a:normAutofit fontScale="90000"/>
          </a:bodyPr>
          <a:lstStyle/>
          <a:p>
            <a:pPr algn="ctr"/>
            <a:br>
              <a:rPr lang="en-US" sz="3200" dirty="0"/>
            </a:br>
            <a:br>
              <a:rPr lang="en-US" sz="3200" dirty="0"/>
            </a:br>
            <a:br>
              <a:rPr lang="en-US" sz="3200" dirty="0"/>
            </a:br>
            <a:r>
              <a:rPr lang="en-US" sz="3200" dirty="0"/>
              <a:t>Lauren Smith, US Department of Labor</a:t>
            </a:r>
            <a:br>
              <a:rPr lang="en-US" sz="3200" dirty="0"/>
            </a:br>
            <a:br>
              <a:rPr lang="en-US" sz="3200" dirty="0"/>
            </a:br>
            <a:r>
              <a:rPr lang="en-US" sz="3200" dirty="0"/>
              <a:t>(via </a:t>
            </a:r>
            <a:r>
              <a:rPr lang="en-US" sz="3200"/>
              <a:t>Share Screen)</a:t>
            </a:r>
            <a:br>
              <a:rPr lang="en-US" sz="3200" dirty="0"/>
            </a:br>
            <a:r>
              <a:rPr lang="en-US" dirty="0"/>
              <a:t>	</a:t>
            </a:r>
          </a:p>
        </p:txBody>
      </p:sp>
      <p:sp>
        <p:nvSpPr>
          <p:cNvPr id="4" name="Slide Number Placeholder 3"/>
          <p:cNvSpPr>
            <a:spLocks noGrp="1"/>
          </p:cNvSpPr>
          <p:nvPr>
            <p:ph type="sldNum" sz="quarter" idx="12"/>
          </p:nvPr>
        </p:nvSpPr>
        <p:spPr/>
        <p:txBody>
          <a:bodyPr/>
          <a:lstStyle/>
          <a:p>
            <a:fld id="{1267BF92-073C-4ECE-B084-A7F2B13135E2}" type="slidenum">
              <a:rPr lang="en-US" smtClean="0"/>
              <a:t>48</a:t>
            </a:fld>
            <a:endParaRPr lang="en-US"/>
          </a:p>
        </p:txBody>
      </p:sp>
    </p:spTree>
    <p:extLst>
      <p:ext uri="{BB962C8B-B14F-4D97-AF65-F5344CB8AC3E}">
        <p14:creationId xmlns:p14="http://schemas.microsoft.com/office/powerpoint/2010/main" val="41405844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3967897"/>
            <a:ext cx="7540442" cy="695375"/>
          </a:xfrm>
        </p:spPr>
        <p:txBody>
          <a:bodyPr>
            <a:normAutofit fontScale="90000"/>
          </a:bodyPr>
          <a:lstStyle/>
          <a:p>
            <a:pPr algn="ctr"/>
            <a:r>
              <a:rPr lang="en-US" sz="3200" dirty="0"/>
              <a:t>Jill Wheeler, Consumer Financial Protection Bureau</a:t>
            </a:r>
            <a:br>
              <a:rPr lang="en-US" sz="3200" dirty="0"/>
            </a:br>
            <a:br>
              <a:rPr lang="en-US" sz="3200" dirty="0"/>
            </a:br>
            <a:br>
              <a:rPr lang="en-US" sz="3200" dirty="0"/>
            </a:b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49</a:t>
            </a:fld>
            <a:endParaRPr lang="en-US"/>
          </a:p>
        </p:txBody>
      </p:sp>
    </p:spTree>
    <p:extLst>
      <p:ext uri="{BB962C8B-B14F-4D97-AF65-F5344CB8AC3E}">
        <p14:creationId xmlns:p14="http://schemas.microsoft.com/office/powerpoint/2010/main" val="29219306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1386840" y="988292"/>
            <a:ext cx="9144000" cy="3399166"/>
          </a:xfrm>
        </p:spPr>
        <p:txBody>
          <a:bodyPr>
            <a:normAutofit fontScale="90000"/>
          </a:bodyPr>
          <a:lstStyle/>
          <a:p>
            <a:r>
              <a:rPr lang="en-US" b="1" dirty="0">
                <a:solidFill>
                  <a:srgbClr val="FF0000"/>
                </a:solidFill>
              </a:rPr>
              <a:t>The views expressed in this presentation are the presenters and do not necessarily represent the views of the </a:t>
            </a:r>
            <a:r>
              <a:rPr lang="en-US" b="1" dirty="0"/>
              <a:t>Federal Deposit Insurance Corporation</a:t>
            </a:r>
          </a:p>
        </p:txBody>
      </p:sp>
    </p:spTree>
    <p:extLst>
      <p:ext uri="{BB962C8B-B14F-4D97-AF65-F5344CB8AC3E}">
        <p14:creationId xmlns:p14="http://schemas.microsoft.com/office/powerpoint/2010/main" val="39104660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13"/>
          <p:cNvSpPr txBox="1">
            <a:spLocks noGrp="1"/>
          </p:cNvSpPr>
          <p:nvPr>
            <p:ph type="title"/>
          </p:nvPr>
        </p:nvSpPr>
        <p:spPr>
          <a:xfrm>
            <a:off x="854924" y="2164953"/>
            <a:ext cx="10715627" cy="743347"/>
          </a:xfrm>
          <a:noFill/>
          <a:ln>
            <a:noFill/>
          </a:ln>
        </p:spPr>
        <p:txBody>
          <a:bodyPr spcFirstLastPara="1" vert="horz" wrap="square" lIns="91425" tIns="45700" rIns="91425" bIns="45700" rtlCol="0" anchor="ctr" anchorCtr="0">
            <a:noAutofit/>
          </a:bodyPr>
          <a:lstStyle/>
          <a:p>
            <a:r>
              <a:rPr lang="en-US" dirty="0">
                <a:solidFill>
                  <a:srgbClr val="35AE40"/>
                </a:solidFill>
              </a:rPr>
              <a:t>Your Money, Your Goals</a:t>
            </a:r>
          </a:p>
        </p:txBody>
      </p:sp>
      <p:sp>
        <p:nvSpPr>
          <p:cNvPr id="87" name="Google Shape;87;p13"/>
          <p:cNvSpPr txBox="1">
            <a:spLocks noGrp="1"/>
          </p:cNvSpPr>
          <p:nvPr>
            <p:ph type="body" idx="1"/>
          </p:nvPr>
        </p:nvSpPr>
        <p:spPr>
          <a:xfrm>
            <a:off x="861803" y="2994263"/>
            <a:ext cx="10708748" cy="520700"/>
          </a:xfrm>
          <a:noFill/>
          <a:ln>
            <a:noFill/>
          </a:ln>
        </p:spPr>
        <p:txBody>
          <a:bodyPr spcFirstLastPara="1" vert="horz" wrap="square" lIns="91425" tIns="45700" rIns="91425" bIns="45700" numCol="2" rtlCol="0" anchor="t" anchorCtr="0">
            <a:noAutofit/>
          </a:bodyPr>
          <a:lstStyle/>
          <a:p>
            <a:r>
              <a:rPr lang="en-US" sz="2000" dirty="0"/>
              <a:t>A financial empowerment toolkit</a:t>
            </a:r>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0" name="Google Shape;100;p15"/>
          <p:cNvSpPr txBox="1">
            <a:spLocks noGrp="1"/>
          </p:cNvSpPr>
          <p:nvPr>
            <p:ph type="title"/>
          </p:nvPr>
        </p:nvSpPr>
        <p:spPr>
          <a:prstGeom prst="rect">
            <a:avLst/>
          </a:prstGeom>
          <a:noFill/>
          <a:ln>
            <a:noFill/>
          </a:ln>
        </p:spPr>
        <p:txBody>
          <a:bodyPr spcFirstLastPara="1" vert="horz" wrap="square" lIns="91425" tIns="45700" rIns="91425" bIns="45700" rtlCol="0" anchor="ctr" anchorCtr="0">
            <a:noAutofit/>
          </a:bodyPr>
          <a:lstStyle/>
          <a:p>
            <a:r>
              <a:rPr lang="en-US" dirty="0"/>
              <a:t>Disclaimer</a:t>
            </a:r>
            <a:endParaRPr dirty="0"/>
          </a:p>
        </p:txBody>
      </p:sp>
      <p:sp>
        <p:nvSpPr>
          <p:cNvPr id="101" name="Google Shape;101;p15"/>
          <p:cNvSpPr txBox="1">
            <a:spLocks noGrp="1"/>
          </p:cNvSpPr>
          <p:nvPr>
            <p:ph type="body" idx="1"/>
          </p:nvPr>
        </p:nvSpPr>
        <p:spPr>
          <a:prstGeom prst="rect">
            <a:avLst/>
          </a:prstGeom>
          <a:noFill/>
          <a:ln>
            <a:noFill/>
          </a:ln>
        </p:spPr>
        <p:txBody>
          <a:bodyPr spcFirstLastPara="1" vert="horz" wrap="square" lIns="91425" tIns="45700" rIns="91425" bIns="45700" numCol="2" rtlCol="0" anchor="t" anchorCtr="0">
            <a:noAutofit/>
          </a:bodyPr>
          <a:lstStyle/>
          <a:p>
            <a:pPr marL="0" indent="0">
              <a:buNone/>
            </a:pPr>
            <a:r>
              <a:rPr lang="en-US" sz="1867" dirty="0"/>
              <a:t>This presentation is being made by a Consumer Financial Protection Bureau (Bureau) representative on behalf of the Bureau.  It does not constitute legal interpretation, guidance or advice of the Bureau.  Any opinions or views stated by the presenter are the presenter’s own and may not represent the Bureau’s views.</a:t>
            </a:r>
          </a:p>
          <a:p>
            <a:pPr marL="0" indent="0">
              <a:buNone/>
            </a:pPr>
            <a:r>
              <a:rPr lang="en-US" sz="1867" dirty="0"/>
              <a:t>This document includes links or references to third-party resources. The inclusion of links or references to third-party sites does not necessarily reflect the Bureau’s endorsement of the third-party, the views expressed on the </a:t>
            </a:r>
            <a:r>
              <a:rPr lang="en-US" altLang="en-US" sz="1867" dirty="0"/>
              <a:t>third-party </a:t>
            </a:r>
            <a:r>
              <a:rPr lang="en-US" sz="1867" dirty="0"/>
              <a:t>site, or products or services offered on the third-party site. The Bureau has not vetted these third-parties, their content, or any products or services they may offer. There may be other possible entities or resources that are not listed that may also serve your needs.</a:t>
            </a:r>
          </a:p>
        </p:txBody>
      </p:sp>
      <p:sp>
        <p:nvSpPr>
          <p:cNvPr id="102" name="Google Shape;102;p15"/>
          <p:cNvSpPr txBox="1">
            <a:spLocks noGrp="1"/>
          </p:cNvSpPr>
          <p:nvPr>
            <p:ph type="ftr" idx="11"/>
          </p:nvPr>
        </p:nvSpPr>
        <p:spPr>
          <a:xfrm>
            <a:off x="7593013" y="6081190"/>
            <a:ext cx="3860800" cy="365125"/>
          </a:xfrm>
          <a:prstGeom prst="rect">
            <a:avLst/>
          </a:prstGeom>
          <a:noFill/>
          <a:ln>
            <a:noFill/>
          </a:ln>
        </p:spPr>
        <p:txBody>
          <a:bodyPr spcFirstLastPara="1" vert="horz" wrap="square" lIns="91425" tIns="45700" rIns="91425" bIns="45700" rtlCol="0" anchor="ctr" anchorCtr="0">
            <a:noAutofit/>
          </a:bodyPr>
          <a:lstStyle/>
          <a:p>
            <a:fld id="{00000000-1234-1234-1234-123412341234}" type="slidenum">
              <a:rPr lang="en-US"/>
              <a:pPr/>
              <a:t>51</a:t>
            </a:fld>
            <a:endParaRPr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1"/>
          <p:cNvSpPr>
            <a:spLocks noGrp="1"/>
          </p:cNvSpPr>
          <p:nvPr>
            <p:ph type="title"/>
          </p:nvPr>
        </p:nvSpPr>
        <p:spPr/>
        <p:txBody>
          <a:bodyPr/>
          <a:lstStyle/>
          <a:p>
            <a:pPr eaLnBrk="1" hangingPunct="1"/>
            <a:r>
              <a:rPr lang="en-US" altLang="en-US" dirty="0"/>
              <a:t>Introduction to the CFPB</a:t>
            </a:r>
          </a:p>
        </p:txBody>
      </p:sp>
      <p:sp>
        <p:nvSpPr>
          <p:cNvPr id="45058" name="Content Placeholder 2"/>
          <p:cNvSpPr>
            <a:spLocks noGrp="1"/>
          </p:cNvSpPr>
          <p:nvPr>
            <p:ph type="body" idx="1"/>
          </p:nvPr>
        </p:nvSpPr>
        <p:spPr>
          <a:xfrm>
            <a:off x="738188" y="3355606"/>
            <a:ext cx="10715627" cy="3082249"/>
          </a:xfrm>
        </p:spPr>
        <p:txBody>
          <a:bodyPr>
            <a:normAutofit/>
          </a:bodyPr>
          <a:lstStyle/>
          <a:p>
            <a:pPr marL="88898" indent="0">
              <a:lnSpc>
                <a:spcPts val="2800"/>
              </a:lnSpc>
              <a:spcBef>
                <a:spcPts val="1200"/>
              </a:spcBef>
              <a:buNone/>
            </a:pPr>
            <a:r>
              <a:rPr lang="en-US" sz="2667" dirty="0"/>
              <a:t>The Consumer Financial Protection Bureau is a 21st century agency that implements and enforces Federal consumer financial law and ensures that markets for consumer financial products are fair, transparent, and competitive.</a:t>
            </a:r>
            <a:endParaRPr lang="en-US" altLang="en-US" sz="2667" dirty="0">
              <a:solidFill>
                <a:srgbClr val="101820"/>
              </a:solidFill>
            </a:endParaRPr>
          </a:p>
        </p:txBody>
      </p:sp>
      <p:pic>
        <p:nvPicPr>
          <p:cNvPr id="5" name="Picture 4" descr="green cfpb logo ">
            <a:extLst>
              <a:ext uri="{FF2B5EF4-FFF2-40B4-BE49-F238E27FC236}">
                <a16:creationId xmlns:a16="http://schemas.microsoft.com/office/drawing/2014/main" id="{E0F7F530-8895-48D2-A3A2-14D8228B78D9}"/>
              </a:ext>
            </a:extLst>
          </p:cNvPr>
          <p:cNvPicPr>
            <a:picLocks noChangeAspect="1"/>
          </p:cNvPicPr>
          <p:nvPr/>
        </p:nvPicPr>
        <p:blipFill>
          <a:blip r:embed="rId3"/>
          <a:stretch>
            <a:fillRect/>
          </a:stretch>
        </p:blipFill>
        <p:spPr>
          <a:xfrm>
            <a:off x="738189" y="1592426"/>
            <a:ext cx="7211156" cy="1430145"/>
          </a:xfrm>
          <a:prstGeom prst="rect">
            <a:avLst/>
          </a:prstGeom>
        </p:spPr>
      </p:pic>
      <p:pic>
        <p:nvPicPr>
          <p:cNvPr id="6" name="Picture 5" descr="A group of eight people">
            <a:extLst>
              <a:ext uri="{FF2B5EF4-FFF2-40B4-BE49-F238E27FC236}">
                <a16:creationId xmlns:a16="http://schemas.microsoft.com/office/drawing/2014/main" id="{1BD6390F-B170-4725-BA7C-48B5C61221E1}"/>
              </a:ext>
            </a:extLst>
          </p:cNvPr>
          <p:cNvPicPr>
            <a:picLocks noChangeAspect="1"/>
          </p:cNvPicPr>
          <p:nvPr/>
        </p:nvPicPr>
        <p:blipFill>
          <a:blip r:embed="rId4">
            <a:alphaModFix amt="61000"/>
          </a:blip>
          <a:stretch>
            <a:fillRect/>
          </a:stretch>
        </p:blipFill>
        <p:spPr>
          <a:xfrm>
            <a:off x="6705599" y="4921314"/>
            <a:ext cx="4860351" cy="1936687"/>
          </a:xfrm>
          <a:prstGeom prst="rect">
            <a:avLst/>
          </a:prstGeom>
        </p:spPr>
      </p:pic>
    </p:spTree>
    <p:extLst>
      <p:ext uri="{BB962C8B-B14F-4D97-AF65-F5344CB8AC3E}">
        <p14:creationId xmlns:p14="http://schemas.microsoft.com/office/powerpoint/2010/main" val="34982339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A7FC-EBE6-40A1-BACB-1C0851252E6A}"/>
              </a:ext>
            </a:extLst>
          </p:cNvPr>
          <p:cNvSpPr>
            <a:spLocks noGrp="1"/>
          </p:cNvSpPr>
          <p:nvPr>
            <p:ph type="title"/>
          </p:nvPr>
        </p:nvSpPr>
        <p:spPr/>
        <p:txBody>
          <a:bodyPr/>
          <a:lstStyle/>
          <a:p>
            <a:r>
              <a:rPr lang="en-US"/>
              <a:t>Commitment to supporting consumers</a:t>
            </a:r>
          </a:p>
        </p:txBody>
      </p:sp>
      <p:sp>
        <p:nvSpPr>
          <p:cNvPr id="10" name="Content Placeholder 2">
            <a:extLst>
              <a:ext uri="{FF2B5EF4-FFF2-40B4-BE49-F238E27FC236}">
                <a16:creationId xmlns:a16="http://schemas.microsoft.com/office/drawing/2014/main" id="{6265E72E-10CD-4975-BA29-7BA83CEA85D6}"/>
              </a:ext>
            </a:extLst>
          </p:cNvPr>
          <p:cNvSpPr>
            <a:spLocks noGrp="1"/>
          </p:cNvSpPr>
          <p:nvPr>
            <p:ph idx="1"/>
          </p:nvPr>
        </p:nvSpPr>
        <p:spPr>
          <a:xfrm>
            <a:off x="738185" y="2070969"/>
            <a:ext cx="4489344" cy="2863427"/>
          </a:xfrm>
        </p:spPr>
        <p:txBody>
          <a:bodyPr>
            <a:normAutofit/>
          </a:bodyPr>
          <a:lstStyle/>
          <a:p>
            <a:pPr marL="88898" indent="0">
              <a:buNone/>
            </a:pPr>
            <a:r>
              <a:rPr lang="en-US" dirty="0">
                <a:latin typeface="+mn-lt"/>
              </a:rPr>
              <a:t>The CFPB is committed to providing consumers with up-to-date information and resources to protect and manage their finances as the situation evolves during this difficult time. </a:t>
            </a:r>
          </a:p>
        </p:txBody>
      </p:sp>
      <p:sp>
        <p:nvSpPr>
          <p:cNvPr id="11" name="TextBox 10">
            <a:extLst>
              <a:ext uri="{FF2B5EF4-FFF2-40B4-BE49-F238E27FC236}">
                <a16:creationId xmlns:a16="http://schemas.microsoft.com/office/drawing/2014/main" id="{CC8DEFE5-DA89-42F7-8EA4-7ABCDA3056FB}"/>
              </a:ext>
            </a:extLst>
          </p:cNvPr>
          <p:cNvSpPr txBox="1"/>
          <p:nvPr/>
        </p:nvSpPr>
        <p:spPr>
          <a:xfrm>
            <a:off x="738188" y="5249380"/>
            <a:ext cx="10715627" cy="502766"/>
          </a:xfrm>
          <a:prstGeom prst="rect">
            <a:avLst/>
          </a:prstGeom>
          <a:noFill/>
        </p:spPr>
        <p:txBody>
          <a:bodyPr wrap="square" rtlCol="0">
            <a:spAutoFit/>
          </a:bodyPr>
          <a:lstStyle/>
          <a:p>
            <a:pPr algn="ctr"/>
            <a:r>
              <a:rPr lang="en-US" sz="2667" dirty="0">
                <a:solidFill>
                  <a:schemeClr val="bg2"/>
                </a:solidFill>
                <a:latin typeface="Avenir Next LT Pro Demi" panose="020B0704020202020204" pitchFamily="34" charset="0"/>
              </a:rPr>
              <a:t>Available at: </a:t>
            </a:r>
            <a:r>
              <a:rPr lang="en-US" sz="2400" dirty="0">
                <a:hlinkClick r:id="rId3"/>
              </a:rPr>
              <a:t>https://www.consumerfinance.gov/coronavirus/</a:t>
            </a:r>
            <a:endParaRPr lang="en-US" sz="2400" dirty="0"/>
          </a:p>
        </p:txBody>
      </p:sp>
      <p:pic>
        <p:nvPicPr>
          <p:cNvPr id="12" name="Picture 2" descr="Screenshot of the CFPB's &quot;Protecting your finances during the coronavirus pandemic&quot; page. ">
            <a:hlinkClick r:id="rId3"/>
            <a:extLst>
              <a:ext uri="{FF2B5EF4-FFF2-40B4-BE49-F238E27FC236}">
                <a16:creationId xmlns:a16="http://schemas.microsoft.com/office/drawing/2014/main" id="{936E0364-18AC-401E-87BE-0895DA0831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3607" y="1410459"/>
            <a:ext cx="5660205" cy="3702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361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7A096772-CB17-4CB3-A207-1AA096EF4E6A}"/>
              </a:ext>
            </a:extLst>
          </p:cNvPr>
          <p:cNvSpPr txBox="1"/>
          <p:nvPr/>
        </p:nvSpPr>
        <p:spPr>
          <a:xfrm>
            <a:off x="3367409" y="5952890"/>
            <a:ext cx="7649323" cy="538609"/>
          </a:xfrm>
          <a:prstGeom prst="rect">
            <a:avLst/>
          </a:prstGeom>
          <a:noFill/>
        </p:spPr>
        <p:txBody>
          <a:bodyPr wrap="square">
            <a:spAutoFit/>
          </a:bodyPr>
          <a:lstStyle/>
          <a:p>
            <a:pPr algn="ctr"/>
            <a:r>
              <a:rPr lang="en-US" sz="1400" dirty="0">
                <a:solidFill>
                  <a:srgbClr val="51A84B"/>
                </a:solidFill>
                <a:latin typeface="Avenir Next LT Pro" panose="020B0504020202020204" pitchFamily="34" charset="0"/>
              </a:rPr>
              <a:t>All Available at: </a:t>
            </a:r>
            <a:r>
              <a:rPr lang="en-US" sz="1400" dirty="0">
                <a:latin typeface="Avenir Next LT Pro" panose="020B0504020202020204" pitchFamily="34" charset="0"/>
                <a:hlinkClick r:id="rId3"/>
              </a:rPr>
              <a:t>https://www.consumerfinance.gov/your-money-your-goals/</a:t>
            </a:r>
            <a:endParaRPr lang="en-US" sz="1400" dirty="0">
              <a:latin typeface="Avenir Next LT Pro" panose="020B0504020202020204" pitchFamily="34" charset="0"/>
            </a:endParaRPr>
          </a:p>
          <a:p>
            <a:pPr algn="ctr"/>
            <a:r>
              <a:rPr lang="en-US" sz="1500" dirty="0">
                <a:solidFill>
                  <a:srgbClr val="221E1F"/>
                </a:solidFill>
                <a:latin typeface="Avenir Next LT Pro" panose="020B0504020202020204" pitchFamily="34" charset="0"/>
              </a:rPr>
              <a:t>Selected materials available in Spanish. </a:t>
            </a:r>
          </a:p>
        </p:txBody>
      </p:sp>
      <p:pic>
        <p:nvPicPr>
          <p:cNvPr id="31" name="Picture 30" descr="Cover photo of reentry guide">
            <a:extLst>
              <a:ext uri="{FF2B5EF4-FFF2-40B4-BE49-F238E27FC236}">
                <a16:creationId xmlns:a16="http://schemas.microsoft.com/office/drawing/2014/main" id="{37AED2C1-5881-4E39-AB5C-AB7A8D8D5C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4849" y="1500836"/>
            <a:ext cx="1366907" cy="17689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p:cNvSpPr>
            <a:spLocks noGrp="1"/>
          </p:cNvSpPr>
          <p:nvPr>
            <p:ph type="title"/>
          </p:nvPr>
        </p:nvSpPr>
        <p:spPr>
          <a:xfrm>
            <a:off x="738188" y="463852"/>
            <a:ext cx="10715627" cy="743347"/>
          </a:xfrm>
        </p:spPr>
        <p:txBody>
          <a:bodyPr>
            <a:normAutofit/>
          </a:bodyPr>
          <a:lstStyle/>
          <a:p>
            <a:pPr fontAlgn="base">
              <a:spcAft>
                <a:spcPct val="0"/>
              </a:spcAft>
            </a:pPr>
            <a:r>
              <a:rPr lang="en-US" sz="3200" dirty="0">
                <a:sym typeface="Gill Sans" pitchFamily="-109" charset="0"/>
              </a:rPr>
              <a:t>Your Money, Your Goals: Resources</a:t>
            </a:r>
          </a:p>
        </p:txBody>
      </p:sp>
      <p:pic>
        <p:nvPicPr>
          <p:cNvPr id="18" name="Picture 17" descr="Cover photo of financial empowerment toolkit">
            <a:extLst>
              <a:ext uri="{FF2B5EF4-FFF2-40B4-BE49-F238E27FC236}">
                <a16:creationId xmlns:a16="http://schemas.microsoft.com/office/drawing/2014/main" id="{875824F4-1E94-41A9-B2BD-86CDFC619DE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097" y="1452183"/>
            <a:ext cx="2363111" cy="30817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0" name="TextBox 19">
            <a:extLst>
              <a:ext uri="{FF2B5EF4-FFF2-40B4-BE49-F238E27FC236}">
                <a16:creationId xmlns:a16="http://schemas.microsoft.com/office/drawing/2014/main" id="{33814FEE-E5D5-4A7B-9057-6766166A86AB}"/>
              </a:ext>
            </a:extLst>
          </p:cNvPr>
          <p:cNvSpPr txBox="1"/>
          <p:nvPr/>
        </p:nvSpPr>
        <p:spPr>
          <a:xfrm>
            <a:off x="815788" y="4684459"/>
            <a:ext cx="2545721" cy="984885"/>
          </a:xfrm>
          <a:prstGeom prst="rect">
            <a:avLst/>
          </a:prstGeom>
          <a:noFill/>
          <a:ln>
            <a:solidFill>
              <a:srgbClr val="51A84B"/>
            </a:solidFill>
            <a:prstDash val="dash"/>
          </a:ln>
        </p:spPr>
        <p:txBody>
          <a:bodyPr wrap="square">
            <a:spAutoFit/>
          </a:bodyPr>
          <a:lstStyle/>
          <a:p>
            <a:pPr algn="ctr"/>
            <a:r>
              <a:rPr lang="en-US" sz="1400" dirty="0">
                <a:solidFill>
                  <a:srgbClr val="51A84B"/>
                </a:solidFill>
                <a:latin typeface="Avenir Next LT Pro" panose="020B0504020202020204" pitchFamily="34" charset="0"/>
              </a:rPr>
              <a:t>One </a:t>
            </a:r>
            <a:r>
              <a:rPr lang="en-US" sz="1400" dirty="0">
                <a:solidFill>
                  <a:srgbClr val="221E1F"/>
                </a:solidFill>
                <a:latin typeface="Avenir Next LT Pro" panose="020B0504020202020204" pitchFamily="34" charset="0"/>
              </a:rPr>
              <a:t>Toolkit</a:t>
            </a:r>
            <a:r>
              <a:rPr lang="en-US" sz="1400" dirty="0">
                <a:solidFill>
                  <a:srgbClr val="51A84B"/>
                </a:solidFill>
                <a:latin typeface="Avenir Next LT Pro" panose="020B0504020202020204" pitchFamily="34" charset="0"/>
              </a:rPr>
              <a:t>  </a:t>
            </a:r>
          </a:p>
          <a:p>
            <a:pPr algn="ctr"/>
            <a:r>
              <a:rPr lang="en-US" sz="1400" dirty="0">
                <a:solidFill>
                  <a:srgbClr val="221E1F"/>
                </a:solidFill>
                <a:latin typeface="Avenir Next LT Pro" panose="020B0504020202020204" pitchFamily="34" charset="0"/>
              </a:rPr>
              <a:t>Comprehensive information for practitioners.</a:t>
            </a:r>
            <a:endParaRPr lang="en-US" sz="1400" dirty="0">
              <a:latin typeface="Avenir Next LT Pro" panose="020B0504020202020204" pitchFamily="34" charset="0"/>
            </a:endParaRPr>
          </a:p>
          <a:p>
            <a:pPr algn="ctr"/>
            <a:endParaRPr lang="en-US" sz="1600" dirty="0">
              <a:latin typeface="Avenir Next"/>
            </a:endParaRPr>
          </a:p>
        </p:txBody>
      </p:sp>
      <p:sp>
        <p:nvSpPr>
          <p:cNvPr id="26" name="TextBox 25">
            <a:extLst>
              <a:ext uri="{FF2B5EF4-FFF2-40B4-BE49-F238E27FC236}">
                <a16:creationId xmlns:a16="http://schemas.microsoft.com/office/drawing/2014/main" id="{A38A0725-DBCC-47A9-AE04-84143A9B7D59}"/>
              </a:ext>
            </a:extLst>
          </p:cNvPr>
          <p:cNvSpPr txBox="1"/>
          <p:nvPr/>
        </p:nvSpPr>
        <p:spPr>
          <a:xfrm>
            <a:off x="3831770" y="4684459"/>
            <a:ext cx="4084325" cy="953915"/>
          </a:xfrm>
          <a:prstGeom prst="rect">
            <a:avLst/>
          </a:prstGeom>
          <a:noFill/>
          <a:ln>
            <a:solidFill>
              <a:srgbClr val="51A84B"/>
            </a:solidFill>
            <a:prstDash val="dash"/>
          </a:ln>
        </p:spPr>
        <p:txBody>
          <a:bodyPr wrap="square">
            <a:spAutoFit/>
          </a:bodyPr>
          <a:lstStyle/>
          <a:p>
            <a:pPr algn="ctr"/>
            <a:r>
              <a:rPr lang="en-US" sz="1600" dirty="0">
                <a:solidFill>
                  <a:srgbClr val="51A84B"/>
                </a:solidFill>
                <a:latin typeface="Avenir Next LT Pro" panose="020B0504020202020204" pitchFamily="34" charset="0"/>
              </a:rPr>
              <a:t>Four </a:t>
            </a:r>
            <a:r>
              <a:rPr lang="en-US" sz="1600" dirty="0">
                <a:solidFill>
                  <a:srgbClr val="221E1F"/>
                </a:solidFill>
                <a:latin typeface="Avenir Next LT Pro" panose="020B0504020202020204" pitchFamily="34" charset="0"/>
              </a:rPr>
              <a:t>Companion Guides</a:t>
            </a:r>
            <a:r>
              <a:rPr lang="en-US" sz="1600" dirty="0">
                <a:solidFill>
                  <a:srgbClr val="51A84B"/>
                </a:solidFill>
                <a:latin typeface="Avenir Next LT Pro" panose="020B0504020202020204" pitchFamily="34" charset="0"/>
              </a:rPr>
              <a:t>  </a:t>
            </a:r>
          </a:p>
          <a:p>
            <a:pPr algn="ctr"/>
            <a:r>
              <a:rPr lang="en-US" sz="1333" dirty="0">
                <a:latin typeface="Avenir Next LT Pro" panose="020B0504020202020204" pitchFamily="34" charset="0"/>
              </a:rPr>
              <a:t>Help practitioners contextualize the money conversation to the unique needs of specific populations. </a:t>
            </a:r>
          </a:p>
        </p:txBody>
      </p:sp>
      <p:pic>
        <p:nvPicPr>
          <p:cNvPr id="35" name="Picture 34" descr="cover photo of native communities guide">
            <a:extLst>
              <a:ext uri="{FF2B5EF4-FFF2-40B4-BE49-F238E27FC236}">
                <a16:creationId xmlns:a16="http://schemas.microsoft.com/office/drawing/2014/main" id="{0033A706-B225-4225-9B29-242B290CEE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9691" y="1475211"/>
            <a:ext cx="1370512" cy="17736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6" descr="Cover photo of military guide">
            <a:extLst>
              <a:ext uri="{FF2B5EF4-FFF2-40B4-BE49-F238E27FC236}">
                <a16:creationId xmlns:a16="http://schemas.microsoft.com/office/drawing/2014/main" id="{E5ABFC76-0526-41E8-9526-8DB415A343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03285" y="2705401"/>
            <a:ext cx="1366907" cy="17689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3" name="Picture 32" descr="cover photo of disabilities booklet">
            <a:extLst>
              <a:ext uri="{FF2B5EF4-FFF2-40B4-BE49-F238E27FC236}">
                <a16:creationId xmlns:a16="http://schemas.microsoft.com/office/drawing/2014/main" id="{2B6C990F-41E8-450B-B62D-05F2C8F4EF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11353" y="2700737"/>
            <a:ext cx="1370511" cy="17736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Content Placeholder 7" descr="cover photo of bills booklet">
            <a:extLst>
              <a:ext uri="{FF2B5EF4-FFF2-40B4-BE49-F238E27FC236}">
                <a16:creationId xmlns:a16="http://schemas.microsoft.com/office/drawing/2014/main" id="{92A36466-5C8E-44FA-8D61-5E21DB48F37A}"/>
              </a:ext>
            </a:extLst>
          </p:cNvPr>
          <p:cNvPicPr>
            <a:picLocks noGrp="1" noChangeAspect="1"/>
          </p:cNvPicPr>
          <p:nvPr/>
        </p:nvPicPr>
        <p:blipFill>
          <a:blip r:embed="rId9" cstate="print">
            <a:extLst>
              <a:ext uri="{28A0092B-C50C-407E-A947-70E740481C1C}">
                <a14:useLocalDpi xmlns:a14="http://schemas.microsoft.com/office/drawing/2010/main" val="0"/>
              </a:ext>
            </a:extLst>
          </a:blip>
          <a:stretch>
            <a:fillRect/>
          </a:stretch>
        </p:blipFill>
        <p:spPr bwMode="auto">
          <a:xfrm>
            <a:off x="8830515" y="1452183"/>
            <a:ext cx="1162525" cy="17844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8" name="Picture 37" descr="cover photo of savings booklet">
            <a:extLst>
              <a:ext uri="{FF2B5EF4-FFF2-40B4-BE49-F238E27FC236}">
                <a16:creationId xmlns:a16="http://schemas.microsoft.com/office/drawing/2014/main" id="{2717429D-D1BD-4A94-BC31-45870C4575F9}"/>
              </a:ext>
            </a:extLst>
          </p:cNvPr>
          <p:cNvPicPr>
            <a:picLocks noChangeAspect="1"/>
          </p:cNvPicPr>
          <p:nvPr/>
        </p:nvPicPr>
        <p:blipFill>
          <a:blip r:embed="rId10"/>
          <a:stretch>
            <a:fillRect/>
          </a:stretch>
        </p:blipFill>
        <p:spPr>
          <a:xfrm>
            <a:off x="8471465" y="2700738"/>
            <a:ext cx="1153931" cy="17966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0" name="Picture 39" descr="cover photo of credit booklet">
            <a:extLst>
              <a:ext uri="{FF2B5EF4-FFF2-40B4-BE49-F238E27FC236}">
                <a16:creationId xmlns:a16="http://schemas.microsoft.com/office/drawing/2014/main" id="{2A3B5D6A-A284-4E3D-A649-53FED480E01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72995" y="1452183"/>
            <a:ext cx="1162525" cy="17966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9" name="Content Placeholder 5" descr="cover photo of debt booklet">
            <a:extLst>
              <a:ext uri="{FF2B5EF4-FFF2-40B4-BE49-F238E27FC236}">
                <a16:creationId xmlns:a16="http://schemas.microsoft.com/office/drawing/2014/main" id="{4BFF7E22-DCE4-469A-8624-15E75A52A22D}"/>
              </a:ext>
            </a:extLst>
          </p:cNvPr>
          <p:cNvPicPr>
            <a:picLocks noGrp="1" noChangeAspect="1"/>
          </p:cNvPicPr>
          <p:nvPr/>
        </p:nvPicPr>
        <p:blipFill>
          <a:blip r:embed="rId12" cstate="print">
            <a:extLst>
              <a:ext uri="{28A0092B-C50C-407E-A947-70E740481C1C}">
                <a14:useLocalDpi xmlns:a14="http://schemas.microsoft.com/office/drawing/2010/main" val="0"/>
              </a:ext>
            </a:extLst>
          </a:blip>
          <a:stretch>
            <a:fillRect/>
          </a:stretch>
        </p:blipFill>
        <p:spPr bwMode="auto">
          <a:xfrm>
            <a:off x="9938656" y="2700738"/>
            <a:ext cx="1183373" cy="17966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TextBox 26">
            <a:extLst>
              <a:ext uri="{FF2B5EF4-FFF2-40B4-BE49-F238E27FC236}">
                <a16:creationId xmlns:a16="http://schemas.microsoft.com/office/drawing/2014/main" id="{D1AC8160-D5C0-43F1-B5F5-3804DC64A874}"/>
              </a:ext>
            </a:extLst>
          </p:cNvPr>
          <p:cNvSpPr txBox="1"/>
          <p:nvPr/>
        </p:nvSpPr>
        <p:spPr>
          <a:xfrm>
            <a:off x="8187084" y="4730627"/>
            <a:ext cx="3611913" cy="954107"/>
          </a:xfrm>
          <a:prstGeom prst="rect">
            <a:avLst/>
          </a:prstGeom>
          <a:noFill/>
          <a:ln>
            <a:solidFill>
              <a:srgbClr val="51A84B"/>
            </a:solidFill>
            <a:prstDash val="dash"/>
          </a:ln>
        </p:spPr>
        <p:txBody>
          <a:bodyPr wrap="square" anchor="ctr">
            <a:spAutoFit/>
          </a:bodyPr>
          <a:lstStyle/>
          <a:p>
            <a:pPr algn="ctr"/>
            <a:r>
              <a:rPr lang="en-US" sz="1400" dirty="0">
                <a:solidFill>
                  <a:srgbClr val="51A84B"/>
                </a:solidFill>
                <a:latin typeface="Avenir Next LT Pro" panose="020B0504020202020204" pitchFamily="34" charset="0"/>
              </a:rPr>
              <a:t>Four</a:t>
            </a:r>
            <a:r>
              <a:rPr lang="en-US" sz="1400" dirty="0">
                <a:solidFill>
                  <a:srgbClr val="221E1F"/>
                </a:solidFill>
                <a:latin typeface="Avenir Next LT Pro" panose="020B0504020202020204" pitchFamily="34" charset="0"/>
              </a:rPr>
              <a:t> Booklets</a:t>
            </a:r>
            <a:endParaRPr lang="en-US" sz="1400" dirty="0">
              <a:solidFill>
                <a:srgbClr val="51A84B"/>
              </a:solidFill>
              <a:latin typeface="Avenir Next LT Pro" panose="020B0504020202020204" pitchFamily="34" charset="0"/>
            </a:endParaRPr>
          </a:p>
          <a:p>
            <a:pPr algn="ctr"/>
            <a:r>
              <a:rPr lang="en-US" sz="1400" dirty="0">
                <a:latin typeface="Avenir Next LT Pro" panose="020B0504020202020204" pitchFamily="34" charset="0"/>
              </a:rPr>
              <a:t>Actionable, compact booklets on bills, credit, debt and saving. </a:t>
            </a:r>
          </a:p>
          <a:p>
            <a:pPr algn="ctr"/>
            <a:r>
              <a:rPr lang="en-US" sz="1400" dirty="0">
                <a:latin typeface="Avenir Next LT Pro" panose="020B0504020202020204" pitchFamily="34" charset="0"/>
              </a:rPr>
              <a:t>For in-person use.</a:t>
            </a:r>
          </a:p>
        </p:txBody>
      </p:sp>
    </p:spTree>
    <p:extLst>
      <p:ext uri="{BB962C8B-B14F-4D97-AF65-F5344CB8AC3E}">
        <p14:creationId xmlns:p14="http://schemas.microsoft.com/office/powerpoint/2010/main" val="33655423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75B92-47B8-4B67-980E-6BF255608A82}"/>
              </a:ext>
            </a:extLst>
          </p:cNvPr>
          <p:cNvSpPr>
            <a:spLocks noGrp="1"/>
          </p:cNvSpPr>
          <p:nvPr>
            <p:ph type="title"/>
          </p:nvPr>
        </p:nvSpPr>
        <p:spPr/>
        <p:txBody>
          <a:bodyPr/>
          <a:lstStyle/>
          <a:p>
            <a:r>
              <a:rPr lang="en-US" sz="3733" dirty="0"/>
              <a:t>Videos to Spark Action</a:t>
            </a:r>
          </a:p>
        </p:txBody>
      </p:sp>
      <p:sp>
        <p:nvSpPr>
          <p:cNvPr id="3" name="Text Placeholder 2">
            <a:extLst>
              <a:ext uri="{FF2B5EF4-FFF2-40B4-BE49-F238E27FC236}">
                <a16:creationId xmlns:a16="http://schemas.microsoft.com/office/drawing/2014/main" id="{68079C37-C71F-4A6D-AE6E-CC167157E4AE}"/>
              </a:ext>
            </a:extLst>
          </p:cNvPr>
          <p:cNvSpPr>
            <a:spLocks noGrp="1"/>
          </p:cNvSpPr>
          <p:nvPr>
            <p:ph type="body" idx="1"/>
          </p:nvPr>
        </p:nvSpPr>
        <p:spPr>
          <a:xfrm>
            <a:off x="738189" y="1524001"/>
            <a:ext cx="5313745" cy="4106412"/>
          </a:xfrm>
        </p:spPr>
        <p:txBody>
          <a:bodyPr/>
          <a:lstStyle/>
          <a:p>
            <a:r>
              <a:rPr lang="en-US" sz="2400" dirty="0"/>
              <a:t>Play a video to introduce a topic and follow up with a tool or handout tied directly to that topic. </a:t>
            </a:r>
          </a:p>
          <a:p>
            <a:pPr lvl="1"/>
            <a:r>
              <a:rPr lang="en-US" sz="2133" dirty="0">
                <a:latin typeface="Avenir Next LT Pro" panose="020B0504020202020204" pitchFamily="34" charset="0"/>
              </a:rPr>
              <a:t>Credit </a:t>
            </a:r>
          </a:p>
          <a:p>
            <a:pPr lvl="1"/>
            <a:r>
              <a:rPr lang="en-US" sz="2133" dirty="0">
                <a:latin typeface="Avenir Next LT Pro" panose="020B0504020202020204" pitchFamily="34" charset="0"/>
              </a:rPr>
              <a:t>Debt </a:t>
            </a:r>
          </a:p>
          <a:p>
            <a:pPr lvl="1"/>
            <a:r>
              <a:rPr lang="en-US" sz="2133" dirty="0">
                <a:latin typeface="Avenir Next LT Pro" panose="020B0504020202020204" pitchFamily="34" charset="0"/>
              </a:rPr>
              <a:t>Financial products and services </a:t>
            </a:r>
          </a:p>
          <a:p>
            <a:pPr lvl="1"/>
            <a:r>
              <a:rPr lang="en-US" sz="2133" dirty="0">
                <a:latin typeface="Avenir Next LT Pro" panose="020B0504020202020204" pitchFamily="34" charset="0"/>
              </a:rPr>
              <a:t>Paying bills and saving </a:t>
            </a:r>
          </a:p>
        </p:txBody>
      </p:sp>
      <p:sp>
        <p:nvSpPr>
          <p:cNvPr id="4" name="Footer Placeholder 3">
            <a:extLst>
              <a:ext uri="{FF2B5EF4-FFF2-40B4-BE49-F238E27FC236}">
                <a16:creationId xmlns:a16="http://schemas.microsoft.com/office/drawing/2014/main" id="{6B956F57-63AE-4BD3-8130-6457D833DF64}"/>
              </a:ext>
            </a:extLst>
          </p:cNvPr>
          <p:cNvSpPr>
            <a:spLocks noGrp="1"/>
          </p:cNvSpPr>
          <p:nvPr>
            <p:ph type="ftr" idx="11"/>
          </p:nvPr>
        </p:nvSpPr>
        <p:spPr>
          <a:xfrm>
            <a:off x="7593013" y="6081190"/>
            <a:ext cx="3860800" cy="365125"/>
          </a:xfrm>
          <a:prstGeom prst="rect">
            <a:avLst/>
          </a:prstGeom>
          <a:noFill/>
          <a:ln>
            <a:noFill/>
          </a:ln>
        </p:spPr>
        <p:txBody>
          <a:bodyPr spcFirstLastPara="1" vert="horz" wrap="square" lIns="121900" tIns="60933" rIns="121900" bIns="60933"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200" b="0" i="0" u="none" strike="noStrike" cap="none">
                <a:solidFill>
                  <a:srgbClr val="88898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55</a:t>
            </a:fld>
            <a:endParaRPr lang="en-US" dirty="0"/>
          </a:p>
        </p:txBody>
      </p:sp>
      <p:pic>
        <p:nvPicPr>
          <p:cNvPr id="6" name="Picture 5" descr="Screenshot from website">
            <a:extLst>
              <a:ext uri="{FF2B5EF4-FFF2-40B4-BE49-F238E27FC236}">
                <a16:creationId xmlns:a16="http://schemas.microsoft.com/office/drawing/2014/main" id="{5A806BC4-82EA-448E-BB74-607C2B659218}"/>
              </a:ext>
            </a:extLst>
          </p:cNvPr>
          <p:cNvPicPr>
            <a:picLocks noChangeAspect="1"/>
          </p:cNvPicPr>
          <p:nvPr/>
        </p:nvPicPr>
        <p:blipFill>
          <a:blip r:embed="rId3"/>
          <a:stretch>
            <a:fillRect/>
          </a:stretch>
        </p:blipFill>
        <p:spPr>
          <a:xfrm>
            <a:off x="6051934" y="1524000"/>
            <a:ext cx="5401879" cy="2996184"/>
          </a:xfrm>
          <a:prstGeom prst="rect">
            <a:avLst/>
          </a:prstGeom>
        </p:spPr>
      </p:pic>
      <p:sp>
        <p:nvSpPr>
          <p:cNvPr id="7" name="TextBox 6">
            <a:extLst>
              <a:ext uri="{FF2B5EF4-FFF2-40B4-BE49-F238E27FC236}">
                <a16:creationId xmlns:a16="http://schemas.microsoft.com/office/drawing/2014/main" id="{D5E410FA-0E99-4E9F-9326-085FAF958947}"/>
              </a:ext>
            </a:extLst>
          </p:cNvPr>
          <p:cNvSpPr txBox="1"/>
          <p:nvPr/>
        </p:nvSpPr>
        <p:spPr>
          <a:xfrm>
            <a:off x="6183948" y="4808244"/>
            <a:ext cx="4974336" cy="1569660"/>
          </a:xfrm>
          <a:prstGeom prst="rect">
            <a:avLst/>
          </a:prstGeom>
          <a:noFill/>
        </p:spPr>
        <p:txBody>
          <a:bodyPr wrap="square" rtlCol="0">
            <a:spAutoFit/>
          </a:bodyPr>
          <a:lstStyle/>
          <a:p>
            <a:r>
              <a:rPr lang="en-US" sz="2400" dirty="0">
                <a:latin typeface="Georgia" panose="02040502050405020303" pitchFamily="18" charset="0"/>
                <a:hlinkClick r:id="rId4"/>
              </a:rPr>
              <a:t>https://www.consumerfinance.gov/consumer-tools/educator-tools/your-money-your-goals/videos/</a:t>
            </a:r>
            <a:endParaRPr lang="en-US" sz="2400" dirty="0">
              <a:latin typeface="Georgia" panose="02040502050405020303" pitchFamily="18" charset="0"/>
            </a:endParaRPr>
          </a:p>
        </p:txBody>
      </p:sp>
    </p:spTree>
    <p:extLst>
      <p:ext uri="{BB962C8B-B14F-4D97-AF65-F5344CB8AC3E}">
        <p14:creationId xmlns:p14="http://schemas.microsoft.com/office/powerpoint/2010/main" val="37079689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F635B4-FD0C-4692-8A23-B03B29E11B8D}"/>
              </a:ext>
            </a:extLst>
          </p:cNvPr>
          <p:cNvSpPr>
            <a:spLocks noGrp="1"/>
          </p:cNvSpPr>
          <p:nvPr>
            <p:ph type="title"/>
          </p:nvPr>
        </p:nvSpPr>
        <p:spPr>
          <a:xfrm>
            <a:off x="598112" y="424705"/>
            <a:ext cx="10715627" cy="743347"/>
          </a:xfrm>
        </p:spPr>
        <p:txBody>
          <a:bodyPr/>
          <a:lstStyle/>
          <a:p>
            <a:r>
              <a:rPr lang="en-US" sz="3200" dirty="0">
                <a:latin typeface="Avenir Next LT Pro" panose="020B0504020202020204" pitchFamily="34" charset="0"/>
                <a:ea typeface="+mj-ea"/>
                <a:cs typeface="+mj-cs"/>
                <a:sym typeface="Gill Sans" pitchFamily="-109" charset="0"/>
              </a:rPr>
              <a:t>Submitting a complaint to the Bureau</a:t>
            </a:r>
            <a:endParaRPr lang="en-US" sz="3200" dirty="0">
              <a:latin typeface="Avenir Next LT Pro" panose="020B0504020202020204" pitchFamily="34" charset="0"/>
            </a:endParaRPr>
          </a:p>
        </p:txBody>
      </p:sp>
      <p:sp>
        <p:nvSpPr>
          <p:cNvPr id="13" name="TextBox 12">
            <a:extLst>
              <a:ext uri="{FF2B5EF4-FFF2-40B4-BE49-F238E27FC236}">
                <a16:creationId xmlns:a16="http://schemas.microsoft.com/office/drawing/2014/main" id="{53CA7AC3-DA19-4207-A566-366C259AD703}"/>
              </a:ext>
            </a:extLst>
          </p:cNvPr>
          <p:cNvSpPr txBox="1"/>
          <p:nvPr/>
        </p:nvSpPr>
        <p:spPr>
          <a:xfrm>
            <a:off x="6236078" y="2068205"/>
            <a:ext cx="5695596" cy="4687565"/>
          </a:xfrm>
          <a:prstGeom prst="rect">
            <a:avLst/>
          </a:prstGeom>
          <a:noFill/>
        </p:spPr>
        <p:txBody>
          <a:bodyPr wrap="square">
            <a:spAutoFit/>
          </a:bodyPr>
          <a:lstStyle/>
          <a:p>
            <a:pPr marL="380990" indent="-380990">
              <a:buFont typeface="Arial" panose="020B0604020202020204" pitchFamily="34" charset="0"/>
              <a:buChar char="•"/>
            </a:pPr>
            <a:r>
              <a:rPr lang="en-US" sz="2133" dirty="0">
                <a:solidFill>
                  <a:srgbClr val="43484E"/>
                </a:solidFill>
              </a:rPr>
              <a:t>Submitting online usually takes less than 10 minutes</a:t>
            </a:r>
          </a:p>
          <a:p>
            <a:pPr marL="380990" indent="-380990">
              <a:buFont typeface="Arial" panose="020B0604020202020204" pitchFamily="34" charset="0"/>
              <a:buChar char="•"/>
            </a:pPr>
            <a:endParaRPr lang="en-US" sz="2133" dirty="0">
              <a:solidFill>
                <a:srgbClr val="43484E"/>
              </a:solidFill>
            </a:endParaRPr>
          </a:p>
          <a:p>
            <a:pPr marL="380990" indent="-380990">
              <a:buFont typeface="Arial" panose="020B0604020202020204" pitchFamily="34" charset="0"/>
              <a:buChar char="•"/>
            </a:pPr>
            <a:r>
              <a:rPr lang="en-US" sz="2133" dirty="0">
                <a:solidFill>
                  <a:srgbClr val="43484E"/>
                </a:solidFill>
              </a:rPr>
              <a:t>If consumers can’t submit online, they can submit a complaint over the phone. This usually takes 25-30 minutes</a:t>
            </a:r>
          </a:p>
          <a:p>
            <a:pPr marL="380990" indent="-380990">
              <a:buFont typeface="Arial" panose="020B0604020202020204" pitchFamily="34" charset="0"/>
              <a:buChar char="•"/>
            </a:pPr>
            <a:endParaRPr lang="en-US" sz="2133" dirty="0">
              <a:solidFill>
                <a:srgbClr val="43484E"/>
              </a:solidFill>
            </a:endParaRPr>
          </a:p>
          <a:p>
            <a:pPr marL="380990" indent="-380990">
              <a:buFont typeface="Arial" panose="020B0604020202020204" pitchFamily="34" charset="0"/>
              <a:buChar char="•"/>
            </a:pPr>
            <a:r>
              <a:rPr lang="en-US" sz="2133" dirty="0">
                <a:solidFill>
                  <a:srgbClr val="43484E"/>
                </a:solidFill>
              </a:rPr>
              <a:t>(855) 411-2372 </a:t>
            </a:r>
          </a:p>
          <a:p>
            <a:pPr marL="380990" indent="-380990">
              <a:buFont typeface="Arial" panose="020B0604020202020204" pitchFamily="34" charset="0"/>
              <a:buChar char="•"/>
            </a:pPr>
            <a:r>
              <a:rPr lang="en-US" sz="2133" dirty="0">
                <a:solidFill>
                  <a:srgbClr val="43484E"/>
                </a:solidFill>
              </a:rPr>
              <a:t>TTY/TTD: (855) 729-2372  </a:t>
            </a:r>
          </a:p>
          <a:p>
            <a:pPr marL="380990" indent="-380990">
              <a:buFont typeface="Arial" panose="020B0604020202020204" pitchFamily="34" charset="0"/>
              <a:buChar char="•"/>
            </a:pPr>
            <a:r>
              <a:rPr lang="en-US" sz="2133" dirty="0">
                <a:solidFill>
                  <a:srgbClr val="43484E"/>
                </a:solidFill>
              </a:rPr>
              <a:t>180 languages are available</a:t>
            </a:r>
          </a:p>
          <a:p>
            <a:endParaRPr lang="en-US" sz="2133" dirty="0">
              <a:solidFill>
                <a:srgbClr val="43484E"/>
              </a:solidFill>
            </a:endParaRPr>
          </a:p>
          <a:p>
            <a:pPr marL="380990" indent="-380990">
              <a:buFont typeface="Arial" panose="020B0604020202020204" pitchFamily="34" charset="0"/>
              <a:buChar char="•"/>
            </a:pPr>
            <a:r>
              <a:rPr lang="en-US" sz="2133" dirty="0">
                <a:solidFill>
                  <a:srgbClr val="43484E"/>
                </a:solidFill>
              </a:rPr>
              <a:t>8 a.m. to 8 p.m. ET, Monday through Friday</a:t>
            </a:r>
            <a:endParaRPr lang="en-US" sz="2133" dirty="0"/>
          </a:p>
          <a:p>
            <a:pPr algn="ctr"/>
            <a:endParaRPr lang="en-US" sz="2133" dirty="0">
              <a:solidFill>
                <a:srgbClr val="51A84B"/>
              </a:solidFill>
              <a:latin typeface="Avenir Next LT Pro Demi" panose="020B0604020202020204" pitchFamily="34" charset="0"/>
            </a:endParaRPr>
          </a:p>
          <a:p>
            <a:pPr algn="ctr"/>
            <a:r>
              <a:rPr lang="en-US" sz="2133" dirty="0">
                <a:solidFill>
                  <a:srgbClr val="51A84B"/>
                </a:solidFill>
                <a:latin typeface="Avenir Next LT Pro Demi" panose="020B0604020202020204" pitchFamily="34" charset="0"/>
              </a:rPr>
              <a:t> </a:t>
            </a:r>
            <a:endParaRPr lang="en-US" sz="2667" dirty="0">
              <a:solidFill>
                <a:srgbClr val="51A84B"/>
              </a:solidFill>
              <a:latin typeface="Avenir Next LT Pro Demi" panose="020B0604020202020204" pitchFamily="34" charset="0"/>
            </a:endParaRPr>
          </a:p>
        </p:txBody>
      </p:sp>
      <p:sp>
        <p:nvSpPr>
          <p:cNvPr id="3" name="TextBox 2">
            <a:extLst>
              <a:ext uri="{FF2B5EF4-FFF2-40B4-BE49-F238E27FC236}">
                <a16:creationId xmlns:a16="http://schemas.microsoft.com/office/drawing/2014/main" id="{538D531B-47F2-4402-9E2C-506F07EF70F8}"/>
              </a:ext>
            </a:extLst>
          </p:cNvPr>
          <p:cNvSpPr txBox="1"/>
          <p:nvPr/>
        </p:nvSpPr>
        <p:spPr>
          <a:xfrm>
            <a:off x="702343" y="1412804"/>
            <a:ext cx="10715627" cy="502766"/>
          </a:xfrm>
          <a:prstGeom prst="rect">
            <a:avLst/>
          </a:prstGeom>
          <a:noFill/>
        </p:spPr>
        <p:txBody>
          <a:bodyPr wrap="square" rtlCol="0">
            <a:spAutoFit/>
          </a:bodyPr>
          <a:lstStyle/>
          <a:p>
            <a:pPr algn="ctr" defTabSz="1219170">
              <a:buClr>
                <a:srgbClr val="000000"/>
              </a:buClr>
              <a:defRPr/>
            </a:pPr>
            <a:r>
              <a:rPr lang="en-US" sz="2667" b="1" kern="0" dirty="0">
                <a:solidFill>
                  <a:srgbClr val="51A84B"/>
                </a:solidFill>
                <a:latin typeface="Avenir Next LT Pro"/>
                <a:cs typeface="Arial"/>
                <a:sym typeface="Arial"/>
                <a:hlinkClick r:id="rId3"/>
              </a:rPr>
              <a:t>https://www.consumerfinance.gov/complaint/</a:t>
            </a:r>
            <a:endParaRPr lang="en-US" sz="2667" b="1" kern="0" dirty="0">
              <a:solidFill>
                <a:srgbClr val="51A84B"/>
              </a:solidFill>
              <a:latin typeface="Avenir Next LT Pro"/>
              <a:cs typeface="Arial"/>
              <a:sym typeface="Arial"/>
            </a:endParaRPr>
          </a:p>
        </p:txBody>
      </p:sp>
      <p:pic>
        <p:nvPicPr>
          <p:cNvPr id="5" name="Picture 4" descr="Screenshot of complaint page from CFPB website.">
            <a:extLst>
              <a:ext uri="{FF2B5EF4-FFF2-40B4-BE49-F238E27FC236}">
                <a16:creationId xmlns:a16="http://schemas.microsoft.com/office/drawing/2014/main" id="{D630FBFD-4AC8-4BA3-95BC-AA08330440A6}"/>
              </a:ext>
            </a:extLst>
          </p:cNvPr>
          <p:cNvPicPr>
            <a:picLocks noChangeAspect="1"/>
          </p:cNvPicPr>
          <p:nvPr/>
        </p:nvPicPr>
        <p:blipFill>
          <a:blip r:embed="rId4"/>
          <a:srcRect/>
          <a:stretch/>
        </p:blipFill>
        <p:spPr>
          <a:xfrm>
            <a:off x="497145" y="2191036"/>
            <a:ext cx="5563011" cy="3380568"/>
          </a:xfrm>
          <a:prstGeom prst="rect">
            <a:avLst/>
          </a:prstGeom>
          <a:ln w="3175">
            <a:solidFill>
              <a:srgbClr val="101820"/>
            </a:solidFill>
          </a:ln>
        </p:spPr>
      </p:pic>
    </p:spTree>
    <p:extLst>
      <p:ext uri="{BB962C8B-B14F-4D97-AF65-F5344CB8AC3E}">
        <p14:creationId xmlns:p14="http://schemas.microsoft.com/office/powerpoint/2010/main" val="35228257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icture of a hand holding a yellow sticky note that says &quot;What is my credit score?&quot; Other sticky notes surround the hand. One says &quot;What is an overdraft?&quot; and the other three notes each feature one icon: a car, a graduation cap, and a dollar bill. ">
            <a:extLst>
              <a:ext uri="{FF2B5EF4-FFF2-40B4-BE49-F238E27FC236}">
                <a16:creationId xmlns:a16="http://schemas.microsoft.com/office/drawing/2014/main" id="{4699233E-701F-45FD-AF16-5366030AE7EF}"/>
              </a:ext>
            </a:extLst>
          </p:cNvPr>
          <p:cNvPicPr>
            <a:picLocks noChangeAspect="1"/>
          </p:cNvPicPr>
          <p:nvPr/>
        </p:nvPicPr>
        <p:blipFill rotWithShape="1">
          <a:blip r:embed="rId3">
            <a:alphaModFix/>
          </a:blip>
          <a:srcRect l="19623" r="4540"/>
          <a:stretch/>
        </p:blipFill>
        <p:spPr>
          <a:xfrm>
            <a:off x="0" y="1524000"/>
            <a:ext cx="12192000" cy="3710027"/>
          </a:xfrm>
          <a:prstGeom prst="rect">
            <a:avLst/>
          </a:prstGeom>
        </p:spPr>
      </p:pic>
      <p:sp>
        <p:nvSpPr>
          <p:cNvPr id="6" name="Title 5">
            <a:extLst>
              <a:ext uri="{FF2B5EF4-FFF2-40B4-BE49-F238E27FC236}">
                <a16:creationId xmlns:a16="http://schemas.microsoft.com/office/drawing/2014/main" id="{3AF635B4-FD0C-4692-8A23-B03B29E11B8D}"/>
              </a:ext>
            </a:extLst>
          </p:cNvPr>
          <p:cNvSpPr>
            <a:spLocks noGrp="1"/>
          </p:cNvSpPr>
          <p:nvPr>
            <p:ph type="title"/>
          </p:nvPr>
        </p:nvSpPr>
        <p:spPr/>
        <p:txBody>
          <a:bodyPr/>
          <a:lstStyle/>
          <a:p>
            <a:r>
              <a:rPr lang="en-US" dirty="0">
                <a:latin typeface="Avenir Next LT Pro" panose="020B0504020202020204" pitchFamily="34" charset="0"/>
                <a:ea typeface="+mj-ea"/>
                <a:cs typeface="+mj-cs"/>
                <a:sym typeface="Gill Sans" pitchFamily="-109" charset="0"/>
              </a:rPr>
              <a:t>Ask CFPB</a:t>
            </a:r>
            <a:endParaRPr lang="en-US" dirty="0">
              <a:latin typeface="Avenir Next LT Pro" panose="020B0504020202020204" pitchFamily="34" charset="0"/>
            </a:endParaRPr>
          </a:p>
        </p:txBody>
      </p:sp>
      <p:sp>
        <p:nvSpPr>
          <p:cNvPr id="7" name="Footer Placeholder 6">
            <a:extLst>
              <a:ext uri="{FF2B5EF4-FFF2-40B4-BE49-F238E27FC236}">
                <a16:creationId xmlns:a16="http://schemas.microsoft.com/office/drawing/2014/main" id="{6DF6B9E0-5FC7-4844-9BC2-2144A3C74B57}"/>
              </a:ext>
            </a:extLst>
          </p:cNvPr>
          <p:cNvSpPr>
            <a:spLocks noGrp="1"/>
          </p:cNvSpPr>
          <p:nvPr>
            <p:ph type="ftr" idx="11"/>
          </p:nvPr>
        </p:nvSpPr>
        <p:spPr/>
        <p:txBody>
          <a:bodyPr/>
          <a:lstStyle/>
          <a:p>
            <a:fld id="{022636EB-ADE8-A646-A11D-FED0A955D1AA}" type="slidenum">
              <a:rPr lang="en-US" smtClean="0"/>
              <a:pPr/>
              <a:t>57</a:t>
            </a:fld>
            <a:endParaRPr lang="en-US" dirty="0"/>
          </a:p>
        </p:txBody>
      </p:sp>
      <p:sp>
        <p:nvSpPr>
          <p:cNvPr id="13" name="TextBox 12">
            <a:extLst>
              <a:ext uri="{FF2B5EF4-FFF2-40B4-BE49-F238E27FC236}">
                <a16:creationId xmlns:a16="http://schemas.microsoft.com/office/drawing/2014/main" id="{53CA7AC3-DA19-4207-A566-366C259AD703}"/>
              </a:ext>
            </a:extLst>
          </p:cNvPr>
          <p:cNvSpPr txBox="1"/>
          <p:nvPr/>
        </p:nvSpPr>
        <p:spPr>
          <a:xfrm>
            <a:off x="851359" y="5359016"/>
            <a:ext cx="10489279" cy="420564"/>
          </a:xfrm>
          <a:prstGeom prst="rect">
            <a:avLst/>
          </a:prstGeom>
          <a:noFill/>
        </p:spPr>
        <p:txBody>
          <a:bodyPr wrap="square">
            <a:spAutoFit/>
          </a:bodyPr>
          <a:lstStyle/>
          <a:p>
            <a:pPr algn="ctr"/>
            <a:r>
              <a:rPr lang="en-US" sz="2133" dirty="0">
                <a:solidFill>
                  <a:srgbClr val="51A84B"/>
                </a:solidFill>
                <a:latin typeface="Avenir Next LT Pro Demi" panose="020B0604020202020204" pitchFamily="34" charset="0"/>
              </a:rPr>
              <a:t>Available at: </a:t>
            </a:r>
            <a:r>
              <a:rPr lang="en-US" sz="2133" dirty="0">
                <a:solidFill>
                  <a:srgbClr val="51A84B"/>
                </a:solidFill>
                <a:latin typeface="Avenir Next LT Pro Demi" panose="020B0604020202020204" pitchFamily="34" charset="0"/>
                <a:hlinkClick r:id="rId4"/>
              </a:rPr>
              <a:t>https://www.consumerfinance.gov/ask-cfpb/</a:t>
            </a:r>
            <a:endParaRPr lang="en-US" sz="2667" dirty="0">
              <a:solidFill>
                <a:srgbClr val="51A84B"/>
              </a:solidFill>
              <a:latin typeface="Avenir Next LT Pro Demi" panose="020B0604020202020204" pitchFamily="34" charset="0"/>
            </a:endParaRPr>
          </a:p>
        </p:txBody>
      </p:sp>
      <p:sp>
        <p:nvSpPr>
          <p:cNvPr id="16" name="Text Placeholder 8">
            <a:extLst>
              <a:ext uri="{FF2B5EF4-FFF2-40B4-BE49-F238E27FC236}">
                <a16:creationId xmlns:a16="http://schemas.microsoft.com/office/drawing/2014/main" id="{0F989D15-11BE-4B48-B402-6B2377594F97}"/>
              </a:ext>
            </a:extLst>
          </p:cNvPr>
          <p:cNvSpPr>
            <a:spLocks noGrp="1"/>
          </p:cNvSpPr>
          <p:nvPr>
            <p:ph type="body" idx="1"/>
          </p:nvPr>
        </p:nvSpPr>
        <p:spPr>
          <a:xfrm>
            <a:off x="738187" y="1375794"/>
            <a:ext cx="5357812" cy="4106412"/>
          </a:xfrm>
        </p:spPr>
        <p:txBody>
          <a:bodyPr/>
          <a:lstStyle/>
          <a:p>
            <a:pPr marL="88898" indent="0">
              <a:buNone/>
            </a:pPr>
            <a:r>
              <a:rPr lang="en-US" dirty="0">
                <a:latin typeface="Avenir Next LT Pro" panose="020B0504020202020204" pitchFamily="34" charset="0"/>
              </a:rPr>
              <a:t>CFPB offers clear, impartial answers to hundreds of financial questions on Ask CFPB.</a:t>
            </a:r>
          </a:p>
          <a:p>
            <a:r>
              <a:rPr lang="en-US" dirty="0">
                <a:latin typeface="Avenir Next LT Pro" panose="020B0504020202020204" pitchFamily="34" charset="0"/>
              </a:rPr>
              <a:t>Find the information you need to make more informed choices about your money.</a:t>
            </a:r>
          </a:p>
          <a:p>
            <a:r>
              <a:rPr lang="en-US" dirty="0">
                <a:latin typeface="Avenir Next LT Pro" panose="020B0504020202020204" pitchFamily="34" charset="0"/>
              </a:rPr>
              <a:t>Search for your question or browse questions and answers by topics.</a:t>
            </a:r>
          </a:p>
        </p:txBody>
      </p:sp>
    </p:spTree>
    <p:extLst>
      <p:ext uri="{BB962C8B-B14F-4D97-AF65-F5344CB8AC3E}">
        <p14:creationId xmlns:p14="http://schemas.microsoft.com/office/powerpoint/2010/main" val="37185980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8359DF7-6917-4B41-94E1-63A394A97DD9}"/>
              </a:ext>
            </a:extLst>
          </p:cNvPr>
          <p:cNvSpPr>
            <a:spLocks noGrp="1"/>
          </p:cNvSpPr>
          <p:nvPr>
            <p:ph type="body" idx="2"/>
          </p:nvPr>
        </p:nvSpPr>
        <p:spPr>
          <a:xfrm>
            <a:off x="3001610" y="1535854"/>
            <a:ext cx="5494415" cy="4199647"/>
          </a:xfrm>
        </p:spPr>
        <p:txBody>
          <a:bodyPr/>
          <a:lstStyle/>
          <a:p>
            <a:pPr marL="101597" indent="0">
              <a:buNone/>
            </a:pPr>
            <a:r>
              <a:rPr lang="en-US" altLang="en-US" sz="2133" dirty="0"/>
              <a:t>Use this link: </a:t>
            </a:r>
            <a:r>
              <a:rPr lang="en-US" altLang="en-US" sz="2133" dirty="0">
                <a:hlinkClick r:id="rId3"/>
              </a:rPr>
              <a:t>https://go.usa.gov/xdTgT</a:t>
            </a:r>
            <a:r>
              <a:rPr lang="en-US" altLang="en-US" sz="2133" dirty="0"/>
              <a:t> </a:t>
            </a:r>
            <a:endParaRPr lang="en-US" sz="2133" dirty="0"/>
          </a:p>
          <a:p>
            <a:pPr marL="101597" indent="0">
              <a:buNone/>
            </a:pPr>
            <a:r>
              <a:rPr lang="en-US" sz="2133" dirty="0"/>
              <a:t>Or this QR code: </a:t>
            </a:r>
          </a:p>
        </p:txBody>
      </p:sp>
      <p:sp>
        <p:nvSpPr>
          <p:cNvPr id="3" name="Title 2"/>
          <p:cNvSpPr>
            <a:spLocks noGrp="1"/>
          </p:cNvSpPr>
          <p:nvPr>
            <p:ph type="title"/>
          </p:nvPr>
        </p:nvSpPr>
        <p:spPr/>
        <p:txBody>
          <a:bodyPr/>
          <a:lstStyle/>
          <a:p>
            <a:r>
              <a:rPr lang="en-US" altLang="en-US" dirty="0"/>
              <a:t>Your Money, Your Goals email sign-up</a:t>
            </a:r>
            <a:endParaRPr lang="en-US" dirty="0"/>
          </a:p>
        </p:txBody>
      </p:sp>
      <p:pic>
        <p:nvPicPr>
          <p:cNvPr id="6" name="Picture 5" descr="QR code for Your Money, Your Goals email sign-up, which can be accessed at: https://go.usa.gov/xdTgT">
            <a:extLst>
              <a:ext uri="{FF2B5EF4-FFF2-40B4-BE49-F238E27FC236}">
                <a16:creationId xmlns:a16="http://schemas.microsoft.com/office/drawing/2014/main" id="{7D88D91D-71A6-4818-9C05-60F91BA9EB8A}"/>
              </a:ext>
            </a:extLst>
          </p:cNvPr>
          <p:cNvPicPr>
            <a:picLocks noChangeAspect="1"/>
          </p:cNvPicPr>
          <p:nvPr/>
        </p:nvPicPr>
        <p:blipFill>
          <a:blip r:embed="rId4"/>
          <a:stretch>
            <a:fillRect/>
          </a:stretch>
        </p:blipFill>
        <p:spPr>
          <a:xfrm>
            <a:off x="4459117" y="2940896"/>
            <a:ext cx="2381251" cy="2381251"/>
          </a:xfrm>
          <a:prstGeom prst="rect">
            <a:avLst/>
          </a:prstGeom>
        </p:spPr>
      </p:pic>
    </p:spTree>
    <p:extLst>
      <p:ext uri="{BB962C8B-B14F-4D97-AF65-F5344CB8AC3E}">
        <p14:creationId xmlns:p14="http://schemas.microsoft.com/office/powerpoint/2010/main" val="41908255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2325779" y="2814957"/>
            <a:ext cx="7540442" cy="695375"/>
          </a:xfrm>
        </p:spPr>
        <p:txBody>
          <a:bodyPr>
            <a:normAutofit fontScale="90000"/>
          </a:bodyPr>
          <a:lstStyle/>
          <a:p>
            <a:pPr algn="ctr"/>
            <a:r>
              <a:rPr lang="en-US" sz="3200" dirty="0"/>
              <a:t>Dr. Fallon Wilson, Multicultural Media &amp; Telecommunications Internet Council</a:t>
            </a:r>
            <a:br>
              <a:rPr lang="en-US" sz="3200" dirty="0"/>
            </a:br>
            <a:br>
              <a:rPr lang="en-US" sz="3200" dirty="0"/>
            </a:br>
            <a:endParaRPr lang="en-US" dirty="0"/>
          </a:p>
        </p:txBody>
      </p:sp>
      <p:sp>
        <p:nvSpPr>
          <p:cNvPr id="4" name="Slide Number Placeholder 3"/>
          <p:cNvSpPr>
            <a:spLocks noGrp="1"/>
          </p:cNvSpPr>
          <p:nvPr>
            <p:ph type="sldNum" sz="quarter" idx="12"/>
          </p:nvPr>
        </p:nvSpPr>
        <p:spPr/>
        <p:txBody>
          <a:bodyPr/>
          <a:lstStyle/>
          <a:p>
            <a:fld id="{1267BF92-073C-4ECE-B084-A7F2B13135E2}" type="slidenum">
              <a:rPr lang="en-US" smtClean="0"/>
              <a:t>59</a:t>
            </a:fld>
            <a:endParaRPr lang="en-US"/>
          </a:p>
        </p:txBody>
      </p:sp>
    </p:spTree>
    <p:extLst>
      <p:ext uri="{BB962C8B-B14F-4D97-AF65-F5344CB8AC3E}">
        <p14:creationId xmlns:p14="http://schemas.microsoft.com/office/powerpoint/2010/main" val="856202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838200" y="461702"/>
            <a:ext cx="10515600" cy="695375"/>
          </a:xfrm>
        </p:spPr>
        <p:txBody>
          <a:bodyPr/>
          <a:lstStyle/>
          <a:p>
            <a:r>
              <a:rPr lang="en-US" dirty="0"/>
              <a:t>Aims of the webinar series	</a:t>
            </a:r>
          </a:p>
        </p:txBody>
      </p:sp>
      <p:sp>
        <p:nvSpPr>
          <p:cNvPr id="8" name="Content Placeholder 7">
            <a:extLst>
              <a:ext uri="{FF2B5EF4-FFF2-40B4-BE49-F238E27FC236}">
                <a16:creationId xmlns:a16="http://schemas.microsoft.com/office/drawing/2014/main" id="{C093C699-0139-FC79-A7E7-0FF14B037E88}"/>
              </a:ext>
            </a:extLst>
          </p:cNvPr>
          <p:cNvSpPr>
            <a:spLocks noGrp="1"/>
          </p:cNvSpPr>
          <p:nvPr>
            <p:ph idx="1"/>
          </p:nvPr>
        </p:nvSpPr>
        <p:spPr>
          <a:xfrm>
            <a:off x="838200" y="1252083"/>
            <a:ext cx="10515599" cy="4810237"/>
          </a:xfrm>
        </p:spPr>
        <p:txBody>
          <a:bodyPr>
            <a:normAutofit/>
          </a:bodyPr>
          <a:lstStyle/>
          <a:p>
            <a:r>
              <a:rPr lang="en-US" dirty="0"/>
              <a:t>Dr. Robert McLaughlin, NCDE </a:t>
            </a:r>
          </a:p>
          <a:p>
            <a:endParaRPr lang="en-US" dirty="0"/>
          </a:p>
          <a:p>
            <a:pPr marL="342900" indent="-342900">
              <a:buFont typeface="Arial" panose="020B0604020202020204" pitchFamily="34" charset="0"/>
              <a:buChar char="•"/>
            </a:pPr>
            <a:r>
              <a:rPr lang="en-US" dirty="0"/>
              <a:t>Opportunity &amp; challenge to bring together underrepresented and leaders in otherwise disparate inclusion siloes to design for </a:t>
            </a:r>
            <a:r>
              <a:rPr lang="en-US" b="1" i="1" dirty="0"/>
              <a:t>systemic impact on intergenerational poverty</a:t>
            </a:r>
          </a:p>
          <a:p>
            <a:pPr marL="342900" indent="-342900">
              <a:buFont typeface="Arial" panose="020B0604020202020204" pitchFamily="34" charset="0"/>
              <a:buChar char="•"/>
            </a:pPr>
            <a:r>
              <a:rPr lang="en-US" b="1" i="1" dirty="0"/>
              <a:t>Systemic Inclusion = “FEED” – financial, economic, educational &amp; digital</a:t>
            </a:r>
          </a:p>
          <a:p>
            <a:pPr marL="342900" indent="-342900">
              <a:buFont typeface="Arial" panose="020B0604020202020204" pitchFamily="34" charset="0"/>
              <a:buChar char="•"/>
            </a:pPr>
            <a:r>
              <a:rPr lang="en-US" dirty="0"/>
              <a:t>FDIC webinar series to help local, state and national inclusion leaders connect across inclusion dimensions, with planning </a:t>
            </a:r>
            <a:r>
              <a:rPr lang="en-US" i="1" dirty="0"/>
              <a:t>led</a:t>
            </a:r>
            <a:r>
              <a:rPr lang="en-US" dirty="0"/>
              <a:t> by underserved and committed to impact on poverty</a:t>
            </a:r>
          </a:p>
          <a:p>
            <a:pPr marL="342900" indent="-342900">
              <a:buFont typeface="Arial" panose="020B0604020202020204" pitchFamily="34" charset="0"/>
              <a:buChar char="•"/>
            </a:pPr>
            <a:r>
              <a:rPr lang="en-US" b="1" dirty="0"/>
              <a:t>National summit, March 15-16, 2023, in Atlanta </a:t>
            </a:r>
            <a:r>
              <a:rPr lang="en-US" dirty="0"/>
              <a:t>for State systemic inclusion teams to share most promising strategies for integration in each other’s State plans</a:t>
            </a:r>
          </a:p>
          <a:p>
            <a:pPr marL="342900" indent="-342900">
              <a:buFont typeface="Arial" panose="020B0604020202020204" pitchFamily="34" charset="0"/>
              <a:buChar char="•"/>
            </a:pPr>
            <a:r>
              <a:rPr lang="en-US" b="1" dirty="0"/>
              <a:t>www.InclusionJunction.org </a:t>
            </a:r>
            <a:r>
              <a:rPr lang="en-US" dirty="0"/>
              <a:t>enable inclusion leaders to share about their efforts and find colleagues to collaborate with</a:t>
            </a:r>
          </a:p>
          <a:p>
            <a:endParaRPr lang="en-US" dirty="0"/>
          </a:p>
        </p:txBody>
      </p:sp>
      <p:sp>
        <p:nvSpPr>
          <p:cNvPr id="3" name="Slide Number Placeholder 2"/>
          <p:cNvSpPr>
            <a:spLocks noGrp="1"/>
          </p:cNvSpPr>
          <p:nvPr>
            <p:ph type="sldNum" sz="quarter" idx="12"/>
          </p:nvPr>
        </p:nvSpPr>
        <p:spPr/>
        <p:txBody>
          <a:bodyPr/>
          <a:lstStyle/>
          <a:p>
            <a:fld id="{1267BF92-073C-4ECE-B084-A7F2B13135E2}" type="slidenum">
              <a:rPr lang="en-US" smtClean="0"/>
              <a:t>6</a:t>
            </a:fld>
            <a:endParaRPr lang="en-US"/>
          </a:p>
        </p:txBody>
      </p:sp>
    </p:spTree>
    <p:extLst>
      <p:ext uri="{BB962C8B-B14F-4D97-AF65-F5344CB8AC3E}">
        <p14:creationId xmlns:p14="http://schemas.microsoft.com/office/powerpoint/2010/main" val="13574081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72CED2-FE26-1377-3F2D-BF91FCF1FB2C}"/>
              </a:ext>
            </a:extLst>
          </p:cNvPr>
          <p:cNvSpPr>
            <a:spLocks noGrp="1"/>
          </p:cNvSpPr>
          <p:nvPr>
            <p:ph type="title"/>
          </p:nvPr>
        </p:nvSpPr>
        <p:spPr>
          <a:xfrm>
            <a:off x="838200" y="461702"/>
            <a:ext cx="10515600" cy="695375"/>
          </a:xfrm>
        </p:spPr>
        <p:txBody>
          <a:bodyPr/>
          <a:lstStyle/>
          <a:p>
            <a:pPr algn="ctr"/>
            <a:r>
              <a:rPr lang="en-US" dirty="0"/>
              <a:t>Inclusion Junction	</a:t>
            </a:r>
          </a:p>
        </p:txBody>
      </p:sp>
      <p:sp>
        <p:nvSpPr>
          <p:cNvPr id="8" name="Content Placeholder 7">
            <a:extLst>
              <a:ext uri="{FF2B5EF4-FFF2-40B4-BE49-F238E27FC236}">
                <a16:creationId xmlns:a16="http://schemas.microsoft.com/office/drawing/2014/main" id="{C093C699-0139-FC79-A7E7-0FF14B037E88}"/>
              </a:ext>
            </a:extLst>
          </p:cNvPr>
          <p:cNvSpPr>
            <a:spLocks noGrp="1"/>
          </p:cNvSpPr>
          <p:nvPr>
            <p:ph idx="1"/>
          </p:nvPr>
        </p:nvSpPr>
        <p:spPr>
          <a:xfrm>
            <a:off x="838201" y="1252084"/>
            <a:ext cx="7183965" cy="4120016"/>
          </a:xfrm>
        </p:spPr>
        <p:txBody>
          <a:bodyPr>
            <a:normAutofit/>
          </a:bodyPr>
          <a:lstStyle/>
          <a:p>
            <a:endParaRPr lang="en-US" dirty="0"/>
          </a:p>
          <a:p>
            <a:r>
              <a:rPr lang="en-US" b="1" dirty="0">
                <a:hlinkClick r:id="rId2"/>
              </a:rPr>
              <a:t>InclusionJunction.org</a:t>
            </a:r>
            <a:r>
              <a:rPr lang="en-US" b="1" dirty="0"/>
              <a:t> </a:t>
            </a:r>
          </a:p>
          <a:p>
            <a:endParaRPr lang="en-US" sz="1200" dirty="0"/>
          </a:p>
          <a:p>
            <a:pPr marL="342900" indent="-342900">
              <a:buFont typeface="Arial" panose="020B0604020202020204" pitchFamily="34" charset="0"/>
              <a:buChar char="•"/>
            </a:pPr>
            <a:r>
              <a:rPr lang="en-US" sz="2000" dirty="0"/>
              <a:t>Create an account</a:t>
            </a:r>
          </a:p>
          <a:p>
            <a:pPr marL="342900" indent="-342900">
              <a:buFont typeface="Arial" panose="020B0604020202020204" pitchFamily="34" charset="0"/>
              <a:buChar char="•"/>
            </a:pPr>
            <a:r>
              <a:rPr lang="en-US" sz="2000" dirty="0"/>
              <a:t>Receive email notification/verification</a:t>
            </a:r>
          </a:p>
          <a:p>
            <a:pPr marL="342900" indent="-342900">
              <a:buFont typeface="Arial" panose="020B0604020202020204" pitchFamily="34" charset="0"/>
              <a:buChar char="•"/>
            </a:pPr>
            <a:r>
              <a:rPr lang="en-US" sz="2000" dirty="0"/>
              <a:t>Await rapid validation (to screen out spamming, fictional characters …)</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Create your profile (3-5 minutes)</a:t>
            </a:r>
          </a:p>
          <a:p>
            <a:pPr marL="342900" indent="-342900">
              <a:buFont typeface="Arial" panose="020B0604020202020204" pitchFamily="34" charset="0"/>
              <a:buChar char="•"/>
            </a:pPr>
            <a:r>
              <a:rPr lang="en-US" sz="2000" dirty="0"/>
              <a:t>Search for others</a:t>
            </a:r>
          </a:p>
          <a:p>
            <a:pPr marL="342900" indent="-342900">
              <a:buFont typeface="Arial" panose="020B0604020202020204" pitchFamily="34" charset="0"/>
              <a:buChar char="•"/>
            </a:pPr>
            <a:r>
              <a:rPr lang="en-US" sz="2000" dirty="0"/>
              <a:t>Send private messages to others in Inclusion community</a:t>
            </a:r>
          </a:p>
        </p:txBody>
      </p:sp>
      <p:sp>
        <p:nvSpPr>
          <p:cNvPr id="2" name="Slide Number Placeholder 1">
            <a:extLst>
              <a:ext uri="{FF2B5EF4-FFF2-40B4-BE49-F238E27FC236}">
                <a16:creationId xmlns:a16="http://schemas.microsoft.com/office/drawing/2014/main" id="{A29D3433-9D99-2E0A-F6E9-EAB56FFC4F2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3256"/>
              </a:solidFill>
              <a:effectLst/>
              <a:uLnTx/>
              <a:uFillTx/>
              <a:latin typeface="Source Sans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3256"/>
              </a:solidFill>
              <a:effectLst/>
              <a:uLnTx/>
              <a:uFillTx/>
              <a:latin typeface="Source Sans Pro"/>
              <a:ea typeface="+mn-ea"/>
              <a:cs typeface="+mn-cs"/>
            </a:endParaRPr>
          </a:p>
        </p:txBody>
      </p:sp>
      <p:pic>
        <p:nvPicPr>
          <p:cNvPr id="4" name="Picture 3">
            <a:extLst>
              <a:ext uri="{FF2B5EF4-FFF2-40B4-BE49-F238E27FC236}">
                <a16:creationId xmlns:a16="http://schemas.microsoft.com/office/drawing/2014/main" id="{12AB24F6-791B-9E70-BA73-A253CD775957}"/>
              </a:ext>
            </a:extLst>
          </p:cNvPr>
          <p:cNvPicPr>
            <a:picLocks noChangeAspect="1"/>
          </p:cNvPicPr>
          <p:nvPr/>
        </p:nvPicPr>
        <p:blipFill>
          <a:blip r:embed="rId3"/>
          <a:stretch>
            <a:fillRect/>
          </a:stretch>
        </p:blipFill>
        <p:spPr>
          <a:xfrm>
            <a:off x="8280399" y="1554711"/>
            <a:ext cx="2479713" cy="4364097"/>
          </a:xfrm>
          <a:prstGeom prst="rect">
            <a:avLst/>
          </a:prstGeom>
        </p:spPr>
      </p:pic>
    </p:spTree>
    <p:extLst>
      <p:ext uri="{BB962C8B-B14F-4D97-AF65-F5344CB8AC3E}">
        <p14:creationId xmlns:p14="http://schemas.microsoft.com/office/powerpoint/2010/main" val="20348611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1606916" y="2526322"/>
            <a:ext cx="9144000" cy="2333625"/>
          </a:xfrm>
        </p:spPr>
        <p:txBody>
          <a:bodyPr>
            <a:normAutofit fontScale="90000"/>
          </a:bodyPr>
          <a:lstStyle/>
          <a:p>
            <a:r>
              <a:rPr lang="en-US" sz="9600" b="1" dirty="0">
                <a:solidFill>
                  <a:srgbClr val="FF0000"/>
                </a:solidFill>
              </a:rPr>
              <a:t>Q </a:t>
            </a:r>
            <a:r>
              <a:rPr lang="en-US" sz="9600" b="1" dirty="0"/>
              <a:t>&amp; </a:t>
            </a:r>
            <a:r>
              <a:rPr lang="en-US" sz="9600" b="1" dirty="0">
                <a:solidFill>
                  <a:srgbClr val="FF0000"/>
                </a:solidFill>
              </a:rPr>
              <a:t>A</a:t>
            </a:r>
            <a:br>
              <a:rPr lang="en-US" sz="9600" b="1" dirty="0">
                <a:solidFill>
                  <a:srgbClr val="FF0000"/>
                </a:solidFill>
              </a:rPr>
            </a:br>
            <a:r>
              <a:rPr lang="en-US" sz="9600" i="1" dirty="0">
                <a:solidFill>
                  <a:srgbClr val="FF0000"/>
                </a:solidFill>
              </a:rPr>
              <a:t>Session</a:t>
            </a:r>
          </a:p>
        </p:txBody>
      </p:sp>
    </p:spTree>
    <p:extLst>
      <p:ext uri="{BB962C8B-B14F-4D97-AF65-F5344CB8AC3E}">
        <p14:creationId xmlns:p14="http://schemas.microsoft.com/office/powerpoint/2010/main" val="6653960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1325563" y="568949"/>
            <a:ext cx="9144000" cy="1593280"/>
          </a:xfrm>
        </p:spPr>
        <p:txBody>
          <a:bodyPr>
            <a:normAutofit/>
          </a:bodyPr>
          <a:lstStyle/>
          <a:p>
            <a:r>
              <a:rPr lang="en-US" sz="9600" b="1" dirty="0"/>
              <a:t>Next Steps</a:t>
            </a:r>
            <a:endParaRPr lang="en-US" sz="9600" i="1" dirty="0"/>
          </a:p>
        </p:txBody>
      </p:sp>
      <p:sp>
        <p:nvSpPr>
          <p:cNvPr id="3" name="TextBox 2">
            <a:extLst>
              <a:ext uri="{FF2B5EF4-FFF2-40B4-BE49-F238E27FC236}">
                <a16:creationId xmlns:a16="http://schemas.microsoft.com/office/drawing/2014/main" id="{52D0F81E-9BD3-F100-A9CA-AD3E9A39B9BB}"/>
              </a:ext>
            </a:extLst>
          </p:cNvPr>
          <p:cNvSpPr txBox="1"/>
          <p:nvPr/>
        </p:nvSpPr>
        <p:spPr>
          <a:xfrm>
            <a:off x="0" y="2389843"/>
            <a:ext cx="12191999" cy="2677656"/>
          </a:xfrm>
          <a:prstGeom prst="rect">
            <a:avLst/>
          </a:prstGeom>
          <a:noFill/>
        </p:spPr>
        <p:txBody>
          <a:bodyPr wrap="square" rtlCol="0">
            <a:spAutoFit/>
          </a:bodyPr>
          <a:lstStyle/>
          <a:p>
            <a:pPr marL="285750" indent="-285750">
              <a:buFont typeface="Arial" panose="020B0604020202020204" pitchFamily="34" charset="0"/>
              <a:buChar char="•"/>
            </a:pPr>
            <a:r>
              <a:rPr lang="en-US" sz="2400" b="1" dirty="0">
                <a:solidFill>
                  <a:srgbClr val="FF0000"/>
                </a:solidFill>
                <a:hlinkClick r:id="rId2">
                  <a:extLst>
                    <a:ext uri="{A12FA001-AC4F-418D-AE19-62706E023703}">
                      <ahyp:hlinkClr xmlns:ahyp="http://schemas.microsoft.com/office/drawing/2018/hyperlinkcolor" val="tx"/>
                    </a:ext>
                  </a:extLst>
                </a:hlinkClick>
              </a:rPr>
              <a:t>Register for the next webinars</a:t>
            </a:r>
            <a:r>
              <a:rPr lang="en-US" sz="2400" dirty="0">
                <a:solidFill>
                  <a:schemeClr val="bg1"/>
                </a:solidFill>
              </a:rPr>
              <a:t>! </a:t>
            </a:r>
            <a:r>
              <a:rPr lang="en-US" sz="2400" dirty="0">
                <a:solidFill>
                  <a:schemeClr val="bg1"/>
                </a:solidFill>
                <a:sym typeface="Wingdings" panose="05000000000000000000" pitchFamily="2" charset="2"/>
              </a:rPr>
              <a:t> </a:t>
            </a:r>
            <a:endParaRPr lang="en-US" sz="2400" dirty="0">
              <a:solidFill>
                <a:schemeClr val="bg1"/>
              </a:solidFill>
            </a:endParaRPr>
          </a:p>
          <a:p>
            <a:pPr marL="285750" indent="-285750">
              <a:buFont typeface="Arial" panose="020B0604020202020204" pitchFamily="34" charset="0"/>
              <a:buChar char="•"/>
            </a:pPr>
            <a:r>
              <a:rPr lang="en-US" sz="2400" dirty="0">
                <a:solidFill>
                  <a:schemeClr val="bg1"/>
                </a:solidFill>
              </a:rPr>
              <a:t>Create your account in </a:t>
            </a:r>
            <a:r>
              <a:rPr lang="en-US" sz="2400" b="1" dirty="0">
                <a:solidFill>
                  <a:srgbClr val="FF0000"/>
                </a:solidFill>
                <a:hlinkClick r:id="rId3">
                  <a:extLst>
                    <a:ext uri="{A12FA001-AC4F-418D-AE19-62706E023703}">
                      <ahyp:hlinkClr xmlns:ahyp="http://schemas.microsoft.com/office/drawing/2018/hyperlinkcolor" val="tx"/>
                    </a:ext>
                  </a:extLst>
                </a:hlinkClick>
              </a:rPr>
              <a:t>www.InclusionJunction.org</a:t>
            </a:r>
            <a:r>
              <a:rPr lang="en-US" sz="2400" b="1" dirty="0">
                <a:solidFill>
                  <a:srgbClr val="FF0000"/>
                </a:solidFill>
              </a:rPr>
              <a:t> </a:t>
            </a:r>
          </a:p>
          <a:p>
            <a:pPr marL="285750" indent="-285750">
              <a:buFont typeface="Arial" panose="020B0604020202020204" pitchFamily="34" charset="0"/>
              <a:buChar char="•"/>
            </a:pPr>
            <a:r>
              <a:rPr lang="en-US" sz="2400" dirty="0">
                <a:solidFill>
                  <a:schemeClr val="bg1"/>
                </a:solidFill>
              </a:rPr>
              <a:t>Connect with others via Inclusion Junction to co-develop State(s)’ digital equity plans for systemic inclusion</a:t>
            </a:r>
          </a:p>
          <a:p>
            <a:pPr marL="285750" indent="-285750">
              <a:buFont typeface="Arial" panose="020B0604020202020204" pitchFamily="34" charset="0"/>
              <a:buChar char="•"/>
            </a:pPr>
            <a:r>
              <a:rPr lang="en-US" sz="2400" dirty="0">
                <a:solidFill>
                  <a:schemeClr val="bg1"/>
                </a:solidFill>
              </a:rPr>
              <a:t>Join fellow inclusion catalysts in scaling and sustaining collective efforts</a:t>
            </a:r>
          </a:p>
          <a:p>
            <a:pPr marL="285750" indent="-285750">
              <a:buFont typeface="Arial" panose="020B0604020202020204" pitchFamily="34" charset="0"/>
              <a:buChar char="•"/>
            </a:pPr>
            <a:r>
              <a:rPr lang="en-US" sz="2400" dirty="0">
                <a:solidFill>
                  <a:schemeClr val="bg1"/>
                </a:solidFill>
              </a:rPr>
              <a:t>Plan to attend national systemic inclusion summit for State leadership teams in Atlanta, March 15-16, 2023</a:t>
            </a:r>
          </a:p>
        </p:txBody>
      </p:sp>
    </p:spTree>
    <p:extLst>
      <p:ext uri="{BB962C8B-B14F-4D97-AF65-F5344CB8AC3E}">
        <p14:creationId xmlns:p14="http://schemas.microsoft.com/office/powerpoint/2010/main" val="14699602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0" y="844642"/>
            <a:ext cx="12192000" cy="4248150"/>
          </a:xfrm>
        </p:spPr>
        <p:txBody>
          <a:bodyPr>
            <a:normAutofit fontScale="90000"/>
          </a:bodyPr>
          <a:lstStyle/>
          <a:p>
            <a:r>
              <a:rPr lang="en-US" sz="9600" b="1" dirty="0"/>
              <a:t>Next Webinar #3</a:t>
            </a:r>
            <a:br>
              <a:rPr lang="en-US" sz="9600" b="1" dirty="0"/>
            </a:br>
            <a:r>
              <a:rPr lang="en-US" dirty="0">
                <a:latin typeface="+mj-lt"/>
                <a:ea typeface="Calibri" panose="020F0502020204030204" pitchFamily="34" charset="0"/>
              </a:rPr>
              <a:t>Assembling Strategic Inclusion Allies – Enhancing Resources and Measuring Impact</a:t>
            </a:r>
            <a:br>
              <a:rPr lang="en-US" sz="2400" dirty="0">
                <a:latin typeface="+mj-lt"/>
                <a:ea typeface="Calibri" panose="020F0502020204030204" pitchFamily="34" charset="0"/>
              </a:rPr>
            </a:br>
            <a:endParaRPr lang="en-US" sz="9600" i="1" dirty="0"/>
          </a:p>
        </p:txBody>
      </p:sp>
      <p:sp>
        <p:nvSpPr>
          <p:cNvPr id="15" name="Subtitle 14"/>
          <p:cNvSpPr>
            <a:spLocks noGrp="1"/>
          </p:cNvSpPr>
          <p:nvPr>
            <p:ph type="subTitle" idx="1"/>
          </p:nvPr>
        </p:nvSpPr>
        <p:spPr/>
        <p:txBody>
          <a:bodyPr>
            <a:normAutofit fontScale="77500" lnSpcReduction="20000"/>
          </a:bodyPr>
          <a:lstStyle/>
          <a:p>
            <a:r>
              <a:rPr lang="en-US" sz="2400" b="1" dirty="0">
                <a:ea typeface="Calibri" panose="020F0502020204030204" pitchFamily="34" charset="0"/>
              </a:rPr>
              <a:t>Wednesday, November 2, 2022</a:t>
            </a:r>
            <a:r>
              <a:rPr lang="en-US" sz="2400" dirty="0">
                <a:ea typeface="Calibri" panose="020F0502020204030204" pitchFamily="34" charset="0"/>
              </a:rPr>
              <a:t> </a:t>
            </a:r>
          </a:p>
          <a:p>
            <a:r>
              <a:rPr lang="en-US" sz="2400" dirty="0">
                <a:ea typeface="Calibri" panose="020F0502020204030204" pitchFamily="34" charset="0"/>
              </a:rPr>
              <a:t>1PM to 2PM (ET) </a:t>
            </a:r>
            <a:br>
              <a:rPr lang="en-US" sz="1200" dirty="0">
                <a:solidFill>
                  <a:srgbClr val="20509E"/>
                </a:solidFill>
                <a:latin typeface="Calibri" panose="020F0502020204030204" pitchFamily="34" charset="0"/>
                <a:ea typeface="Calibri" panose="020F0502020204030204" pitchFamily="34" charset="0"/>
              </a:rPr>
            </a:br>
            <a:endParaRPr lang="en-US" dirty="0"/>
          </a:p>
        </p:txBody>
      </p:sp>
    </p:spTree>
    <p:extLst>
      <p:ext uri="{BB962C8B-B14F-4D97-AF65-F5344CB8AC3E}">
        <p14:creationId xmlns:p14="http://schemas.microsoft.com/office/powerpoint/2010/main" val="3256468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Diagram, text&#10;&#10;Description automatically generated">
            <a:extLst>
              <a:ext uri="{FF2B5EF4-FFF2-40B4-BE49-F238E27FC236}">
                <a16:creationId xmlns:a16="http://schemas.microsoft.com/office/drawing/2014/main" id="{C30C41D0-8EB1-3699-4DBB-B1E96C37195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18337" y="216143"/>
            <a:ext cx="5703277" cy="6583289"/>
          </a:xfrm>
        </p:spPr>
      </p:pic>
      <p:sp>
        <p:nvSpPr>
          <p:cNvPr id="4" name="Slide Number Placeholder 3">
            <a:extLst>
              <a:ext uri="{FF2B5EF4-FFF2-40B4-BE49-F238E27FC236}">
                <a16:creationId xmlns:a16="http://schemas.microsoft.com/office/drawing/2014/main" id="{75BE62BF-53DD-FC66-941E-A1A15096BDB9}"/>
              </a:ext>
            </a:extLst>
          </p:cNvPr>
          <p:cNvSpPr>
            <a:spLocks noGrp="1"/>
          </p:cNvSpPr>
          <p:nvPr>
            <p:ph type="sldNum" sz="quarter" idx="12"/>
          </p:nvPr>
        </p:nvSpPr>
        <p:spPr/>
        <p:txBody>
          <a:bodyPr/>
          <a:lstStyle/>
          <a:p>
            <a:fld id="{1267BF92-073C-4ECE-B084-A7F2B13135E2}" type="slidenum">
              <a:rPr lang="en-US" smtClean="0"/>
              <a:t>7</a:t>
            </a:fld>
            <a:endParaRPr lang="en-US"/>
          </a:p>
        </p:txBody>
      </p:sp>
    </p:spTree>
    <p:extLst>
      <p:ext uri="{BB962C8B-B14F-4D97-AF65-F5344CB8AC3E}">
        <p14:creationId xmlns:p14="http://schemas.microsoft.com/office/powerpoint/2010/main" val="3690389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9B18BA-ED0E-4FF2-0FE0-B14FD2CC1CB0}"/>
              </a:ext>
            </a:extLst>
          </p:cNvPr>
          <p:cNvSpPr>
            <a:spLocks noGrp="1"/>
          </p:cNvSpPr>
          <p:nvPr>
            <p:ph type="sldNum" sz="quarter" idx="12"/>
          </p:nvPr>
        </p:nvSpPr>
        <p:spPr/>
        <p:txBody>
          <a:bodyPr/>
          <a:lstStyle/>
          <a:p>
            <a:fld id="{1267BF92-073C-4ECE-B084-A7F2B13135E2}" type="slidenum">
              <a:rPr lang="en-US" smtClean="0"/>
              <a:t>8</a:t>
            </a:fld>
            <a:endParaRPr lang="en-US"/>
          </a:p>
        </p:txBody>
      </p:sp>
      <p:pic>
        <p:nvPicPr>
          <p:cNvPr id="7" name="Content Placeholder 6" descr="Diagram&#10;&#10;Description automatically generated">
            <a:extLst>
              <a:ext uri="{FF2B5EF4-FFF2-40B4-BE49-F238E27FC236}">
                <a16:creationId xmlns:a16="http://schemas.microsoft.com/office/drawing/2014/main" id="{69CA3C10-43F0-8BFD-D183-9F24A233516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3522" y="306356"/>
            <a:ext cx="10115124" cy="5870608"/>
          </a:xfrm>
        </p:spPr>
      </p:pic>
    </p:spTree>
    <p:extLst>
      <p:ext uri="{BB962C8B-B14F-4D97-AF65-F5344CB8AC3E}">
        <p14:creationId xmlns:p14="http://schemas.microsoft.com/office/powerpoint/2010/main" val="2042568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Diagram&#10;&#10;Description automatically generated">
            <a:extLst>
              <a:ext uri="{FF2B5EF4-FFF2-40B4-BE49-F238E27FC236}">
                <a16:creationId xmlns:a16="http://schemas.microsoft.com/office/drawing/2014/main" id="{681C1496-4ED3-5D69-1480-55FF79937DC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2334" y="123206"/>
            <a:ext cx="10984220" cy="6312411"/>
          </a:xfrm>
        </p:spPr>
      </p:pic>
      <p:sp>
        <p:nvSpPr>
          <p:cNvPr id="4" name="Slide Number Placeholder 3">
            <a:extLst>
              <a:ext uri="{FF2B5EF4-FFF2-40B4-BE49-F238E27FC236}">
                <a16:creationId xmlns:a16="http://schemas.microsoft.com/office/drawing/2014/main" id="{FE89AE9D-596B-FF1D-28BF-8CA71AF53C41}"/>
              </a:ext>
            </a:extLst>
          </p:cNvPr>
          <p:cNvSpPr>
            <a:spLocks noGrp="1"/>
          </p:cNvSpPr>
          <p:nvPr>
            <p:ph type="sldNum" sz="quarter" idx="12"/>
          </p:nvPr>
        </p:nvSpPr>
        <p:spPr/>
        <p:txBody>
          <a:bodyPr/>
          <a:lstStyle/>
          <a:p>
            <a:fld id="{1267BF92-073C-4ECE-B084-A7F2B13135E2}" type="slidenum">
              <a:rPr lang="en-US" smtClean="0"/>
              <a:t>9</a:t>
            </a:fld>
            <a:endParaRPr lang="en-US"/>
          </a:p>
        </p:txBody>
      </p:sp>
    </p:spTree>
    <p:extLst>
      <p:ext uri="{BB962C8B-B14F-4D97-AF65-F5344CB8AC3E}">
        <p14:creationId xmlns:p14="http://schemas.microsoft.com/office/powerpoint/2010/main" val="1226368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GRADIENT_CIRCLE" val="1"/>
</p:tagLst>
</file>

<file path=ppt/theme/theme1.xml><?xml version="1.0" encoding="utf-8"?>
<a:theme xmlns:a="http://schemas.openxmlformats.org/drawingml/2006/main" name="FDIC theme">
  <a:themeElements>
    <a:clrScheme name="FDIC colors">
      <a:dk1>
        <a:srgbClr val="003256"/>
      </a:dk1>
      <a:lt1>
        <a:srgbClr val="FFFFFF"/>
      </a:lt1>
      <a:dk2>
        <a:srgbClr val="44546A"/>
      </a:dk2>
      <a:lt2>
        <a:srgbClr val="E7E6E6"/>
      </a:lt2>
      <a:accent1>
        <a:srgbClr val="003256"/>
      </a:accent1>
      <a:accent2>
        <a:srgbClr val="B7AC83"/>
      </a:accent2>
      <a:accent3>
        <a:srgbClr val="7F7141"/>
      </a:accent3>
      <a:accent4>
        <a:srgbClr val="20509E"/>
      </a:accent4>
      <a:accent5>
        <a:srgbClr val="38B6FF"/>
      </a:accent5>
      <a:accent6>
        <a:srgbClr val="4B81A8"/>
      </a:accent6>
      <a:hlink>
        <a:srgbClr val="0563C1"/>
      </a:hlink>
      <a:folHlink>
        <a:srgbClr val="38B6FF"/>
      </a:folHlink>
    </a:clrScheme>
    <a:fontScheme name="FDIC fonts">
      <a:majorFont>
        <a:latin typeface="Merriweather"/>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24A9D8E-752C-4BB1-840C-8F8B96507B74}" vid="{65DD7B15-A29B-458E-9C19-A163E040D79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11820</TotalTime>
  <Words>5550</Words>
  <Application>Microsoft Office PowerPoint</Application>
  <PresentationFormat>Widescreen</PresentationFormat>
  <Paragraphs>660</Paragraphs>
  <Slides>63</Slides>
  <Notes>34</Notes>
  <HiddenSlides>0</HiddenSlides>
  <MMClips>0</MMClips>
  <ScaleCrop>false</ScaleCrop>
  <HeadingPairs>
    <vt:vector size="4" baseType="variant">
      <vt:variant>
        <vt:lpstr>Theme</vt:lpstr>
      </vt:variant>
      <vt:variant>
        <vt:i4>1</vt:i4>
      </vt:variant>
      <vt:variant>
        <vt:lpstr>Slide Titles</vt:lpstr>
      </vt:variant>
      <vt:variant>
        <vt:i4>63</vt:i4>
      </vt:variant>
    </vt:vector>
  </HeadingPairs>
  <TitlesOfParts>
    <vt:vector size="64" baseType="lpstr">
      <vt:lpstr>FDIC theme</vt:lpstr>
      <vt:lpstr>Connecting States’ Financial, Economic and Digital Inclusion Initiatives (webinar series)   Webinar # 2   Systemic Inclusion Allies and Resources</vt:lpstr>
      <vt:lpstr> WEBINAR SERIES   Webinar #3: Be Kind and Refurbish - Laptops Bundled with Financial &amp; Economic Inclusion Resources Wednesday, November 2, 2022 – 1PM to 2PM (ET) Why and how to create sustainable statewide ecosystems for refurbishing and donating computers   Webinar #4: Finding Free &amp; Low-Cost Broadband Bundled with Financial and Economic Inclusion Resources Wednesday, November 16, 2022 – 4PM to 5PM (ET) How to leverage drive-imaging to offer inclusion apps and pointers with discounted broadband &amp; devices.   Webinar #5: Encouraging Youth Leadership Development - The Future of Digital and Financial Inclusion Monday, November 28, 2022 – 1PM to 2PM (ET) How youth can lead local digital equity needs-sensing and planning while building their own digital, media &amp; financial literacy skills.  Webinar #6: Uncovering Rural Systemic Inclusion Strategies - Outside the Urban Lines Thursday, December 15, 2022 – 1PM to 2PM (ET) Challenges, opportunities and lessons learned thus far from systemic inclusion efforts in New Hampshire.  </vt:lpstr>
      <vt:lpstr>Webinar Agenda:  </vt:lpstr>
      <vt:lpstr>Panelists Thoughts:   Promising and impactful inclusion resources  How their efforts stand ready to support those addressing other inclusion dimensions  How those addressing other inclusion dimensions can enhance their own inclusion outcomes   Systemic Inclusion = Financial, Economic Educational &amp; Digital Inclusion  </vt:lpstr>
      <vt:lpstr>The views expressed in this presentation are the presenters and do not necessarily represent the views of the Federal Deposit Insurance Corporation</vt:lpstr>
      <vt:lpstr>Aims of the webinar series </vt:lpstr>
      <vt:lpstr>PowerPoint Presentation</vt:lpstr>
      <vt:lpstr>PowerPoint Presentation</vt:lpstr>
      <vt:lpstr>PowerPoint Presentation</vt:lpstr>
      <vt:lpstr>Digital Equity Supports for Financial Inclusion</vt:lpstr>
      <vt:lpstr>Digital Equity Supports for Economic Inclusion</vt:lpstr>
      <vt:lpstr>Digital Equity Supports for Educational Inclusion</vt:lpstr>
      <vt:lpstr>FI, EI &amp; EdI Resources for DE Impact on Poverty</vt:lpstr>
      <vt:lpstr>Angela Thi Bennett, Director of Digital Equity, NTIA  </vt:lpstr>
      <vt:lpstr>Digital equity act Programs</vt:lpstr>
      <vt:lpstr>NTIA will administer ~$48B through four programs that drive high-speed Internet access, affordability, and adoption</vt:lpstr>
      <vt:lpstr>Digital Equity Act created three programs to promote digital equity and inclusion</vt:lpstr>
      <vt:lpstr>Planning funds will be used to develop State Digital Equity Plans, which must contain several components</vt:lpstr>
      <vt:lpstr>The Digital Equity Act focuses on addressing the needs of "covered populations" as defined by the statute</vt:lpstr>
      <vt:lpstr>Eligible entities are required to engage with key stakeholders as a part of developing digital equity plans </vt:lpstr>
      <vt:lpstr>Every stakeholder plays a role in the Digital Equity programs</vt:lpstr>
      <vt:lpstr>Additional resources about the Digital Equity Programs</vt:lpstr>
      <vt:lpstr>PowerPoint Presentation</vt:lpstr>
      <vt:lpstr>Amy Passow, CDW  </vt:lpstr>
      <vt:lpstr>CDW Funding Solutions</vt:lpstr>
      <vt:lpstr>Emergency Connectivity Fund Leader</vt:lpstr>
      <vt:lpstr>E-Rate program leader</vt:lpstr>
      <vt:lpstr>Funding Solutions Focus</vt:lpstr>
      <vt:lpstr>CDW E-Rate TEams</vt:lpstr>
      <vt:lpstr>CDW National HBCU Team</vt:lpstr>
      <vt:lpstr>Closing the Technology Gap &amp; Facilitating Change</vt:lpstr>
      <vt:lpstr>LocalizeIT with CDW Amplified™ Services</vt:lpstr>
      <vt:lpstr>Education Strategy Impact Team</vt:lpstr>
      <vt:lpstr>PowerPoint Presentation</vt:lpstr>
      <vt:lpstr>PowerPoint Presentation</vt:lpstr>
      <vt:lpstr>Colin Rhinesmith, Digital Equity Research Center </vt:lpstr>
      <vt:lpstr>Digital Equity Ecosystems Measurement (DEEM) Framework</vt:lpstr>
      <vt:lpstr>About Me</vt:lpstr>
      <vt:lpstr>Digital Equity Ecosystems</vt:lpstr>
      <vt:lpstr>Digital Equity Ecosystems</vt:lpstr>
      <vt:lpstr>Next Steps</vt:lpstr>
      <vt:lpstr>Digital Equity Ecosystems Measurement  (DEEM) Framework</vt:lpstr>
      <vt:lpstr>Thank you!                    Questions?</vt:lpstr>
      <vt:lpstr>David Rothstein, Cities for Financial Empowerment Fund  Locations          Projects  </vt:lpstr>
      <vt:lpstr>PowerPoint Presentation</vt:lpstr>
      <vt:lpstr>PowerPoint Presentation</vt:lpstr>
      <vt:lpstr>PowerPoint Presentation</vt:lpstr>
      <vt:lpstr>   Lauren Smith, US Department of Labor  (via Share Screen)  </vt:lpstr>
      <vt:lpstr>Jill Wheeler, Consumer Financial Protection Bureau   </vt:lpstr>
      <vt:lpstr>Your Money, Your Goals</vt:lpstr>
      <vt:lpstr>Disclaimer</vt:lpstr>
      <vt:lpstr>Introduction to the CFPB</vt:lpstr>
      <vt:lpstr>Commitment to supporting consumers</vt:lpstr>
      <vt:lpstr>Your Money, Your Goals: Resources</vt:lpstr>
      <vt:lpstr>Videos to Spark Action</vt:lpstr>
      <vt:lpstr>Submitting a complaint to the Bureau</vt:lpstr>
      <vt:lpstr>Ask CFPB</vt:lpstr>
      <vt:lpstr>Your Money, Your Goals email sign-up</vt:lpstr>
      <vt:lpstr>Dr. Fallon Wilson, Multicultural Media &amp; Telecommunications Internet Council  </vt:lpstr>
      <vt:lpstr>Inclusion Junction </vt:lpstr>
      <vt:lpstr>Q &amp; A Session</vt:lpstr>
      <vt:lpstr>Next Steps</vt:lpstr>
      <vt:lpstr>Next Webinar #3 Assembling Strategic Inclusion Allies – Enhancing Resources and Measuring Impact </vt:lpstr>
    </vt:vector>
  </TitlesOfParts>
  <Company>FD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ng the Digital Footprint (webinar series)   Increasing Digital Access for Low-and-Moderate (LMI) Youth: Laying the Foundation</dc:title>
  <dc:creator>Lee, Terry A.</dc:creator>
  <cp:lastModifiedBy>Kevin Witting</cp:lastModifiedBy>
  <cp:revision>46</cp:revision>
  <cp:lastPrinted>2022-10-17T13:00:21Z</cp:lastPrinted>
  <dcterms:created xsi:type="dcterms:W3CDTF">2020-05-26T17:20:03Z</dcterms:created>
  <dcterms:modified xsi:type="dcterms:W3CDTF">2022-10-28T17:51:31Z</dcterms:modified>
</cp:coreProperties>
</file>